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1.xml" ContentType="application/vnd.openxmlformats-officedocument.presentationml.tags+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6.xml" ContentType="application/vnd.openxmlformats-officedocument.presentationml.tags+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7.xml" ContentType="application/vnd.openxmlformats-officedocument.presentationml.tags+xml"/>
  <Override PartName="/ppt/notesSlides/notesSlide1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8.xml" ContentType="application/vnd.openxmlformats-officedocument.presentationml.tags+xml"/>
  <Override PartName="/ppt/notesSlides/notesSlide1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0.xml" ContentType="application/vnd.openxmlformats-officedocument.presentationml.tags+xml"/>
  <Override PartName="/ppt/notesSlides/notesSlide14.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21.xml" ContentType="application/vnd.openxmlformats-officedocument.presentationml.tags+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6.xml" ContentType="application/vnd.openxmlformats-officedocument.presentationml.notesSlide+xml"/>
  <Override PartName="/ppt/tags/tag25.xml" ContentType="application/vnd.openxmlformats-officedocument.presentationml.tags+xml"/>
  <Override PartName="/ppt/notesSlides/notesSlide17.xml" ContentType="application/vnd.openxmlformats-officedocument.presentationml.notesSlide+xml"/>
  <Override PartName="/ppt/tags/tag26.xml" ContentType="application/vnd.openxmlformats-officedocument.presentationml.tags+xml"/>
  <Override PartName="/ppt/notesSlides/notesSlide1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27.xml" ContentType="application/vnd.openxmlformats-officedocument.presentationml.tags+xml"/>
  <Override PartName="/ppt/notesSlides/notesSlide19.xml" ContentType="application/vnd.openxmlformats-officedocument.presentationml.notesSlide+xml"/>
  <Override PartName="/ppt/tags/tag28.xml" ContentType="application/vnd.openxmlformats-officedocument.presentationml.tags+xml"/>
  <Override PartName="/ppt/notesSlides/notesSlide20.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30.xml" ContentType="application/vnd.openxmlformats-officedocument.presentationml.tags+xml"/>
  <Override PartName="/ppt/notesSlides/notesSlide22.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31.xml" ContentType="application/vnd.openxmlformats-officedocument.presentationml.tags+xml"/>
  <Override PartName="/ppt/tags/tag32.xml" ContentType="application/vnd.openxmlformats-officedocument.presentationml.tags+xml"/>
  <Override PartName="/ppt/notesSlides/notesSlide23.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4.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5.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26.xml" ContentType="application/vnd.openxmlformats-officedocument.presentationml.notesSlide+xml"/>
  <Override PartName="/ppt/tags/tag39.xml" ContentType="application/vnd.openxmlformats-officedocument.presentationml.tags+xml"/>
  <Override PartName="/ppt/notesSlides/notesSlide27.xml" ContentType="application/vnd.openxmlformats-officedocument.presentationml.notesSlide+xml"/>
  <Override PartName="/ppt/tags/tag40.xml" ContentType="application/vnd.openxmlformats-officedocument.presentationml.tags+xml"/>
  <Override PartName="/ppt/notesSlides/notesSlide28.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41.xml" ContentType="application/vnd.openxmlformats-officedocument.presentationml.tags+xml"/>
  <Override PartName="/ppt/notesSlides/notesSlide29.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42.xml" ContentType="application/vnd.openxmlformats-officedocument.presentationml.tags+xml"/>
  <Override PartName="/ppt/tags/tag43.xml" ContentType="application/vnd.openxmlformats-officedocument.presentationml.tags+xml"/>
  <Override PartName="/ppt/notesSlides/notesSlide30.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tags/tag44.xml" ContentType="application/vnd.openxmlformats-officedocument.presentationml.tags+xml"/>
  <Override PartName="/ppt/tags/tag45.xml" ContentType="application/vnd.openxmlformats-officedocument.presentationml.tags+xml"/>
  <Override PartName="/ppt/notesSlides/notesSlide31.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46.xml" ContentType="application/vnd.openxmlformats-officedocument.presentationml.tags+xml"/>
  <Override PartName="/ppt/tags/tag47.xml" ContentType="application/vnd.openxmlformats-officedocument.presentationml.tags+xml"/>
  <Override PartName="/ppt/notesSlides/notesSlide32.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33.xml" ContentType="application/vnd.openxmlformats-officedocument.presentationml.notesSlide+xml"/>
  <Override PartName="/ppt/tags/tag50.xml" ContentType="application/vnd.openxmlformats-officedocument.presentationml.tags+xml"/>
  <Override PartName="/ppt/notesSlides/notesSlide34.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35.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36.xml" ContentType="application/vnd.openxmlformats-officedocument.presentationml.notesSlide+xml"/>
  <Override PartName="/ppt/tags/tag55.xml" ContentType="application/vnd.openxmlformats-officedocument.presentationml.tags+xml"/>
  <Override PartName="/ppt/notesSlides/notesSlide37.xml" ContentType="application/vnd.openxmlformats-officedocument.presentationml.notesSlide+xml"/>
  <Override PartName="/ppt/tags/tag56.xml" ContentType="application/vnd.openxmlformats-officedocument.presentationml.tags+xml"/>
  <Override PartName="/ppt/notesSlides/notesSlide38.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tags/tag57.xml" ContentType="application/vnd.openxmlformats-officedocument.presentationml.tags+xml"/>
  <Override PartName="/ppt/tags/tag58.xml" ContentType="application/vnd.openxmlformats-officedocument.presentationml.tags+xml"/>
  <Override PartName="/ppt/notesSlides/notesSlide39.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tags/tag59.xml" ContentType="application/vnd.openxmlformats-officedocument.presentationml.tags+xml"/>
  <Override PartName="/ppt/tags/tag60.xml" ContentType="application/vnd.openxmlformats-officedocument.presentationml.tags+xml"/>
  <Override PartName="/ppt/notesSlides/notesSlide40.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tags/tag61.xml" ContentType="application/vnd.openxmlformats-officedocument.presentationml.tags+xml"/>
  <Override PartName="/ppt/tags/tag62.xml" ContentType="application/vnd.openxmlformats-officedocument.presentationml.tags+xml"/>
  <Override PartName="/ppt/notesSlides/notesSlide41.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tags/tag63.xml" ContentType="application/vnd.openxmlformats-officedocument.presentationml.tags+xml"/>
  <Override PartName="/ppt/tags/tag64.xml" ContentType="application/vnd.openxmlformats-officedocument.presentationml.tags+xml"/>
  <Override PartName="/ppt/notesSlides/notesSlide42.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tags/tag65.xml" ContentType="application/vnd.openxmlformats-officedocument.presentationml.tags+xml"/>
  <Override PartName="/ppt/tags/tag66.xml" ContentType="application/vnd.openxmlformats-officedocument.presentationml.tags+xml"/>
  <Override PartName="/ppt/notesSlides/notesSlide43.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44.xml" ContentType="application/vnd.openxmlformats-officedocument.presentationml.notesSlide+xml"/>
  <Override PartName="/ppt/tags/tag69.xml" ContentType="application/vnd.openxmlformats-officedocument.presentationml.tags+xml"/>
  <Override PartName="/ppt/notesSlides/notesSlide45.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tags/tag70.xml" ContentType="application/vnd.openxmlformats-officedocument.presentationml.tags+xml"/>
  <Override PartName="/ppt/tags/tag71.xml" ContentType="application/vnd.openxmlformats-officedocument.presentationml.tags+xml"/>
  <Override PartName="/ppt/notesSlides/notesSlide46.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tags/tag72.xml" ContentType="application/vnd.openxmlformats-officedocument.presentationml.tags+xml"/>
  <Override PartName="/ppt/tags/tag73.xml" ContentType="application/vnd.openxmlformats-officedocument.presentationml.tags+xml"/>
  <Override PartName="/ppt/notesSlides/notesSlide47.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tags/tag74.xml" ContentType="application/vnd.openxmlformats-officedocument.presentationml.tags+xml"/>
  <Override PartName="/ppt/tags/tag75.xml" ContentType="application/vnd.openxmlformats-officedocument.presentationml.tags+xml"/>
  <Override PartName="/ppt/notesSlides/notesSlide48.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49.xml" ContentType="application/vnd.openxmlformats-officedocument.presentationml.notesSlide+xml"/>
  <Override PartName="/ppt/tags/tag78.xml" ContentType="application/vnd.openxmlformats-officedocument.presentationml.tags+xml"/>
  <Override PartName="/ppt/notesSlides/notesSlide50.xml" ContentType="application/vnd.openxmlformats-officedocument.presentationml.notesSlide+xml"/>
  <Override PartName="/ppt/tags/tag79.xml" ContentType="application/vnd.openxmlformats-officedocument.presentationml.tags+xml"/>
  <Override PartName="/ppt/notesSlides/notesSlide51.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tags/tag80.xml" ContentType="application/vnd.openxmlformats-officedocument.presentationml.tags+xml"/>
  <Override PartName="/ppt/tags/tag81.xml" ContentType="application/vnd.openxmlformats-officedocument.presentationml.tags+xml"/>
  <Override PartName="/ppt/notesSlides/notesSlide52.xml" ContentType="application/vnd.openxmlformats-officedocument.presentationml.notesSlide+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tags/tag82.xml" ContentType="application/vnd.openxmlformats-officedocument.presentationml.tags+xml"/>
  <Override PartName="/ppt/tags/tag83.xml" ContentType="application/vnd.openxmlformats-officedocument.presentationml.tags+xml"/>
  <Override PartName="/ppt/notesSlides/notesSlide53.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54.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55.xml" ContentType="application/vnd.openxmlformats-officedocument.presentationml.notesSlide+xml"/>
  <Override PartName="/ppt/tags/tag88.xml" ContentType="application/vnd.openxmlformats-officedocument.presentationml.tags+xml"/>
  <Override PartName="/ppt/notesSlides/notesSlide56.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5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aveSubsetFonts="1">
  <p:sldMasterIdLst>
    <p:sldMasterId id="2147483648" r:id="rId20"/>
  </p:sldMasterIdLst>
  <p:notesMasterIdLst>
    <p:notesMasterId r:id="rId80"/>
  </p:notesMasterIdLst>
  <p:sldIdLst>
    <p:sldId id="256" r:id="rId21"/>
    <p:sldId id="257" r:id="rId22"/>
    <p:sldId id="445" r:id="rId23"/>
    <p:sldId id="259" r:id="rId24"/>
    <p:sldId id="321" r:id="rId25"/>
    <p:sldId id="332" r:id="rId26"/>
    <p:sldId id="264" r:id="rId27"/>
    <p:sldId id="265" r:id="rId28"/>
    <p:sldId id="337" r:id="rId29"/>
    <p:sldId id="338" r:id="rId30"/>
    <p:sldId id="351" r:id="rId31"/>
    <p:sldId id="361" r:id="rId32"/>
    <p:sldId id="356" r:id="rId34"/>
    <p:sldId id="273" r:id="rId35"/>
    <p:sldId id="274" r:id="rId36"/>
    <p:sldId id="275" r:id="rId37"/>
    <p:sldId id="364" r:id="rId38"/>
    <p:sldId id="368" r:id="rId39"/>
    <p:sldId id="377" r:id="rId40"/>
    <p:sldId id="276" r:id="rId42"/>
    <p:sldId id="278" r:id="rId43"/>
    <p:sldId id="280" r:id="rId44"/>
    <p:sldId id="282" r:id="rId45"/>
    <p:sldId id="283" r:id="rId46"/>
    <p:sldId id="284" r:id="rId47"/>
    <p:sldId id="384" r:id="rId48"/>
    <p:sldId id="391" r:id="rId49"/>
    <p:sldId id="398" r:id="rId50"/>
    <p:sldId id="417" r:id="rId51"/>
    <p:sldId id="290" r:id="rId52"/>
    <p:sldId id="291" r:id="rId53"/>
    <p:sldId id="292" r:id="rId54"/>
    <p:sldId id="295" r:id="rId55"/>
    <p:sldId id="296" r:id="rId56"/>
    <p:sldId id="297" r:id="rId57"/>
    <p:sldId id="406" r:id="rId58"/>
    <p:sldId id="415" r:id="rId59"/>
    <p:sldId id="416" r:id="rId60"/>
    <p:sldId id="428" r:id="rId61"/>
    <p:sldId id="429" r:id="rId62"/>
    <p:sldId id="430" r:id="rId63"/>
    <p:sldId id="303" r:id="rId64"/>
    <p:sldId id="431" r:id="rId65"/>
    <p:sldId id="446" r:id="rId66"/>
    <p:sldId id="306" r:id="rId67"/>
    <p:sldId id="307" r:id="rId68"/>
    <p:sldId id="308" r:id="rId69"/>
    <p:sldId id="309" r:id="rId70"/>
    <p:sldId id="433" r:id="rId71"/>
    <p:sldId id="442" r:id="rId72"/>
    <p:sldId id="315" r:id="rId73"/>
    <p:sldId id="316" r:id="rId74"/>
    <p:sldId id="317" r:id="rId75"/>
    <p:sldId id="318" r:id="rId76"/>
    <p:sldId id="312" r:id="rId78"/>
  </p:sldIdLst>
  <p:sldSz cx="12192000" cy="6858000"/>
  <p:notesSz cx="6858000" cy="9144000"/>
  <p:custDataLst>
    <p:tags r:id="rId8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pLUS - Windows PowerShell: Tool Building" id="{76457832-FE9F-4484-96F1-3A79F5F1BD44}">
          <p14:sldIdLst>
            <p14:sldId id="256"/>
            <p14:sldId id="257"/>
            <p14:sldId id="445"/>
          </p14:sldIdLst>
        </p14:section>
        <p14:section name="Windows Presentation Framework Introduction" id="{9344E5D5-73E2-42C3-AD3D-BE77B2EF0E21}">
          <p14:sldIdLst>
            <p14:sldId id="259"/>
            <p14:sldId id="321"/>
            <p14:sldId id="332"/>
            <p14:sldId id="264"/>
          </p14:sldIdLst>
        </p14:section>
        <p14:section name="Introduction to Visual Studio" id="{11C138CB-6755-45EE-81E8-C4A63B798C05}">
          <p14:sldIdLst>
            <p14:sldId id="265"/>
            <p14:sldId id="337"/>
            <p14:sldId id="338"/>
            <p14:sldId id="351"/>
            <p14:sldId id="361"/>
            <p14:sldId id="359"/>
            <p14:sldId id="356"/>
            <p14:sldId id="273"/>
            <p14:sldId id="274"/>
          </p14:sldIdLst>
        </p14:section>
        <p14:section name="Graphical User Interface Design" id="{79C85452-472E-4756-B4CD-CDE891C91F75}">
          <p14:sldIdLst>
            <p14:sldId id="275"/>
            <p14:sldId id="364"/>
            <p14:sldId id="368"/>
            <p14:sldId id="377"/>
            <p14:sldId id="374"/>
            <p14:sldId id="276"/>
            <p14:sldId id="278"/>
            <p14:sldId id="280"/>
            <p14:sldId id="282"/>
            <p14:sldId id="283"/>
          </p14:sldIdLst>
        </p14:section>
        <p14:section name="Your first GUI" id="{B46C13D4-1F8E-47B8-BBC2-5A39CAD22BE6}">
          <p14:sldIdLst>
            <p14:sldId id="284"/>
            <p14:sldId id="384"/>
            <p14:sldId id="391"/>
            <p14:sldId id="398"/>
            <p14:sldId id="417"/>
            <p14:sldId id="290"/>
            <p14:sldId id="291"/>
          </p14:sldIdLst>
        </p14:section>
        <p14:section name="Advanced GUI Design" id="{E31CC2E4-E33A-4CDD-9628-E4C82431146E}">
          <p14:sldIdLst>
            <p14:sldId id="292"/>
            <p14:sldId id="295"/>
            <p14:sldId id="296"/>
          </p14:sldIdLst>
        </p14:section>
        <p14:section name="Code Behind a Form" id="{406BDCCF-1BEF-4B3E-A70A-2E77C55ED611}">
          <p14:sldIdLst>
            <p14:sldId id="297"/>
            <p14:sldId id="406"/>
            <p14:sldId id="415"/>
            <p14:sldId id="416"/>
            <p14:sldId id="428"/>
            <p14:sldId id="429"/>
            <p14:sldId id="430"/>
            <p14:sldId id="303"/>
            <p14:sldId id="431"/>
            <p14:sldId id="446"/>
            <p14:sldId id="306"/>
            <p14:sldId id="307"/>
            <p14:sldId id="308"/>
          </p14:sldIdLst>
        </p14:section>
        <p14:section name="Advanced Techniques" id="{8EF8E9EC-1FCF-4D7B-85AD-4D23D03D314D}">
          <p14:sldIdLst>
            <p14:sldId id="309"/>
            <p14:sldId id="433"/>
            <p14:sldId id="442"/>
            <p14:sldId id="315"/>
            <p14:sldId id="316"/>
          </p14:sldIdLst>
        </p14:section>
        <p14:section name="Lab: PowerShell Graphical User Interfaces" id="{E08F81B2-EE4F-4ED6-8900-B6AA612CDEEB}">
          <p14:sldIdLst>
            <p14:sldId id="317"/>
            <p14:sldId id="318"/>
          </p14:sldIdLst>
        </p14:section>
        <p14:section name="Appendix" id="{7A6E94B6-B24D-4957-91AF-0C707164BEF0}">
          <p14:sldIdLst>
            <p14:sldId id="311"/>
            <p14:sldId id="312"/>
            <p14:sldId id="31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ory Thacher" initials="KT" lastIdx="79" clrIdx="0">
    <p:extLst>
      <p:ext uri="{19B8F6BF-5375-455C-9EA6-DF929625EA0E}">
        <p15:presenceInfo xmlns:p15="http://schemas.microsoft.com/office/powerpoint/2012/main" userId="S::korythac@microsoft.com::995eb0f2-f21c-467c-a947-4f8fc26d0f2e" providerId="AD"/>
      </p:ext>
    </p:extLst>
  </p:cmAuthor>
  <p:cmAuthor id="2" name="Devid Treuling" initials="DT" lastIdx="12" clrIdx="1">
    <p:extLst>
      <p:ext uri="{19B8F6BF-5375-455C-9EA6-DF929625EA0E}">
        <p15:presenceInfo xmlns:p15="http://schemas.microsoft.com/office/powerpoint/2012/main" userId="S::devidt@microsoft.com::59319ebe-00e0-4bed-b2ef-326bd7e50483" providerId="AD"/>
      </p:ext>
    </p:extLst>
  </p:cmAuthor>
  <p:cmAuthor id="3" name="Martijn van Geffen" initials="MvG" lastIdx="4" clrIdx="2">
    <p:extLst>
      <p:ext uri="{19B8F6BF-5375-455C-9EA6-DF929625EA0E}">
        <p15:presenceInfo xmlns:p15="http://schemas.microsoft.com/office/powerpoint/2012/main" userId="S::mavangef@microsoft.com::0d8ea57d-840a-4839-b208-007caa94e8f4" providerId="AD"/>
      </p:ext>
    </p:extLst>
  </p:cmAuthor>
  <p:cmAuthor id="4" name="Kory Thacher" initials="KT [2]" lastIdx="2" clrIdx="3">
    <p:extLst>
      <p:ext uri="{19B8F6BF-5375-455C-9EA6-DF929625EA0E}">
        <p15:presenceInfo xmlns:p15="http://schemas.microsoft.com/office/powerpoint/2012/main" userId="Kory Thacher" providerId="None"/>
      </p:ext>
    </p:extLst>
  </p:cmAuthor>
  <p:cmAuthor id="5" name="Kory Thacher (APPS / POWERSHELL)" initials="KT(/P" lastIdx="99" clrIdx="4">
    <p:extLst>
      <p:ext uri="{19B8F6BF-5375-455C-9EA6-DF929625EA0E}">
        <p15:presenceInfo xmlns:p15="http://schemas.microsoft.com/office/powerpoint/2012/main" userId="Kory Thacher (APPS / POWERSHELL)" providerId="None"/>
      </p:ext>
    </p:extLst>
  </p:cmAuthor>
  <p:cmAuthor id="6" name="Tony Radkiewicz" initials="TR" lastIdx="1" clrIdx="5">
    <p:extLst>
      <p:ext uri="{19B8F6BF-5375-455C-9EA6-DF929625EA0E}">
        <p15:presenceInfo xmlns:p15="http://schemas.microsoft.com/office/powerpoint/2012/main" userId="S::anradkie@microsoft.com::9832534a-7e4f-4058-9c41-7f4a5b855c9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107C10"/>
    <a:srgbClr val="D83B01"/>
    <a:srgbClr val="243A5E"/>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92D4D14-F746-4D40-BCC7-77792082F25E}" v="8509" dt="2022-12-12T22:24:21.113"/>
    <p1510:client id="{CC590D0D-F3F9-4300-B40A-CB186A11F7C7}" v="1547" dt="2022-12-12T22:21:05.242"/>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6.xml" Id="rId26" /><Relationship Type="http://schemas.openxmlformats.org/officeDocument/2006/relationships/slide" Target="slides/slide1.xml" Id="rId21" /><Relationship Type="http://schemas.openxmlformats.org/officeDocument/2006/relationships/slide" Target="slides/slide22.xml" Id="rId42" /><Relationship Type="http://schemas.openxmlformats.org/officeDocument/2006/relationships/slide" Target="slides/slide27.xml" Id="rId47" /><Relationship Type="http://schemas.openxmlformats.org/officeDocument/2006/relationships/slide" Target="slides/slide43.xml" Id="rId63" /><Relationship Type="http://schemas.openxmlformats.org/officeDocument/2006/relationships/slide" Target="slides/slide48.xml" Id="rId68" /><Relationship Type="http://schemas.openxmlformats.org/officeDocument/2006/relationships/viewProps" Target="viewProps.xml" Id="rId84" /><Relationship Type="http://schemas.openxmlformats.org/officeDocument/2006/relationships/customXml" Target="../customXml/item16.xml" Id="rId16" /><Relationship Type="http://schemas.openxmlformats.org/officeDocument/2006/relationships/customXml" Target="../customXml/item11.xml" Id="rId11" /><Relationship Type="http://schemas.openxmlformats.org/officeDocument/2006/relationships/slide" Target="slides/slide12.xml" Id="rId32" /><Relationship Type="http://schemas.openxmlformats.org/officeDocument/2006/relationships/slide" Target="slides/slide17.xml" Id="rId37" /><Relationship Type="http://schemas.openxmlformats.org/officeDocument/2006/relationships/slide" Target="slides/slide33.xml" Id="rId53" /><Relationship Type="http://schemas.openxmlformats.org/officeDocument/2006/relationships/slide" Target="slides/slide38.xml" Id="rId58" /><Relationship Type="http://schemas.openxmlformats.org/officeDocument/2006/relationships/slide" Target="slides/slide54.xml" Id="rId74" /><Relationship Type="http://schemas.openxmlformats.org/officeDocument/2006/relationships/customXml" Target="../customXml/item5.xml" Id="rId5" /><Relationship Type="http://schemas.openxmlformats.org/officeDocument/2006/relationships/customXml" Target="../customXml/item19.xml" Id="rId19" /><Relationship Type="http://schemas.openxmlformats.org/officeDocument/2006/relationships/customXml" Target="../customXml/item14.xml" Id="rId14" /><Relationship Type="http://schemas.openxmlformats.org/officeDocument/2006/relationships/slide" Target="slides/slide2.xml" Id="rId22" /><Relationship Type="http://schemas.openxmlformats.org/officeDocument/2006/relationships/slide" Target="slides/slide7.xml" Id="rId27" /><Relationship Type="http://schemas.openxmlformats.org/officeDocument/2006/relationships/slide" Target="slides/slide10.xml" Id="rId30" /><Relationship Type="http://schemas.openxmlformats.org/officeDocument/2006/relationships/slide" Target="slides/slide15.xml" Id="rId35" /><Relationship Type="http://schemas.openxmlformats.org/officeDocument/2006/relationships/slide" Target="slides/slide23.xml" Id="rId43" /><Relationship Type="http://schemas.openxmlformats.org/officeDocument/2006/relationships/slide" Target="slides/slide28.xml" Id="rId48" /><Relationship Type="http://schemas.openxmlformats.org/officeDocument/2006/relationships/slide" Target="slides/slide36.xml" Id="rId56" /><Relationship Type="http://schemas.openxmlformats.org/officeDocument/2006/relationships/slide" Target="slides/slide44.xml" Id="rId64" /><Relationship Type="http://schemas.openxmlformats.org/officeDocument/2006/relationships/slide" Target="slides/slide49.xml" Id="rId69" /><Relationship Type="http://schemas.openxmlformats.org/officeDocument/2006/relationships/customXml" Target="../customXml/item8.xml" Id="rId8" /><Relationship Type="http://schemas.openxmlformats.org/officeDocument/2006/relationships/slide" Target="slides/slide31.xml" Id="rId51" /><Relationship Type="http://schemas.openxmlformats.org/officeDocument/2006/relationships/slide" Target="slides/slide52.xml" Id="rId72" /><Relationship Type="http://schemas.openxmlformats.org/officeDocument/2006/relationships/notesMaster" Target="notesMasters/notesMaster1.xml" Id="rId80" /><Relationship Type="http://schemas.openxmlformats.org/officeDocument/2006/relationships/theme" Target="theme/theme1.xml" Id="rId85" /><Relationship Type="http://schemas.openxmlformats.org/officeDocument/2006/relationships/customXml" Target="../customXml/item3.xml" Id="rId3" /><Relationship Type="http://schemas.openxmlformats.org/officeDocument/2006/relationships/customXml" Target="../customXml/item12.xml" Id="rId12" /><Relationship Type="http://schemas.openxmlformats.org/officeDocument/2006/relationships/customXml" Target="../customXml/item17.xml" Id="rId17" /><Relationship Type="http://schemas.openxmlformats.org/officeDocument/2006/relationships/slide" Target="slides/slide5.xml" Id="rId25" /><Relationship Type="http://schemas.openxmlformats.org/officeDocument/2006/relationships/slide" Target="slides/slide18.xml" Id="rId38" /><Relationship Type="http://schemas.openxmlformats.org/officeDocument/2006/relationships/slide" Target="slides/slide26.xml" Id="rId46" /><Relationship Type="http://schemas.openxmlformats.org/officeDocument/2006/relationships/slide" Target="slides/slide39.xml" Id="rId59" /><Relationship Type="http://schemas.openxmlformats.org/officeDocument/2006/relationships/slide" Target="slides/slide47.xml" Id="rId67" /><Relationship Type="http://schemas.openxmlformats.org/officeDocument/2006/relationships/slideMaster" Target="slideMasters/slideMaster1.xml" Id="rId20" /><Relationship Type="http://schemas.openxmlformats.org/officeDocument/2006/relationships/slide" Target="slides/slide34.xml" Id="rId54" /><Relationship Type="http://schemas.openxmlformats.org/officeDocument/2006/relationships/slide" Target="slides/slide42.xml" Id="rId62" /><Relationship Type="http://schemas.openxmlformats.org/officeDocument/2006/relationships/slide" Target="slides/slide50.xml" Id="rId70" /><Relationship Type="http://schemas.openxmlformats.org/officeDocument/2006/relationships/slide" Target="slides/slide55.xml" Id="rId75" /><Relationship Type="http://schemas.openxmlformats.org/officeDocument/2006/relationships/presProps" Target="presProps.xml" Id="rId83" /><Relationship Type="http://schemas.microsoft.com/office/2015/10/relationships/revisionInfo" Target="revisionInfo.xml" Id="rId88" /><Relationship Type="http://schemas.openxmlformats.org/officeDocument/2006/relationships/customXml" Target="../customXml/item1.xml" Id="rId1" /><Relationship Type="http://schemas.openxmlformats.org/officeDocument/2006/relationships/customXml" Target="../customXml/item6.xml" Id="rId6" /><Relationship Type="http://schemas.openxmlformats.org/officeDocument/2006/relationships/customXml" Target="../customXml/item15.xml" Id="rId15" /><Relationship Type="http://schemas.openxmlformats.org/officeDocument/2006/relationships/slide" Target="slides/slide3.xml" Id="rId23" /><Relationship Type="http://schemas.openxmlformats.org/officeDocument/2006/relationships/slide" Target="slides/slide8.xml" Id="rId28" /><Relationship Type="http://schemas.openxmlformats.org/officeDocument/2006/relationships/slide" Target="slides/slide16.xml" Id="rId36" /><Relationship Type="http://schemas.openxmlformats.org/officeDocument/2006/relationships/slide" Target="slides/slide29.xml" Id="rId49" /><Relationship Type="http://schemas.openxmlformats.org/officeDocument/2006/relationships/slide" Target="slides/slide37.xml" Id="rId57" /><Relationship Type="http://schemas.openxmlformats.org/officeDocument/2006/relationships/customXml" Target="../customXml/item10.xml" Id="rId10" /><Relationship Type="http://schemas.openxmlformats.org/officeDocument/2006/relationships/slide" Target="slides/slide11.xml" Id="rId31" /><Relationship Type="http://schemas.openxmlformats.org/officeDocument/2006/relationships/slide" Target="slides/slide24.xml" Id="rId44" /><Relationship Type="http://schemas.openxmlformats.org/officeDocument/2006/relationships/slide" Target="slides/slide32.xml" Id="rId52" /><Relationship Type="http://schemas.openxmlformats.org/officeDocument/2006/relationships/slide" Target="slides/slide40.xml" Id="rId60" /><Relationship Type="http://schemas.openxmlformats.org/officeDocument/2006/relationships/slide" Target="slides/slide45.xml" Id="rId65" /><Relationship Type="http://schemas.openxmlformats.org/officeDocument/2006/relationships/slide" Target="slides/slide53.xml" Id="rId73" /><Relationship Type="http://schemas.openxmlformats.org/officeDocument/2006/relationships/slide" Target="slides/slide58.xml" Id="rId78" /><Relationship Type="http://schemas.openxmlformats.org/officeDocument/2006/relationships/tags" Target="tags/tag1.xml" Id="rId81" /><Relationship Type="http://schemas.openxmlformats.org/officeDocument/2006/relationships/tableStyles" Target="tableStyles.xml" Id="rId86" /><Relationship Type="http://schemas.openxmlformats.org/officeDocument/2006/relationships/customXml" Target="../customXml/item4.xml" Id="rId4" /><Relationship Type="http://schemas.openxmlformats.org/officeDocument/2006/relationships/customXml" Target="../customXml/item9.xml" Id="rId9" /><Relationship Type="http://schemas.openxmlformats.org/officeDocument/2006/relationships/customXml" Target="../customXml/item13.xml" Id="rId13" /><Relationship Type="http://schemas.openxmlformats.org/officeDocument/2006/relationships/customXml" Target="../customXml/item18.xml" Id="rId18" /><Relationship Type="http://schemas.openxmlformats.org/officeDocument/2006/relationships/slide" Target="slides/slide19.xml" Id="rId39" /><Relationship Type="http://schemas.openxmlformats.org/officeDocument/2006/relationships/slide" Target="slides/slide14.xml" Id="rId34" /><Relationship Type="http://schemas.openxmlformats.org/officeDocument/2006/relationships/slide" Target="slides/slide30.xml" Id="rId50" /><Relationship Type="http://schemas.openxmlformats.org/officeDocument/2006/relationships/slide" Target="slides/slide35.xml" Id="rId55" /><Relationship Type="http://schemas.openxmlformats.org/officeDocument/2006/relationships/slide" Target="slides/slide56.xml" Id="rId76" /><Relationship Type="http://schemas.openxmlformats.org/officeDocument/2006/relationships/customXml" Target="../customXml/item7.xml" Id="rId7" /><Relationship Type="http://schemas.openxmlformats.org/officeDocument/2006/relationships/slide" Target="slides/slide51.xml" Id="rId71" /><Relationship Type="http://schemas.openxmlformats.org/officeDocument/2006/relationships/customXml" Target="../customXml/item2.xml" Id="rId2" /><Relationship Type="http://schemas.openxmlformats.org/officeDocument/2006/relationships/slide" Target="slides/slide9.xml" Id="rId29" /><Relationship Type="http://schemas.openxmlformats.org/officeDocument/2006/relationships/slide" Target="slides/slide4.xml" Id="rId24" /><Relationship Type="http://schemas.openxmlformats.org/officeDocument/2006/relationships/slide" Target="slides/slide20.xml" Id="rId40" /><Relationship Type="http://schemas.openxmlformats.org/officeDocument/2006/relationships/slide" Target="slides/slide25.xml" Id="rId45" /><Relationship Type="http://schemas.openxmlformats.org/officeDocument/2006/relationships/slide" Target="slides/slide46.xml" Id="rId66" /><Relationship Type="http://schemas.microsoft.com/office/2016/11/relationships/changesInfo" Target="changesInfos/changesInfo1.xml" Id="rId87" /><Relationship Type="http://schemas.openxmlformats.org/officeDocument/2006/relationships/slide" Target="slides/slide41.xml" Id="rId61" /><Relationship Type="http://schemas.openxmlformats.org/officeDocument/2006/relationships/commentAuthors" Target="commentAuthors.xml" Id="rId82" /></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ny Radkiewicz" userId="9832534a-7e4f-4058-9c41-7f4a5b855c95" providerId="ADAL" clId="{D01F972D-4D8C-4BE8-B737-74B9E145EE84}"/>
    <pc:docChg chg="undo redo custSel addSld delSld modSld sldOrd modSection">
      <pc:chgData name="Tony Radkiewicz" userId="9832534a-7e4f-4058-9c41-7f4a5b855c95" providerId="ADAL" clId="{D01F972D-4D8C-4BE8-B737-74B9E145EE84}" dt="2022-09-26T23:09:24.161" v="2205" actId="1076"/>
      <pc:docMkLst>
        <pc:docMk/>
      </pc:docMkLst>
      <pc:sldChg chg="addCm delCm">
        <pc:chgData name="Tony Radkiewicz" userId="9832534a-7e4f-4058-9c41-7f4a5b855c95" providerId="ADAL" clId="{D01F972D-4D8C-4BE8-B737-74B9E145EE84}" dt="2022-08-16T21:15:07.525" v="1" actId="1592"/>
        <pc:sldMkLst>
          <pc:docMk/>
          <pc:sldMk cId="2713376979" sldId="258"/>
        </pc:sldMkLst>
      </pc:sldChg>
      <pc:sldChg chg="addSp delSp modSp mod">
        <pc:chgData name="Tony Radkiewicz" userId="9832534a-7e4f-4058-9c41-7f4a5b855c95" providerId="ADAL" clId="{D01F972D-4D8C-4BE8-B737-74B9E145EE84}" dt="2022-08-16T22:45:54.642" v="87" actId="1076"/>
        <pc:sldMkLst>
          <pc:docMk/>
          <pc:sldMk cId="523280705" sldId="260"/>
        </pc:sldMkLst>
        <pc:spChg chg="add mod">
          <ac:chgData name="Tony Radkiewicz" userId="9832534a-7e4f-4058-9c41-7f4a5b855c95" providerId="ADAL" clId="{D01F972D-4D8C-4BE8-B737-74B9E145EE84}" dt="2022-08-16T22:45:54.642" v="87" actId="1076"/>
          <ac:spMkLst>
            <pc:docMk/>
            <pc:sldMk cId="523280705" sldId="260"/>
            <ac:spMk id="2" creationId="{71A03513-5BF0-5870-D8CE-670FDF0E907E}"/>
          </ac:spMkLst>
        </pc:spChg>
        <pc:spChg chg="del">
          <ac:chgData name="Tony Radkiewicz" userId="9832534a-7e4f-4058-9c41-7f4a5b855c95" providerId="ADAL" clId="{D01F972D-4D8C-4BE8-B737-74B9E145EE84}" dt="2022-08-16T21:15:20.132" v="2" actId="478"/>
          <ac:spMkLst>
            <pc:docMk/>
            <pc:sldMk cId="523280705" sldId="260"/>
            <ac:spMk id="12" creationId="{7D14A57D-6580-42DA-A220-57B4BC788FB8}"/>
          </ac:spMkLst>
        </pc:spChg>
        <pc:grpChg chg="mod">
          <ac:chgData name="Tony Radkiewicz" userId="9832534a-7e4f-4058-9c41-7f4a5b855c95" providerId="ADAL" clId="{D01F972D-4D8C-4BE8-B737-74B9E145EE84}" dt="2022-08-16T22:28:56.980" v="10" actId="1076"/>
          <ac:grpSpMkLst>
            <pc:docMk/>
            <pc:sldMk cId="523280705" sldId="260"/>
            <ac:grpSpMk id="18" creationId="{7900A87C-7DA1-4007-8CA9-9D32D57BBC02}"/>
          </ac:grpSpMkLst>
        </pc:grpChg>
        <pc:grpChg chg="mod">
          <ac:chgData name="Tony Radkiewicz" userId="9832534a-7e4f-4058-9c41-7f4a5b855c95" providerId="ADAL" clId="{D01F972D-4D8C-4BE8-B737-74B9E145EE84}" dt="2022-08-16T22:29:00.194" v="11" actId="1076"/>
          <ac:grpSpMkLst>
            <pc:docMk/>
            <pc:sldMk cId="523280705" sldId="260"/>
            <ac:grpSpMk id="19" creationId="{88FA40DC-BCF9-491D-B65B-B58FD56BFEC0}"/>
          </ac:grpSpMkLst>
        </pc:grpChg>
      </pc:sldChg>
      <pc:sldChg chg="addSp modSp mod modShow modNotesTx">
        <pc:chgData name="Tony Radkiewicz" userId="9832534a-7e4f-4058-9c41-7f4a5b855c95" providerId="ADAL" clId="{D01F972D-4D8C-4BE8-B737-74B9E145EE84}" dt="2022-08-29T21:56:29.870" v="669" actId="20577"/>
        <pc:sldMkLst>
          <pc:docMk/>
          <pc:sldMk cId="4109296172" sldId="261"/>
        </pc:sldMkLst>
        <pc:picChg chg="add mod">
          <ac:chgData name="Tony Radkiewicz" userId="9832534a-7e4f-4058-9c41-7f4a5b855c95" providerId="ADAL" clId="{D01F972D-4D8C-4BE8-B737-74B9E145EE84}" dt="2022-08-29T21:50:03.393" v="384" actId="14100"/>
          <ac:picMkLst>
            <pc:docMk/>
            <pc:sldMk cId="4109296172" sldId="261"/>
            <ac:picMk id="7" creationId="{E4B205E9-EE5A-2065-7224-88B1A95BCC8A}"/>
          </ac:picMkLst>
        </pc:picChg>
      </pc:sldChg>
      <pc:sldChg chg="addSp delSp modSp del mod">
        <pc:chgData name="Tony Radkiewicz" userId="9832534a-7e4f-4058-9c41-7f4a5b855c95" providerId="ADAL" clId="{D01F972D-4D8C-4BE8-B737-74B9E145EE84}" dt="2022-08-29T22:07:23.410" v="670" actId="2696"/>
        <pc:sldMkLst>
          <pc:docMk/>
          <pc:sldMk cId="1998940606" sldId="267"/>
        </pc:sldMkLst>
        <pc:spChg chg="add mod">
          <ac:chgData name="Tony Radkiewicz" userId="9832534a-7e4f-4058-9c41-7f4a5b855c95" providerId="ADAL" clId="{D01F972D-4D8C-4BE8-B737-74B9E145EE84}" dt="2022-08-29T21:38:58.652" v="382" actId="20577"/>
          <ac:spMkLst>
            <pc:docMk/>
            <pc:sldMk cId="1998940606" sldId="267"/>
            <ac:spMk id="2" creationId="{534A73F9-088D-1DB2-C53F-EB22C2D4EED5}"/>
          </ac:spMkLst>
        </pc:spChg>
        <pc:graphicFrameChg chg="del">
          <ac:chgData name="Tony Radkiewicz" userId="9832534a-7e4f-4058-9c41-7f4a5b855c95" providerId="ADAL" clId="{D01F972D-4D8C-4BE8-B737-74B9E145EE84}" dt="2022-08-29T21:09:16.111" v="100" actId="11529"/>
          <ac:graphicFrameMkLst>
            <pc:docMk/>
            <pc:sldMk cId="1998940606" sldId="267"/>
            <ac:graphicFrameMk id="8" creationId="{0B3CD7BD-DA26-4115-8BD3-BD24BC2607DC}"/>
          </ac:graphicFrameMkLst>
        </pc:graphicFrameChg>
      </pc:sldChg>
      <pc:sldChg chg="del">
        <pc:chgData name="Tony Radkiewicz" userId="9832534a-7e4f-4058-9c41-7f4a5b855c95" providerId="ADAL" clId="{D01F972D-4D8C-4BE8-B737-74B9E145EE84}" dt="2022-08-29T22:08:23.003" v="672" actId="2696"/>
        <pc:sldMkLst>
          <pc:docMk/>
          <pc:sldMk cId="3517077129" sldId="268"/>
        </pc:sldMkLst>
      </pc:sldChg>
      <pc:sldChg chg="addSp delSp modSp mod modAnim modCm">
        <pc:chgData name="Tony Radkiewicz" userId="9832534a-7e4f-4058-9c41-7f4a5b855c95" providerId="ADAL" clId="{D01F972D-4D8C-4BE8-B737-74B9E145EE84}" dt="2022-09-26T23:09:24.161" v="2205" actId="1076"/>
        <pc:sldMkLst>
          <pc:docMk/>
          <pc:sldMk cId="1895228649" sldId="276"/>
        </pc:sldMkLst>
        <pc:spChg chg="add mod">
          <ac:chgData name="Tony Radkiewicz" userId="9832534a-7e4f-4058-9c41-7f4a5b855c95" providerId="ADAL" clId="{D01F972D-4D8C-4BE8-B737-74B9E145EE84}" dt="2022-09-26T22:23:44.473" v="2199" actId="20577"/>
          <ac:spMkLst>
            <pc:docMk/>
            <pc:sldMk cId="1895228649" sldId="276"/>
            <ac:spMk id="2" creationId="{4D7D9637-BECD-0C33-3BA2-215737DD1BCD}"/>
          </ac:spMkLst>
        </pc:spChg>
        <pc:spChg chg="add del">
          <ac:chgData name="Tony Radkiewicz" userId="9832534a-7e4f-4058-9c41-7f4a5b855c95" providerId="ADAL" clId="{D01F972D-4D8C-4BE8-B737-74B9E145EE84}" dt="2022-09-26T21:13:17.017" v="2137" actId="478"/>
          <ac:spMkLst>
            <pc:docMk/>
            <pc:sldMk cId="1895228649" sldId="276"/>
            <ac:spMk id="6" creationId="{03567180-E35A-8645-AFA9-0383D02F0E18}"/>
          </ac:spMkLst>
        </pc:spChg>
        <pc:spChg chg="mod">
          <ac:chgData name="Tony Radkiewicz" userId="9832534a-7e4f-4058-9c41-7f4a5b855c95" providerId="ADAL" clId="{D01F972D-4D8C-4BE8-B737-74B9E145EE84}" dt="2022-09-26T22:26:53.579" v="2201" actId="1076"/>
          <ac:spMkLst>
            <pc:docMk/>
            <pc:sldMk cId="1895228649" sldId="276"/>
            <ac:spMk id="8" creationId="{413AFE7A-9F19-4F2A-BC56-D052BAA5430C}"/>
          </ac:spMkLst>
        </pc:spChg>
        <pc:spChg chg="del mod">
          <ac:chgData name="Tony Radkiewicz" userId="9832534a-7e4f-4058-9c41-7f4a5b855c95" providerId="ADAL" clId="{D01F972D-4D8C-4BE8-B737-74B9E145EE84}" dt="2022-09-26T22:22:30.745" v="2169"/>
          <ac:spMkLst>
            <pc:docMk/>
            <pc:sldMk cId="1895228649" sldId="276"/>
            <ac:spMk id="9" creationId="{92F2D255-A3FD-466C-83DA-70DFFFCC3098}"/>
          </ac:spMkLst>
        </pc:spChg>
        <pc:picChg chg="add mod">
          <ac:chgData name="Tony Radkiewicz" userId="9832534a-7e4f-4058-9c41-7f4a5b855c95" providerId="ADAL" clId="{D01F972D-4D8C-4BE8-B737-74B9E145EE84}" dt="2022-09-26T23:09:24.161" v="2205" actId="1076"/>
          <ac:picMkLst>
            <pc:docMk/>
            <pc:sldMk cId="1895228649" sldId="276"/>
            <ac:picMk id="5" creationId="{97B2BC91-A699-FDF4-5C6F-767E4244FD9C}"/>
          </ac:picMkLst>
        </pc:picChg>
        <pc:picChg chg="del mod">
          <ac:chgData name="Tony Radkiewicz" userId="9832534a-7e4f-4058-9c41-7f4a5b855c95" providerId="ADAL" clId="{D01F972D-4D8C-4BE8-B737-74B9E145EE84}" dt="2022-09-26T23:09:17.943" v="2202" actId="478"/>
          <ac:picMkLst>
            <pc:docMk/>
            <pc:sldMk cId="1895228649" sldId="276"/>
            <ac:picMk id="7" creationId="{22844EAC-36A2-9E6B-9906-A186B521485A}"/>
          </ac:picMkLst>
        </pc:picChg>
        <pc:picChg chg="mod">
          <ac:chgData name="Tony Radkiewicz" userId="9832534a-7e4f-4058-9c41-7f4a5b855c95" providerId="ADAL" clId="{D01F972D-4D8C-4BE8-B737-74B9E145EE84}" dt="2022-09-26T22:23:26.693" v="2185" actId="1076"/>
          <ac:picMkLst>
            <pc:docMk/>
            <pc:sldMk cId="1895228649" sldId="276"/>
            <ac:picMk id="10" creationId="{868238C5-8AD8-4002-90FD-EA79C1AF19FE}"/>
          </ac:picMkLst>
        </pc:picChg>
      </pc:sldChg>
      <pc:sldChg chg="delSp mod">
        <pc:chgData name="Tony Radkiewicz" userId="9832534a-7e4f-4058-9c41-7f4a5b855c95" providerId="ADAL" clId="{D01F972D-4D8C-4BE8-B737-74B9E145EE84}" dt="2022-08-16T21:47:57.943" v="4" actId="478"/>
        <pc:sldMkLst>
          <pc:docMk/>
          <pc:sldMk cId="1356962058" sldId="277"/>
        </pc:sldMkLst>
        <pc:spChg chg="del">
          <ac:chgData name="Tony Radkiewicz" userId="9832534a-7e4f-4058-9c41-7f4a5b855c95" providerId="ADAL" clId="{D01F972D-4D8C-4BE8-B737-74B9E145EE84}" dt="2022-08-16T21:47:57.943" v="4" actId="478"/>
          <ac:spMkLst>
            <pc:docMk/>
            <pc:sldMk cId="1356962058" sldId="277"/>
            <ac:spMk id="5" creationId="{55740B8F-F831-4987-8386-01ECE97D214E}"/>
          </ac:spMkLst>
        </pc:spChg>
      </pc:sldChg>
      <pc:sldChg chg="addSp delSp modSp del mod">
        <pc:chgData name="Tony Radkiewicz" userId="9832534a-7e4f-4058-9c41-7f4a5b855c95" providerId="ADAL" clId="{D01F972D-4D8C-4BE8-B737-74B9E145EE84}" dt="2022-09-12T21:38:16.330" v="1854" actId="47"/>
        <pc:sldMkLst>
          <pc:docMk/>
          <pc:sldMk cId="2821449364" sldId="279"/>
        </pc:sldMkLst>
        <pc:graphicFrameChg chg="del">
          <ac:chgData name="Tony Radkiewicz" userId="9832534a-7e4f-4058-9c41-7f4a5b855c95" providerId="ADAL" clId="{D01F972D-4D8C-4BE8-B737-74B9E145EE84}" dt="2022-09-12T21:17:20.919" v="1731" actId="478"/>
          <ac:graphicFrameMkLst>
            <pc:docMk/>
            <pc:sldMk cId="2821449364" sldId="279"/>
            <ac:graphicFrameMk id="9" creationId="{F36AC066-55A0-40CC-AAF4-88C0BA3CA0FB}"/>
          </ac:graphicFrameMkLst>
        </pc:graphicFrameChg>
        <pc:graphicFrameChg chg="add mod modGraphic">
          <ac:chgData name="Tony Radkiewicz" userId="9832534a-7e4f-4058-9c41-7f4a5b855c95" providerId="ADAL" clId="{D01F972D-4D8C-4BE8-B737-74B9E145EE84}" dt="2022-09-12T21:18:03.928" v="1740" actId="14734"/>
          <ac:graphicFrameMkLst>
            <pc:docMk/>
            <pc:sldMk cId="2821449364" sldId="279"/>
            <ac:graphicFrameMk id="10" creationId="{0E83F123-964A-6638-0AEB-7CF55DD61CA8}"/>
          </ac:graphicFrameMkLst>
        </pc:graphicFrameChg>
        <pc:graphicFrameChg chg="mod modGraphic">
          <ac:chgData name="Tony Radkiewicz" userId="9832534a-7e4f-4058-9c41-7f4a5b855c95" providerId="ADAL" clId="{D01F972D-4D8C-4BE8-B737-74B9E145EE84}" dt="2022-09-12T21:18:00.643" v="1739" actId="14734"/>
          <ac:graphicFrameMkLst>
            <pc:docMk/>
            <pc:sldMk cId="2821449364" sldId="279"/>
            <ac:graphicFrameMk id="32" creationId="{8C19BFBA-5CA7-48D2-87DA-8887B57D2B56}"/>
          </ac:graphicFrameMkLst>
        </pc:graphicFrameChg>
        <pc:picChg chg="del">
          <ac:chgData name="Tony Radkiewicz" userId="9832534a-7e4f-4058-9c41-7f4a5b855c95" providerId="ADAL" clId="{D01F972D-4D8C-4BE8-B737-74B9E145EE84}" dt="2022-09-12T21:17:17.832" v="1727" actId="478"/>
          <ac:picMkLst>
            <pc:docMk/>
            <pc:sldMk cId="2821449364" sldId="279"/>
            <ac:picMk id="4" creationId="{3865290E-DF30-4F6E-816A-4C7489857D3B}"/>
          </ac:picMkLst>
        </pc:picChg>
        <pc:picChg chg="del">
          <ac:chgData name="Tony Radkiewicz" userId="9832534a-7e4f-4058-9c41-7f4a5b855c95" providerId="ADAL" clId="{D01F972D-4D8C-4BE8-B737-74B9E145EE84}" dt="2022-09-12T21:17:18.489" v="1728" actId="478"/>
          <ac:picMkLst>
            <pc:docMk/>
            <pc:sldMk cId="2821449364" sldId="279"/>
            <ac:picMk id="5" creationId="{F3ED68D2-59BC-48EE-9EEF-721A02AECC7F}"/>
          </ac:picMkLst>
        </pc:picChg>
        <pc:picChg chg="del mod">
          <ac:chgData name="Tony Radkiewicz" userId="9832534a-7e4f-4058-9c41-7f4a5b855c95" providerId="ADAL" clId="{D01F972D-4D8C-4BE8-B737-74B9E145EE84}" dt="2022-09-12T21:17:15.342" v="1726" actId="478"/>
          <ac:picMkLst>
            <pc:docMk/>
            <pc:sldMk cId="2821449364" sldId="279"/>
            <ac:picMk id="6" creationId="{43E2B70A-B646-4F69-A910-1E5F5C5852D1}"/>
          </ac:picMkLst>
        </pc:picChg>
        <pc:picChg chg="del">
          <ac:chgData name="Tony Radkiewicz" userId="9832534a-7e4f-4058-9c41-7f4a5b855c95" providerId="ADAL" clId="{D01F972D-4D8C-4BE8-B737-74B9E145EE84}" dt="2022-09-12T21:17:19.317" v="1729" actId="478"/>
          <ac:picMkLst>
            <pc:docMk/>
            <pc:sldMk cId="2821449364" sldId="279"/>
            <ac:picMk id="7" creationId="{FC4F4119-C076-45B2-984E-45588BE5EA9F}"/>
          </ac:picMkLst>
        </pc:picChg>
        <pc:picChg chg="del">
          <ac:chgData name="Tony Radkiewicz" userId="9832534a-7e4f-4058-9c41-7f4a5b855c95" providerId="ADAL" clId="{D01F972D-4D8C-4BE8-B737-74B9E145EE84}" dt="2022-09-12T21:17:20.243" v="1730" actId="478"/>
          <ac:picMkLst>
            <pc:docMk/>
            <pc:sldMk cId="2821449364" sldId="279"/>
            <ac:picMk id="8" creationId="{901273C8-C785-497D-A0FB-FC2A412EEB2B}"/>
          </ac:picMkLst>
        </pc:picChg>
      </pc:sldChg>
      <pc:sldChg chg="modCm">
        <pc:chgData name="Tony Radkiewicz" userId="9832534a-7e4f-4058-9c41-7f4a5b855c95" providerId="ADAL" clId="{D01F972D-4D8C-4BE8-B737-74B9E145EE84}" dt="2022-08-16T21:49:17.947" v="5"/>
        <pc:sldMkLst>
          <pc:docMk/>
          <pc:sldMk cId="2966509842" sldId="285"/>
        </pc:sldMkLst>
      </pc:sldChg>
      <pc:sldChg chg="modCm">
        <pc:chgData name="Tony Radkiewicz" userId="9832534a-7e4f-4058-9c41-7f4a5b855c95" providerId="ADAL" clId="{D01F972D-4D8C-4BE8-B737-74B9E145EE84}" dt="2022-08-16T22:00:04.575" v="6"/>
        <pc:sldMkLst>
          <pc:docMk/>
          <pc:sldMk cId="3190187242" sldId="298"/>
        </pc:sldMkLst>
      </pc:sldChg>
      <pc:sldChg chg="modCm">
        <pc:chgData name="Tony Radkiewicz" userId="9832534a-7e4f-4058-9c41-7f4a5b855c95" providerId="ADAL" clId="{D01F972D-4D8C-4BE8-B737-74B9E145EE84}" dt="2022-08-16T22:05:39.560" v="7"/>
        <pc:sldMkLst>
          <pc:docMk/>
          <pc:sldMk cId="2033449873" sldId="299"/>
        </pc:sldMkLst>
      </pc:sldChg>
      <pc:sldChg chg="modCm">
        <pc:chgData name="Tony Radkiewicz" userId="9832534a-7e4f-4058-9c41-7f4a5b855c95" providerId="ADAL" clId="{D01F972D-4D8C-4BE8-B737-74B9E145EE84}" dt="2022-08-16T22:10:18.832" v="8"/>
        <pc:sldMkLst>
          <pc:docMk/>
          <pc:sldMk cId="761153844" sldId="301"/>
        </pc:sldMkLst>
      </pc:sldChg>
      <pc:sldChg chg="delSp mod">
        <pc:chgData name="Tony Radkiewicz" userId="9832534a-7e4f-4058-9c41-7f4a5b855c95" providerId="ADAL" clId="{D01F972D-4D8C-4BE8-B737-74B9E145EE84}" dt="2022-08-16T22:16:45.257" v="9" actId="478"/>
        <pc:sldMkLst>
          <pc:docMk/>
          <pc:sldMk cId="3132383162" sldId="310"/>
        </pc:sldMkLst>
        <pc:spChg chg="del">
          <ac:chgData name="Tony Radkiewicz" userId="9832534a-7e4f-4058-9c41-7f4a5b855c95" providerId="ADAL" clId="{D01F972D-4D8C-4BE8-B737-74B9E145EE84}" dt="2022-08-16T22:16:45.257" v="9" actId="478"/>
          <ac:spMkLst>
            <pc:docMk/>
            <pc:sldMk cId="3132383162" sldId="310"/>
            <ac:spMk id="6" creationId="{E2C3ECF3-583D-4A94-A8A0-E644AA06C79E}"/>
          </ac:spMkLst>
        </pc:spChg>
      </pc:sldChg>
      <pc:sldChg chg="addSp delSp modSp add mod">
        <pc:chgData name="Tony Radkiewicz" userId="9832534a-7e4f-4058-9c41-7f4a5b855c95" providerId="ADAL" clId="{D01F972D-4D8C-4BE8-B737-74B9E145EE84}" dt="2022-08-16T22:52:41.783" v="98"/>
        <pc:sldMkLst>
          <pc:docMk/>
          <pc:sldMk cId="1572072190" sldId="321"/>
        </pc:sldMkLst>
        <pc:spChg chg="del">
          <ac:chgData name="Tony Radkiewicz" userId="9832534a-7e4f-4058-9c41-7f4a5b855c95" providerId="ADAL" clId="{D01F972D-4D8C-4BE8-B737-74B9E145EE84}" dt="2022-08-16T22:47:32.194" v="89" actId="12084"/>
          <ac:spMkLst>
            <pc:docMk/>
            <pc:sldMk cId="1572072190" sldId="321"/>
            <ac:spMk id="2" creationId="{71A03513-5BF0-5870-D8CE-670FDF0E907E}"/>
          </ac:spMkLst>
        </pc:spChg>
        <pc:graphicFrameChg chg="add mod">
          <ac:chgData name="Tony Radkiewicz" userId="9832534a-7e4f-4058-9c41-7f4a5b855c95" providerId="ADAL" clId="{D01F972D-4D8C-4BE8-B737-74B9E145EE84}" dt="2022-08-16T22:52:41.783" v="98"/>
          <ac:graphicFrameMkLst>
            <pc:docMk/>
            <pc:sldMk cId="1572072190" sldId="321"/>
            <ac:graphicFrameMk id="3" creationId="{550D197A-CBD9-DC5D-F980-1998BE9CFB48}"/>
          </ac:graphicFrameMkLst>
        </pc:graphicFrameChg>
      </pc:sldChg>
      <pc:sldChg chg="add">
        <pc:chgData name="Tony Radkiewicz" userId="9832534a-7e4f-4058-9c41-7f4a5b855c95" providerId="ADAL" clId="{D01F972D-4D8C-4BE8-B737-74B9E145EE84}" dt="2022-08-29T21:08:58.137" v="99" actId="2890"/>
        <pc:sldMkLst>
          <pc:docMk/>
          <pc:sldMk cId="4276181191" sldId="324"/>
        </pc:sldMkLst>
      </pc:sldChg>
      <pc:sldChg chg="modSp">
        <pc:chgData name="Tony Radkiewicz" userId="9832534a-7e4f-4058-9c41-7f4a5b855c95" providerId="ADAL" clId="{D01F972D-4D8C-4BE8-B737-74B9E145EE84}" dt="2022-08-16T22:49:08.458" v="91"/>
        <pc:sldMkLst>
          <pc:docMk/>
          <pc:sldMk cId="2636890708" sldId="326"/>
        </pc:sldMkLst>
        <pc:graphicFrameChg chg="mod">
          <ac:chgData name="Tony Radkiewicz" userId="9832534a-7e4f-4058-9c41-7f4a5b855c95" providerId="ADAL" clId="{D01F972D-4D8C-4BE8-B737-74B9E145EE84}" dt="2022-08-16T22:49:08.458" v="91"/>
          <ac:graphicFrameMkLst>
            <pc:docMk/>
            <pc:sldMk cId="2636890708" sldId="326"/>
            <ac:graphicFrameMk id="3" creationId="{B517B408-937E-9E89-62E4-1A482F293A68}"/>
          </ac:graphicFrameMkLst>
        </pc:graphicFrameChg>
      </pc:sldChg>
      <pc:sldChg chg="modSp add">
        <pc:chgData name="Tony Radkiewicz" userId="9832534a-7e4f-4058-9c41-7f4a5b855c95" providerId="ADAL" clId="{D01F972D-4D8C-4BE8-B737-74B9E145EE84}" dt="2022-08-16T22:51:25.584" v="95" actId="13782"/>
        <pc:sldMkLst>
          <pc:docMk/>
          <pc:sldMk cId="2720172110" sldId="327"/>
        </pc:sldMkLst>
        <pc:graphicFrameChg chg="mod">
          <ac:chgData name="Tony Radkiewicz" userId="9832534a-7e4f-4058-9c41-7f4a5b855c95" providerId="ADAL" clId="{D01F972D-4D8C-4BE8-B737-74B9E145EE84}" dt="2022-08-16T22:51:25.584" v="95" actId="13782"/>
          <ac:graphicFrameMkLst>
            <pc:docMk/>
            <pc:sldMk cId="2720172110" sldId="327"/>
            <ac:graphicFrameMk id="3" creationId="{550D197A-CBD9-DC5D-F980-1998BE9CFB48}"/>
          </ac:graphicFrameMkLst>
        </pc:graphicFrameChg>
      </pc:sldChg>
      <pc:sldChg chg="modSp add">
        <pc:chgData name="Tony Radkiewicz" userId="9832534a-7e4f-4058-9c41-7f4a5b855c95" providerId="ADAL" clId="{D01F972D-4D8C-4BE8-B737-74B9E145EE84}" dt="2022-08-16T22:51:40.288" v="97" actId="13782"/>
        <pc:sldMkLst>
          <pc:docMk/>
          <pc:sldMk cId="2472791748" sldId="328"/>
        </pc:sldMkLst>
        <pc:graphicFrameChg chg="mod">
          <ac:chgData name="Tony Radkiewicz" userId="9832534a-7e4f-4058-9c41-7f4a5b855c95" providerId="ADAL" clId="{D01F972D-4D8C-4BE8-B737-74B9E145EE84}" dt="2022-08-16T22:51:40.288" v="97" actId="13782"/>
          <ac:graphicFrameMkLst>
            <pc:docMk/>
            <pc:sldMk cId="2472791748" sldId="328"/>
            <ac:graphicFrameMk id="3" creationId="{550D197A-CBD9-DC5D-F980-1998BE9CFB48}"/>
          </ac:graphicFrameMkLst>
        </pc:graphicFrameChg>
      </pc:sldChg>
      <pc:sldChg chg="modSp">
        <pc:chgData name="Tony Radkiewicz" userId="9832534a-7e4f-4058-9c41-7f4a5b855c95" providerId="ADAL" clId="{D01F972D-4D8C-4BE8-B737-74B9E145EE84}" dt="2022-08-29T21:26:01.163" v="339" actId="13782"/>
        <pc:sldMkLst>
          <pc:docMk/>
          <pc:sldMk cId="4275759498" sldId="332"/>
        </pc:sldMkLst>
        <pc:graphicFrameChg chg="mod">
          <ac:chgData name="Tony Radkiewicz" userId="9832534a-7e4f-4058-9c41-7f4a5b855c95" providerId="ADAL" clId="{D01F972D-4D8C-4BE8-B737-74B9E145EE84}" dt="2022-08-29T21:26:01.163" v="339" actId="13782"/>
          <ac:graphicFrameMkLst>
            <pc:docMk/>
            <pc:sldMk cId="4275759498" sldId="332"/>
            <ac:graphicFrameMk id="4" creationId="{C7E8F00D-37DD-A2A9-4FDA-5C66C45B1DB1}"/>
          </ac:graphicFrameMkLst>
        </pc:graphicFrameChg>
      </pc:sldChg>
      <pc:sldChg chg="add">
        <pc:chgData name="Tony Radkiewicz" userId="9832534a-7e4f-4058-9c41-7f4a5b855c95" providerId="ADAL" clId="{D01F972D-4D8C-4BE8-B737-74B9E145EE84}" dt="2022-08-29T22:08:07.589" v="671" actId="2890"/>
        <pc:sldMkLst>
          <pc:docMk/>
          <pc:sldMk cId="3699448947" sldId="334"/>
        </pc:sldMkLst>
      </pc:sldChg>
      <pc:sldChg chg="addSp delSp modSp add mod">
        <pc:chgData name="Tony Radkiewicz" userId="9832534a-7e4f-4058-9c41-7f4a5b855c95" providerId="ADAL" clId="{D01F972D-4D8C-4BE8-B737-74B9E145EE84}" dt="2022-08-29T22:21:10.395" v="847" actId="20577"/>
        <pc:sldMkLst>
          <pc:docMk/>
          <pc:sldMk cId="467110426" sldId="336"/>
        </pc:sldMkLst>
        <pc:spChg chg="mod">
          <ac:chgData name="Tony Radkiewicz" userId="9832534a-7e4f-4058-9c41-7f4a5b855c95" providerId="ADAL" clId="{D01F972D-4D8C-4BE8-B737-74B9E145EE84}" dt="2022-08-29T22:21:10.395" v="847" actId="20577"/>
          <ac:spMkLst>
            <pc:docMk/>
            <pc:sldMk cId="467110426" sldId="336"/>
            <ac:spMk id="3" creationId="{D9E89D95-6FCA-45C6-981C-9C1CE7F8DD25}"/>
          </ac:spMkLst>
        </pc:spChg>
        <pc:spChg chg="add del mod">
          <ac:chgData name="Tony Radkiewicz" userId="9832534a-7e4f-4058-9c41-7f4a5b855c95" providerId="ADAL" clId="{D01F972D-4D8C-4BE8-B737-74B9E145EE84}" dt="2022-08-29T22:09:16.129" v="816" actId="12084"/>
          <ac:spMkLst>
            <pc:docMk/>
            <pc:sldMk cId="467110426" sldId="336"/>
            <ac:spMk id="4" creationId="{C27FFB5C-EDD2-004C-4FD5-DAAAA2337E27}"/>
          </ac:spMkLst>
        </pc:spChg>
        <pc:graphicFrameChg chg="del mod">
          <ac:chgData name="Tony Radkiewicz" userId="9832534a-7e4f-4058-9c41-7f4a5b855c95" providerId="ADAL" clId="{D01F972D-4D8C-4BE8-B737-74B9E145EE84}" dt="2022-08-29T22:09:00.707" v="815" actId="11529"/>
          <ac:graphicFrameMkLst>
            <pc:docMk/>
            <pc:sldMk cId="467110426" sldId="336"/>
            <ac:graphicFrameMk id="2" creationId="{D78879B1-3866-DE7B-42F6-0AF9A9244D0A}"/>
          </ac:graphicFrameMkLst>
        </pc:graphicFrameChg>
        <pc:graphicFrameChg chg="add mod">
          <ac:chgData name="Tony Radkiewicz" userId="9832534a-7e4f-4058-9c41-7f4a5b855c95" providerId="ADAL" clId="{D01F972D-4D8C-4BE8-B737-74B9E145EE84}" dt="2022-08-29T22:09:16.129" v="816" actId="12084"/>
          <ac:graphicFrameMkLst>
            <pc:docMk/>
            <pc:sldMk cId="467110426" sldId="336"/>
            <ac:graphicFrameMk id="5" creationId="{33BF0D34-CA0B-09B9-C2B1-604D778DBFF2}"/>
          </ac:graphicFrameMkLst>
        </pc:graphicFrameChg>
      </pc:sldChg>
      <pc:sldChg chg="modSp add mod">
        <pc:chgData name="Tony Radkiewicz" userId="9832534a-7e4f-4058-9c41-7f4a5b855c95" providerId="ADAL" clId="{D01F972D-4D8C-4BE8-B737-74B9E145EE84}" dt="2022-08-29T22:21:23.568" v="863" actId="20577"/>
        <pc:sldMkLst>
          <pc:docMk/>
          <pc:sldMk cId="1735206840" sldId="338"/>
        </pc:sldMkLst>
        <pc:spChg chg="mod">
          <ac:chgData name="Tony Radkiewicz" userId="9832534a-7e4f-4058-9c41-7f4a5b855c95" providerId="ADAL" clId="{D01F972D-4D8C-4BE8-B737-74B9E145EE84}" dt="2022-08-29T22:21:23.568" v="863" actId="20577"/>
          <ac:spMkLst>
            <pc:docMk/>
            <pc:sldMk cId="1735206840" sldId="338"/>
            <ac:spMk id="3" creationId="{D9E89D95-6FCA-45C6-981C-9C1CE7F8DD25}"/>
          </ac:spMkLst>
        </pc:spChg>
        <pc:graphicFrameChg chg="mod">
          <ac:chgData name="Tony Radkiewicz" userId="9832534a-7e4f-4058-9c41-7f4a5b855c95" providerId="ADAL" clId="{D01F972D-4D8C-4BE8-B737-74B9E145EE84}" dt="2022-08-29T22:16:35.965" v="819" actId="13782"/>
          <ac:graphicFrameMkLst>
            <pc:docMk/>
            <pc:sldMk cId="1735206840" sldId="338"/>
            <ac:graphicFrameMk id="5" creationId="{33BF0D34-CA0B-09B9-C2B1-604D778DBFF2}"/>
          </ac:graphicFrameMkLst>
        </pc:graphicFrameChg>
      </pc:sldChg>
      <pc:sldChg chg="addSp delSp modSp add mod delAnim modAnim">
        <pc:chgData name="Tony Radkiewicz" userId="9832534a-7e4f-4058-9c41-7f4a5b855c95" providerId="ADAL" clId="{D01F972D-4D8C-4BE8-B737-74B9E145EE84}" dt="2022-08-29T22:55:38.263" v="1057" actId="14100"/>
        <pc:sldMkLst>
          <pc:docMk/>
          <pc:sldMk cId="2671065060" sldId="339"/>
        </pc:sldMkLst>
        <pc:spChg chg="del mod">
          <ac:chgData name="Tony Radkiewicz" userId="9832534a-7e4f-4058-9c41-7f4a5b855c95" providerId="ADAL" clId="{D01F972D-4D8C-4BE8-B737-74B9E145EE84}" dt="2022-08-29T22:44:55.669" v="1026" actId="12084"/>
          <ac:spMkLst>
            <pc:docMk/>
            <pc:sldMk cId="2671065060" sldId="339"/>
            <ac:spMk id="2" creationId="{9C37EDC6-D00C-4DBA-83D7-8970364CE7B6}"/>
          </ac:spMkLst>
        </pc:spChg>
        <pc:spChg chg="del">
          <ac:chgData name="Tony Radkiewicz" userId="9832534a-7e4f-4058-9c41-7f4a5b855c95" providerId="ADAL" clId="{D01F972D-4D8C-4BE8-B737-74B9E145EE84}" dt="2022-08-29T22:37:31.083" v="948" actId="478"/>
          <ac:spMkLst>
            <pc:docMk/>
            <pc:sldMk cId="2671065060" sldId="339"/>
            <ac:spMk id="7" creationId="{942BC23D-B91B-49F2-8DDE-4BC42F7D1F91}"/>
          </ac:spMkLst>
        </pc:spChg>
        <pc:spChg chg="del">
          <ac:chgData name="Tony Radkiewicz" userId="9832534a-7e4f-4058-9c41-7f4a5b855c95" providerId="ADAL" clId="{D01F972D-4D8C-4BE8-B737-74B9E145EE84}" dt="2022-08-29T22:37:31.885" v="949" actId="478"/>
          <ac:spMkLst>
            <pc:docMk/>
            <pc:sldMk cId="2671065060" sldId="339"/>
            <ac:spMk id="9" creationId="{8FF2038B-1766-4837-B764-2758F81A0032}"/>
          </ac:spMkLst>
        </pc:spChg>
        <pc:spChg chg="del">
          <ac:chgData name="Tony Radkiewicz" userId="9832534a-7e4f-4058-9c41-7f4a5b855c95" providerId="ADAL" clId="{D01F972D-4D8C-4BE8-B737-74B9E145EE84}" dt="2022-08-29T22:37:30.377" v="947" actId="478"/>
          <ac:spMkLst>
            <pc:docMk/>
            <pc:sldMk cId="2671065060" sldId="339"/>
            <ac:spMk id="10" creationId="{462A31B5-AF5A-4DA4-BE08-67A4B61EE27D}"/>
          </ac:spMkLst>
        </pc:spChg>
        <pc:spChg chg="del">
          <ac:chgData name="Tony Radkiewicz" userId="9832534a-7e4f-4058-9c41-7f4a5b855c95" providerId="ADAL" clId="{D01F972D-4D8C-4BE8-B737-74B9E145EE84}" dt="2022-08-29T22:37:34.109" v="951" actId="478"/>
          <ac:spMkLst>
            <pc:docMk/>
            <pc:sldMk cId="2671065060" sldId="339"/>
            <ac:spMk id="11" creationId="{1FD7D98C-7768-451E-99F2-9CD5E656CC99}"/>
          </ac:spMkLst>
        </pc:spChg>
        <pc:spChg chg="del">
          <ac:chgData name="Tony Radkiewicz" userId="9832534a-7e4f-4058-9c41-7f4a5b855c95" providerId="ADAL" clId="{D01F972D-4D8C-4BE8-B737-74B9E145EE84}" dt="2022-08-29T22:37:35.267" v="953" actId="478"/>
          <ac:spMkLst>
            <pc:docMk/>
            <pc:sldMk cId="2671065060" sldId="339"/>
            <ac:spMk id="12" creationId="{61B99B38-DE23-4B2D-95C8-5F599FE6F5BA}"/>
          </ac:spMkLst>
        </pc:spChg>
        <pc:spChg chg="del">
          <ac:chgData name="Tony Radkiewicz" userId="9832534a-7e4f-4058-9c41-7f4a5b855c95" providerId="ADAL" clId="{D01F972D-4D8C-4BE8-B737-74B9E145EE84}" dt="2022-08-29T22:37:34.862" v="952" actId="478"/>
          <ac:spMkLst>
            <pc:docMk/>
            <pc:sldMk cId="2671065060" sldId="339"/>
            <ac:spMk id="13" creationId="{9051517D-6CB7-4989-80C0-F1CB3EE91732}"/>
          </ac:spMkLst>
        </pc:spChg>
        <pc:spChg chg="del">
          <ac:chgData name="Tony Radkiewicz" userId="9832534a-7e4f-4058-9c41-7f4a5b855c95" providerId="ADAL" clId="{D01F972D-4D8C-4BE8-B737-74B9E145EE84}" dt="2022-08-29T22:37:36.031" v="954" actId="478"/>
          <ac:spMkLst>
            <pc:docMk/>
            <pc:sldMk cId="2671065060" sldId="339"/>
            <ac:spMk id="14" creationId="{6F691A5A-AC5D-487A-80AC-7288A97672AA}"/>
          </ac:spMkLst>
        </pc:spChg>
        <pc:spChg chg="del">
          <ac:chgData name="Tony Radkiewicz" userId="9832534a-7e4f-4058-9c41-7f4a5b855c95" providerId="ADAL" clId="{D01F972D-4D8C-4BE8-B737-74B9E145EE84}" dt="2022-08-29T22:37:33.410" v="950" actId="478"/>
          <ac:spMkLst>
            <pc:docMk/>
            <pc:sldMk cId="2671065060" sldId="339"/>
            <ac:spMk id="15" creationId="{0DDA5669-CAB0-4F9A-A21B-406D0590275A}"/>
          </ac:spMkLst>
        </pc:spChg>
        <pc:graphicFrameChg chg="add mod">
          <ac:chgData name="Tony Radkiewicz" userId="9832534a-7e4f-4058-9c41-7f4a5b855c95" providerId="ADAL" clId="{D01F972D-4D8C-4BE8-B737-74B9E145EE84}" dt="2022-08-29T22:55:38.263" v="1057" actId="14100"/>
          <ac:graphicFrameMkLst>
            <pc:docMk/>
            <pc:sldMk cId="2671065060" sldId="339"/>
            <ac:graphicFrameMk id="16" creationId="{FF836BF8-B54F-B2BD-BAAA-3FD591F0543E}"/>
          </ac:graphicFrameMkLst>
        </pc:graphicFrameChg>
        <pc:picChg chg="del">
          <ac:chgData name="Tony Radkiewicz" userId="9832534a-7e4f-4058-9c41-7f4a5b855c95" providerId="ADAL" clId="{D01F972D-4D8C-4BE8-B737-74B9E145EE84}" dt="2022-08-29T22:37:27.482" v="946" actId="478"/>
          <ac:picMkLst>
            <pc:docMk/>
            <pc:sldMk cId="2671065060" sldId="339"/>
            <ac:picMk id="5" creationId="{F69A3AE0-84C5-432F-8C07-E8BEF331C3CA}"/>
          </ac:picMkLst>
        </pc:picChg>
        <pc:picChg chg="del">
          <ac:chgData name="Tony Radkiewicz" userId="9832534a-7e4f-4058-9c41-7f4a5b855c95" providerId="ADAL" clId="{D01F972D-4D8C-4BE8-B737-74B9E145EE84}" dt="2022-08-29T22:38:22.832" v="957" actId="478"/>
          <ac:picMkLst>
            <pc:docMk/>
            <pc:sldMk cId="2671065060" sldId="339"/>
            <ac:picMk id="6" creationId="{90DAAE35-248C-43A5-93C3-E3A5864B65A1}"/>
          </ac:picMkLst>
        </pc:picChg>
        <pc:picChg chg="add del mod">
          <ac:chgData name="Tony Radkiewicz" userId="9832534a-7e4f-4058-9c41-7f4a5b855c95" providerId="ADAL" clId="{D01F972D-4D8C-4BE8-B737-74B9E145EE84}" dt="2022-08-29T22:46:12.460" v="1030" actId="478"/>
          <ac:picMkLst>
            <pc:docMk/>
            <pc:sldMk cId="2671065060" sldId="339"/>
            <ac:picMk id="8" creationId="{AB0AB4EE-15C7-1088-CB6E-0E6DD0F0E41D}"/>
          </ac:picMkLst>
        </pc:picChg>
        <pc:picChg chg="add mod">
          <ac:chgData name="Tony Radkiewicz" userId="9832534a-7e4f-4058-9c41-7f4a5b855c95" providerId="ADAL" clId="{D01F972D-4D8C-4BE8-B737-74B9E145EE84}" dt="2022-08-29T22:55:08.987" v="1055" actId="14100"/>
          <ac:picMkLst>
            <pc:docMk/>
            <pc:sldMk cId="2671065060" sldId="339"/>
            <ac:picMk id="18" creationId="{4B232547-E6E2-4324-66DD-959FCCCB2A14}"/>
          </ac:picMkLst>
        </pc:picChg>
        <pc:picChg chg="add del">
          <ac:chgData name="Tony Radkiewicz" userId="9832534a-7e4f-4058-9c41-7f4a5b855c95" providerId="ADAL" clId="{D01F972D-4D8C-4BE8-B737-74B9E145EE84}" dt="2022-08-29T22:52:51.040" v="1036" actId="478"/>
          <ac:picMkLst>
            <pc:docMk/>
            <pc:sldMk cId="2671065060" sldId="339"/>
            <ac:picMk id="20" creationId="{FAC400A8-BF9F-C665-4736-6EA38A329A65}"/>
          </ac:picMkLst>
        </pc:picChg>
        <pc:picChg chg="add mod">
          <ac:chgData name="Tony Radkiewicz" userId="9832534a-7e4f-4058-9c41-7f4a5b855c95" providerId="ADAL" clId="{D01F972D-4D8C-4BE8-B737-74B9E145EE84}" dt="2022-08-29T22:54:33.969" v="1048" actId="1076"/>
          <ac:picMkLst>
            <pc:docMk/>
            <pc:sldMk cId="2671065060" sldId="339"/>
            <ac:picMk id="22" creationId="{98DD611D-67B6-D23B-F6A0-B580A961F663}"/>
          </ac:picMkLst>
        </pc:picChg>
        <pc:picChg chg="add del mod">
          <ac:chgData name="Tony Radkiewicz" userId="9832534a-7e4f-4058-9c41-7f4a5b855c95" providerId="ADAL" clId="{D01F972D-4D8C-4BE8-B737-74B9E145EE84}" dt="2022-08-29T22:54:28.332" v="1047" actId="478"/>
          <ac:picMkLst>
            <pc:docMk/>
            <pc:sldMk cId="2671065060" sldId="339"/>
            <ac:picMk id="24" creationId="{AEC9C400-2653-0EF2-F750-37C96A21D302}"/>
          </ac:picMkLst>
        </pc:picChg>
      </pc:sldChg>
      <pc:sldChg chg="modSp">
        <pc:chgData name="Tony Radkiewicz" userId="9832534a-7e4f-4058-9c41-7f4a5b855c95" providerId="ADAL" clId="{D01F972D-4D8C-4BE8-B737-74B9E145EE84}" dt="2022-08-29T22:19:50.047" v="834"/>
        <pc:sldMkLst>
          <pc:docMk/>
          <pc:sldMk cId="961770828" sldId="341"/>
        </pc:sldMkLst>
        <pc:graphicFrameChg chg="mod">
          <ac:chgData name="Tony Radkiewicz" userId="9832534a-7e4f-4058-9c41-7f4a5b855c95" providerId="ADAL" clId="{D01F972D-4D8C-4BE8-B737-74B9E145EE84}" dt="2022-08-29T22:19:50.047" v="834"/>
          <ac:graphicFrameMkLst>
            <pc:docMk/>
            <pc:sldMk cId="961770828" sldId="341"/>
            <ac:graphicFrameMk id="5" creationId="{33BF0D34-CA0B-09B9-C2B1-604D778DBFF2}"/>
          </ac:graphicFrameMkLst>
        </pc:graphicFrameChg>
      </pc:sldChg>
      <pc:sldChg chg="modSp add mod">
        <pc:chgData name="Tony Radkiewicz" userId="9832534a-7e4f-4058-9c41-7f4a5b855c95" providerId="ADAL" clId="{D01F972D-4D8C-4BE8-B737-74B9E145EE84}" dt="2022-08-29T22:55:50.881" v="1058" actId="1076"/>
        <pc:sldMkLst>
          <pc:docMk/>
          <pc:sldMk cId="2612765922" sldId="342"/>
        </pc:sldMkLst>
        <pc:picChg chg="mod">
          <ac:chgData name="Tony Radkiewicz" userId="9832534a-7e4f-4058-9c41-7f4a5b855c95" providerId="ADAL" clId="{D01F972D-4D8C-4BE8-B737-74B9E145EE84}" dt="2022-08-29T22:55:50.881" v="1058" actId="1076"/>
          <ac:picMkLst>
            <pc:docMk/>
            <pc:sldMk cId="2612765922" sldId="342"/>
            <ac:picMk id="18" creationId="{4B232547-E6E2-4324-66DD-959FCCCB2A14}"/>
          </ac:picMkLst>
        </pc:picChg>
      </pc:sldChg>
      <pc:sldChg chg="modSp mod">
        <pc:chgData name="Tony Radkiewicz" userId="9832534a-7e4f-4058-9c41-7f4a5b855c95" providerId="ADAL" clId="{D01F972D-4D8C-4BE8-B737-74B9E145EE84}" dt="2022-08-29T22:21:34.335" v="880" actId="20577"/>
        <pc:sldMkLst>
          <pc:docMk/>
          <pc:sldMk cId="2803760190" sldId="342"/>
        </pc:sldMkLst>
        <pc:spChg chg="mod">
          <ac:chgData name="Tony Radkiewicz" userId="9832534a-7e4f-4058-9c41-7f4a5b855c95" providerId="ADAL" clId="{D01F972D-4D8C-4BE8-B737-74B9E145EE84}" dt="2022-08-29T22:21:34.335" v="880" actId="20577"/>
          <ac:spMkLst>
            <pc:docMk/>
            <pc:sldMk cId="2803760190" sldId="342"/>
            <ac:spMk id="3" creationId="{D9E89D95-6FCA-45C6-981C-9C1CE7F8DD25}"/>
          </ac:spMkLst>
        </pc:spChg>
        <pc:graphicFrameChg chg="mod">
          <ac:chgData name="Tony Radkiewicz" userId="9832534a-7e4f-4058-9c41-7f4a5b855c95" providerId="ADAL" clId="{D01F972D-4D8C-4BE8-B737-74B9E145EE84}" dt="2022-08-29T22:18:19.922" v="821" actId="13782"/>
          <ac:graphicFrameMkLst>
            <pc:docMk/>
            <pc:sldMk cId="2803760190" sldId="342"/>
            <ac:graphicFrameMk id="5" creationId="{33BF0D34-CA0B-09B9-C2B1-604D778DBFF2}"/>
          </ac:graphicFrameMkLst>
        </pc:graphicFrameChg>
      </pc:sldChg>
      <pc:sldChg chg="mod modShow">
        <pc:chgData name="Tony Radkiewicz" userId="9832534a-7e4f-4058-9c41-7f4a5b855c95" providerId="ADAL" clId="{D01F972D-4D8C-4BE8-B737-74B9E145EE84}" dt="2022-09-08T17:28:28.528" v="1178" actId="729"/>
        <pc:sldMkLst>
          <pc:docMk/>
          <pc:sldMk cId="1228198472" sldId="345"/>
        </pc:sldMkLst>
      </pc:sldChg>
      <pc:sldChg chg="add">
        <pc:chgData name="Tony Radkiewicz" userId="9832534a-7e4f-4058-9c41-7f4a5b855c95" providerId="ADAL" clId="{D01F972D-4D8C-4BE8-B737-74B9E145EE84}" dt="2022-09-08T17:09:04.287" v="1059" actId="2890"/>
        <pc:sldMkLst>
          <pc:docMk/>
          <pc:sldMk cId="2826708154" sldId="349"/>
        </pc:sldMkLst>
      </pc:sldChg>
      <pc:sldChg chg="modSp del mod">
        <pc:chgData name="Tony Radkiewicz" userId="9832534a-7e4f-4058-9c41-7f4a5b855c95" providerId="ADAL" clId="{D01F972D-4D8C-4BE8-B737-74B9E145EE84}" dt="2022-09-08T17:25:09.240" v="1120" actId="47"/>
        <pc:sldMkLst>
          <pc:docMk/>
          <pc:sldMk cId="2826708154" sldId="350"/>
        </pc:sldMkLst>
        <pc:graphicFrameChg chg="mod">
          <ac:chgData name="Tony Radkiewicz" userId="9832534a-7e4f-4058-9c41-7f4a5b855c95" providerId="ADAL" clId="{D01F972D-4D8C-4BE8-B737-74B9E145EE84}" dt="2022-09-08T17:11:02.042" v="1092" actId="14100"/>
          <ac:graphicFrameMkLst>
            <pc:docMk/>
            <pc:sldMk cId="2826708154" sldId="350"/>
            <ac:graphicFrameMk id="16" creationId="{FF836BF8-B54F-B2BD-BAAA-3FD591F0543E}"/>
          </ac:graphicFrameMkLst>
        </pc:graphicFrameChg>
        <pc:picChg chg="mod">
          <ac:chgData name="Tony Radkiewicz" userId="9832534a-7e4f-4058-9c41-7f4a5b855c95" providerId="ADAL" clId="{D01F972D-4D8C-4BE8-B737-74B9E145EE84}" dt="2022-09-08T17:10:28.843" v="1074" actId="1076"/>
          <ac:picMkLst>
            <pc:docMk/>
            <pc:sldMk cId="2826708154" sldId="350"/>
            <ac:picMk id="18" creationId="{4B232547-E6E2-4324-66DD-959FCCCB2A14}"/>
          </ac:picMkLst>
        </pc:picChg>
        <pc:picChg chg="mod">
          <ac:chgData name="Tony Radkiewicz" userId="9832534a-7e4f-4058-9c41-7f4a5b855c95" providerId="ADAL" clId="{D01F972D-4D8C-4BE8-B737-74B9E145EE84}" dt="2022-09-08T17:10:52.995" v="1089" actId="1076"/>
          <ac:picMkLst>
            <pc:docMk/>
            <pc:sldMk cId="2826708154" sldId="350"/>
            <ac:picMk id="22" creationId="{98DD611D-67B6-D23B-F6A0-B580A961F663}"/>
          </ac:picMkLst>
        </pc:picChg>
      </pc:sldChg>
      <pc:sldChg chg="modSp mod modShow">
        <pc:chgData name="Tony Radkiewicz" userId="9832534a-7e4f-4058-9c41-7f4a5b855c95" providerId="ADAL" clId="{D01F972D-4D8C-4BE8-B737-74B9E145EE84}" dt="2022-09-08T17:30:51.359" v="1198" actId="1076"/>
        <pc:sldMkLst>
          <pc:docMk/>
          <pc:sldMk cId="278370411" sldId="351"/>
        </pc:sldMkLst>
        <pc:graphicFrameChg chg="mod">
          <ac:chgData name="Tony Radkiewicz" userId="9832534a-7e4f-4058-9c41-7f4a5b855c95" providerId="ADAL" clId="{D01F972D-4D8C-4BE8-B737-74B9E145EE84}" dt="2022-09-08T17:30:14.159" v="1184" actId="1076"/>
          <ac:graphicFrameMkLst>
            <pc:docMk/>
            <pc:sldMk cId="278370411" sldId="351"/>
            <ac:graphicFrameMk id="16" creationId="{FF836BF8-B54F-B2BD-BAAA-3FD591F0543E}"/>
          </ac:graphicFrameMkLst>
        </pc:graphicFrameChg>
        <pc:picChg chg="mod">
          <ac:chgData name="Tony Radkiewicz" userId="9832534a-7e4f-4058-9c41-7f4a5b855c95" providerId="ADAL" clId="{D01F972D-4D8C-4BE8-B737-74B9E145EE84}" dt="2022-09-08T17:30:32.628" v="1192" actId="1076"/>
          <ac:picMkLst>
            <pc:docMk/>
            <pc:sldMk cId="278370411" sldId="351"/>
            <ac:picMk id="18" creationId="{4B232547-E6E2-4324-66DD-959FCCCB2A14}"/>
          </ac:picMkLst>
        </pc:picChg>
        <pc:picChg chg="mod">
          <ac:chgData name="Tony Radkiewicz" userId="9832534a-7e4f-4058-9c41-7f4a5b855c95" providerId="ADAL" clId="{D01F972D-4D8C-4BE8-B737-74B9E145EE84}" dt="2022-09-08T17:30:44.999" v="1197" actId="1076"/>
          <ac:picMkLst>
            <pc:docMk/>
            <pc:sldMk cId="278370411" sldId="351"/>
            <ac:picMk id="22" creationId="{98DD611D-67B6-D23B-F6A0-B580A961F663}"/>
          </ac:picMkLst>
        </pc:picChg>
        <pc:picChg chg="mod">
          <ac:chgData name="Tony Radkiewicz" userId="9832534a-7e4f-4058-9c41-7f4a5b855c95" providerId="ADAL" clId="{D01F972D-4D8C-4BE8-B737-74B9E145EE84}" dt="2022-09-08T17:30:51.359" v="1198" actId="1076"/>
          <ac:picMkLst>
            <pc:docMk/>
            <pc:sldMk cId="278370411" sldId="351"/>
            <ac:picMk id="118790" creationId="{B25F607A-94C1-0DA5-92B0-856BF30C8E0F}"/>
          </ac:picMkLst>
        </pc:picChg>
      </pc:sldChg>
      <pc:sldChg chg="addSp delSp modSp add del mod modClrScheme delAnim modAnim modShow chgLayout">
        <pc:chgData name="Tony Radkiewicz" userId="9832534a-7e4f-4058-9c41-7f4a5b855c95" providerId="ADAL" clId="{D01F972D-4D8C-4BE8-B737-74B9E145EE84}" dt="2022-09-08T17:55:52.334" v="1316" actId="2696"/>
        <pc:sldMkLst>
          <pc:docMk/>
          <pc:sldMk cId="697325936" sldId="352"/>
        </pc:sldMkLst>
        <pc:spChg chg="mod">
          <ac:chgData name="Tony Radkiewicz" userId="9832534a-7e4f-4058-9c41-7f4a5b855c95" providerId="ADAL" clId="{D01F972D-4D8C-4BE8-B737-74B9E145EE84}" dt="2022-09-08T17:41:53.628" v="1299" actId="14100"/>
          <ac:spMkLst>
            <pc:docMk/>
            <pc:sldMk cId="697325936" sldId="352"/>
            <ac:spMk id="2" creationId="{FEB8E374-6BA3-401E-B7D7-83B29886091D}"/>
          </ac:spMkLst>
        </pc:spChg>
        <pc:spChg chg="mod">
          <ac:chgData name="Tony Radkiewicz" userId="9832534a-7e4f-4058-9c41-7f4a5b855c95" providerId="ADAL" clId="{D01F972D-4D8C-4BE8-B737-74B9E145EE84}" dt="2022-09-08T17:40:41.757" v="1243" actId="26606"/>
          <ac:spMkLst>
            <pc:docMk/>
            <pc:sldMk cId="697325936" sldId="352"/>
            <ac:spMk id="3" creationId="{11DDFD10-6E53-47FB-AF96-67A1ED119206}"/>
          </ac:spMkLst>
        </pc:spChg>
        <pc:spChg chg="del">
          <ac:chgData name="Tony Radkiewicz" userId="9832534a-7e4f-4058-9c41-7f4a5b855c95" providerId="ADAL" clId="{D01F972D-4D8C-4BE8-B737-74B9E145EE84}" dt="2022-09-08T17:40:41.757" v="1243" actId="26606"/>
          <ac:spMkLst>
            <pc:docMk/>
            <pc:sldMk cId="697325936" sldId="352"/>
            <ac:spMk id="5" creationId="{BDB0A9E9-F4F0-4041-9184-769BFE5513F5}"/>
          </ac:spMkLst>
        </pc:spChg>
        <pc:spChg chg="del">
          <ac:chgData name="Tony Radkiewicz" userId="9832534a-7e4f-4058-9c41-7f4a5b855c95" providerId="ADAL" clId="{D01F972D-4D8C-4BE8-B737-74B9E145EE84}" dt="2022-09-08T17:40:18.613" v="1238" actId="478"/>
          <ac:spMkLst>
            <pc:docMk/>
            <pc:sldMk cId="697325936" sldId="352"/>
            <ac:spMk id="6" creationId="{54A1D0EA-5D42-471A-A108-644C3E4FACA6}"/>
          </ac:spMkLst>
        </pc:spChg>
        <pc:spChg chg="del">
          <ac:chgData name="Tony Radkiewicz" userId="9832534a-7e4f-4058-9c41-7f4a5b855c95" providerId="ADAL" clId="{D01F972D-4D8C-4BE8-B737-74B9E145EE84}" dt="2022-09-08T17:40:20.025" v="1240" actId="478"/>
          <ac:spMkLst>
            <pc:docMk/>
            <pc:sldMk cId="697325936" sldId="352"/>
            <ac:spMk id="10" creationId="{52C3FBF6-AF31-4BF5-909D-797EDE011726}"/>
          </ac:spMkLst>
        </pc:spChg>
        <pc:spChg chg="del">
          <ac:chgData name="Tony Radkiewicz" userId="9832534a-7e4f-4058-9c41-7f4a5b855c95" providerId="ADAL" clId="{D01F972D-4D8C-4BE8-B737-74B9E145EE84}" dt="2022-09-08T17:40:19.332" v="1239" actId="478"/>
          <ac:spMkLst>
            <pc:docMk/>
            <pc:sldMk cId="697325936" sldId="352"/>
            <ac:spMk id="12" creationId="{04A37093-2C57-475C-BD75-167687BA8D89}"/>
          </ac:spMkLst>
        </pc:spChg>
        <pc:spChg chg="add del mod">
          <ac:chgData name="Tony Radkiewicz" userId="9832534a-7e4f-4058-9c41-7f4a5b855c95" providerId="ADAL" clId="{D01F972D-4D8C-4BE8-B737-74B9E145EE84}" dt="2022-09-08T17:41:29.822" v="1275" actId="478"/>
          <ac:spMkLst>
            <pc:docMk/>
            <pc:sldMk cId="697325936" sldId="352"/>
            <ac:spMk id="13" creationId="{57380356-EA5E-2F1F-4557-40886EB0826D}"/>
          </ac:spMkLst>
        </pc:spChg>
        <pc:picChg chg="del">
          <ac:chgData name="Tony Radkiewicz" userId="9832534a-7e4f-4058-9c41-7f4a5b855c95" providerId="ADAL" clId="{D01F972D-4D8C-4BE8-B737-74B9E145EE84}" dt="2022-09-08T17:40:15.568" v="1237" actId="478"/>
          <ac:picMkLst>
            <pc:docMk/>
            <pc:sldMk cId="697325936" sldId="352"/>
            <ac:picMk id="4" creationId="{A7CB880D-37E0-4590-985E-6A5786FF56C0}"/>
          </ac:picMkLst>
        </pc:picChg>
        <pc:picChg chg="add mod">
          <ac:chgData name="Tony Radkiewicz" userId="9832534a-7e4f-4058-9c41-7f4a5b855c95" providerId="ADAL" clId="{D01F972D-4D8C-4BE8-B737-74B9E145EE84}" dt="2022-09-08T17:41:25.952" v="1274" actId="1076"/>
          <ac:picMkLst>
            <pc:docMk/>
            <pc:sldMk cId="697325936" sldId="352"/>
            <ac:picMk id="8" creationId="{D9FD0850-558B-3D6E-A7C8-82DC98C73B5E}"/>
          </ac:picMkLst>
        </pc:picChg>
      </pc:sldChg>
      <pc:sldChg chg="addSp delSp modSp add mod modShow">
        <pc:chgData name="Tony Radkiewicz" userId="9832534a-7e4f-4058-9c41-7f4a5b855c95" providerId="ADAL" clId="{D01F972D-4D8C-4BE8-B737-74B9E145EE84}" dt="2022-09-08T17:28:28.528" v="1178" actId="729"/>
        <pc:sldMkLst>
          <pc:docMk/>
          <pc:sldMk cId="2659430560" sldId="352"/>
        </pc:sldMkLst>
        <pc:graphicFrameChg chg="mod">
          <ac:chgData name="Tony Radkiewicz" userId="9832534a-7e4f-4058-9c41-7f4a5b855c95" providerId="ADAL" clId="{D01F972D-4D8C-4BE8-B737-74B9E145EE84}" dt="2022-09-08T17:27:51.283" v="1173" actId="14100"/>
          <ac:graphicFrameMkLst>
            <pc:docMk/>
            <pc:sldMk cId="2659430560" sldId="352"/>
            <ac:graphicFrameMk id="16" creationId="{FF836BF8-B54F-B2BD-BAAA-3FD591F0543E}"/>
          </ac:graphicFrameMkLst>
        </pc:graphicFrameChg>
        <pc:picChg chg="add mod">
          <ac:chgData name="Tony Radkiewicz" userId="9832534a-7e4f-4058-9c41-7f4a5b855c95" providerId="ADAL" clId="{D01F972D-4D8C-4BE8-B737-74B9E145EE84}" dt="2022-09-08T17:26:21.132" v="1148" actId="1076"/>
          <ac:picMkLst>
            <pc:docMk/>
            <pc:sldMk cId="2659430560" sldId="352"/>
            <ac:picMk id="4" creationId="{44C287CA-8B8A-A995-4CA5-ED2EB123393B}"/>
          </ac:picMkLst>
        </pc:picChg>
        <pc:picChg chg="add mod">
          <ac:chgData name="Tony Radkiewicz" userId="9832534a-7e4f-4058-9c41-7f4a5b855c95" providerId="ADAL" clId="{D01F972D-4D8C-4BE8-B737-74B9E145EE84}" dt="2022-09-08T17:26:40.722" v="1156" actId="1076"/>
          <ac:picMkLst>
            <pc:docMk/>
            <pc:sldMk cId="2659430560" sldId="352"/>
            <ac:picMk id="6" creationId="{0493EC19-2C40-2A86-AD06-73B8A34C347C}"/>
          </ac:picMkLst>
        </pc:picChg>
        <pc:picChg chg="add mod">
          <ac:chgData name="Tony Radkiewicz" userId="9832534a-7e4f-4058-9c41-7f4a5b855c95" providerId="ADAL" clId="{D01F972D-4D8C-4BE8-B737-74B9E145EE84}" dt="2022-09-08T17:28:04.887" v="1177" actId="1076"/>
          <ac:picMkLst>
            <pc:docMk/>
            <pc:sldMk cId="2659430560" sldId="352"/>
            <ac:picMk id="8" creationId="{8A70E618-7736-FBB7-BC8B-C42C9A4CBCE3}"/>
          </ac:picMkLst>
        </pc:picChg>
        <pc:picChg chg="del">
          <ac:chgData name="Tony Radkiewicz" userId="9832534a-7e4f-4058-9c41-7f4a5b855c95" providerId="ADAL" clId="{D01F972D-4D8C-4BE8-B737-74B9E145EE84}" dt="2022-09-08T17:21:27.563" v="1094" actId="478"/>
          <ac:picMkLst>
            <pc:docMk/>
            <pc:sldMk cId="2659430560" sldId="352"/>
            <ac:picMk id="18" creationId="{4B232547-E6E2-4324-66DD-959FCCCB2A14}"/>
          </ac:picMkLst>
        </pc:picChg>
        <pc:picChg chg="del">
          <ac:chgData name="Tony Radkiewicz" userId="9832534a-7e4f-4058-9c41-7f4a5b855c95" providerId="ADAL" clId="{D01F972D-4D8C-4BE8-B737-74B9E145EE84}" dt="2022-09-08T17:23:35.259" v="1113" actId="478"/>
          <ac:picMkLst>
            <pc:docMk/>
            <pc:sldMk cId="2659430560" sldId="352"/>
            <ac:picMk id="22" creationId="{98DD611D-67B6-D23B-F6A0-B580A961F663}"/>
          </ac:picMkLst>
        </pc:picChg>
      </pc:sldChg>
      <pc:sldChg chg="mod modShow">
        <pc:chgData name="Tony Radkiewicz" userId="9832534a-7e4f-4058-9c41-7f4a5b855c95" providerId="ADAL" clId="{D01F972D-4D8C-4BE8-B737-74B9E145EE84}" dt="2022-09-08T17:28:28.528" v="1178" actId="729"/>
        <pc:sldMkLst>
          <pc:docMk/>
          <pc:sldMk cId="690764133" sldId="353"/>
        </pc:sldMkLst>
      </pc:sldChg>
      <pc:sldChg chg="modSp add mod ord">
        <pc:chgData name="Tony Radkiewicz" userId="9832534a-7e4f-4058-9c41-7f4a5b855c95" providerId="ADAL" clId="{D01F972D-4D8C-4BE8-B737-74B9E145EE84}" dt="2022-09-08T18:13:39.794" v="1565"/>
        <pc:sldMkLst>
          <pc:docMk/>
          <pc:sldMk cId="1421064815" sldId="353"/>
        </pc:sldMkLst>
        <pc:spChg chg="mod">
          <ac:chgData name="Tony Radkiewicz" userId="9832534a-7e4f-4058-9c41-7f4a5b855c95" providerId="ADAL" clId="{D01F972D-4D8C-4BE8-B737-74B9E145EE84}" dt="2022-09-08T17:52:52.694" v="1312" actId="20577"/>
          <ac:spMkLst>
            <pc:docMk/>
            <pc:sldMk cId="1421064815" sldId="353"/>
            <ac:spMk id="2" creationId="{FEB8E374-6BA3-401E-B7D7-83B29886091D}"/>
          </ac:spMkLst>
        </pc:spChg>
      </pc:sldChg>
      <pc:sldChg chg="addSp delSp modSp add mod">
        <pc:chgData name="Tony Radkiewicz" userId="9832534a-7e4f-4058-9c41-7f4a5b855c95" providerId="ADAL" clId="{D01F972D-4D8C-4BE8-B737-74B9E145EE84}" dt="2022-09-08T18:13:31.649" v="1563" actId="1076"/>
        <pc:sldMkLst>
          <pc:docMk/>
          <pc:sldMk cId="1693141952" sldId="354"/>
        </pc:sldMkLst>
        <pc:spChg chg="del">
          <ac:chgData name="Tony Radkiewicz" userId="9832534a-7e4f-4058-9c41-7f4a5b855c95" providerId="ADAL" clId="{D01F972D-4D8C-4BE8-B737-74B9E145EE84}" dt="2022-09-08T17:55:27.949" v="1315" actId="478"/>
          <ac:spMkLst>
            <pc:docMk/>
            <pc:sldMk cId="1693141952" sldId="354"/>
            <ac:spMk id="2" creationId="{FEB8E374-6BA3-401E-B7D7-83B29886091D}"/>
          </ac:spMkLst>
        </pc:spChg>
        <pc:spChg chg="add del mod">
          <ac:chgData name="Tony Radkiewicz" userId="9832534a-7e4f-4058-9c41-7f4a5b855c95" providerId="ADAL" clId="{D01F972D-4D8C-4BE8-B737-74B9E145EE84}" dt="2022-09-08T17:56:07.427" v="1317" actId="478"/>
          <ac:spMkLst>
            <pc:docMk/>
            <pc:sldMk cId="1693141952" sldId="354"/>
            <ac:spMk id="5" creationId="{91BE47E7-A993-6A83-3964-79F2126E6EA2}"/>
          </ac:spMkLst>
        </pc:spChg>
        <pc:spChg chg="add mod">
          <ac:chgData name="Tony Radkiewicz" userId="9832534a-7e4f-4058-9c41-7f4a5b855c95" providerId="ADAL" clId="{D01F972D-4D8C-4BE8-B737-74B9E145EE84}" dt="2022-09-08T17:58:00.140" v="1384" actId="14100"/>
          <ac:spMkLst>
            <pc:docMk/>
            <pc:sldMk cId="1693141952" sldId="354"/>
            <ac:spMk id="9" creationId="{52F5384B-F03A-6641-A3DA-7D3BFD959DA6}"/>
          </ac:spMkLst>
        </pc:spChg>
        <pc:spChg chg="add mod">
          <ac:chgData name="Tony Radkiewicz" userId="9832534a-7e4f-4058-9c41-7f4a5b855c95" providerId="ADAL" clId="{D01F972D-4D8C-4BE8-B737-74B9E145EE84}" dt="2022-09-08T18:13:26.515" v="1561" actId="1076"/>
          <ac:spMkLst>
            <pc:docMk/>
            <pc:sldMk cId="1693141952" sldId="354"/>
            <ac:spMk id="10" creationId="{3FFCB69E-A688-459F-48DB-99EA392D1637}"/>
          </ac:spMkLst>
        </pc:spChg>
        <pc:spChg chg="add mod">
          <ac:chgData name="Tony Radkiewicz" userId="9832534a-7e4f-4058-9c41-7f4a5b855c95" providerId="ADAL" clId="{D01F972D-4D8C-4BE8-B737-74B9E145EE84}" dt="2022-09-08T18:13:23.477" v="1560" actId="1076"/>
          <ac:spMkLst>
            <pc:docMk/>
            <pc:sldMk cId="1693141952" sldId="354"/>
            <ac:spMk id="12" creationId="{E6165CCC-35D7-E8CF-B0D6-82373F70B146}"/>
          </ac:spMkLst>
        </pc:spChg>
        <pc:spChg chg="add mod">
          <ac:chgData name="Tony Radkiewicz" userId="9832534a-7e4f-4058-9c41-7f4a5b855c95" providerId="ADAL" clId="{D01F972D-4D8C-4BE8-B737-74B9E145EE84}" dt="2022-09-08T18:13:31.649" v="1563" actId="1076"/>
          <ac:spMkLst>
            <pc:docMk/>
            <pc:sldMk cId="1693141952" sldId="354"/>
            <ac:spMk id="14" creationId="{FE0938AB-7B23-145B-4430-295C7C63EFF6}"/>
          </ac:spMkLst>
        </pc:spChg>
        <pc:spChg chg="add mod">
          <ac:chgData name="Tony Radkiewicz" userId="9832534a-7e4f-4058-9c41-7f4a5b855c95" providerId="ADAL" clId="{D01F972D-4D8C-4BE8-B737-74B9E145EE84}" dt="2022-09-08T18:13:29.836" v="1562" actId="1076"/>
          <ac:spMkLst>
            <pc:docMk/>
            <pc:sldMk cId="1693141952" sldId="354"/>
            <ac:spMk id="16" creationId="{B6626631-213E-E11E-0D2D-1021969E43EB}"/>
          </ac:spMkLst>
        </pc:spChg>
        <pc:picChg chg="add del mod">
          <ac:chgData name="Tony Radkiewicz" userId="9832534a-7e4f-4058-9c41-7f4a5b855c95" providerId="ADAL" clId="{D01F972D-4D8C-4BE8-B737-74B9E145EE84}" dt="2022-09-08T18:13:13.647" v="1556" actId="478"/>
          <ac:picMkLst>
            <pc:docMk/>
            <pc:sldMk cId="1693141952" sldId="354"/>
            <ac:picMk id="7" creationId="{52A59AD4-7DC0-A716-5126-36016ED21BF4}"/>
          </ac:picMkLst>
        </pc:picChg>
        <pc:picChg chg="del mod">
          <ac:chgData name="Tony Radkiewicz" userId="9832534a-7e4f-4058-9c41-7f4a5b855c95" providerId="ADAL" clId="{D01F972D-4D8C-4BE8-B737-74B9E145EE84}" dt="2022-09-08T17:56:54.649" v="1319" actId="478"/>
          <ac:picMkLst>
            <pc:docMk/>
            <pc:sldMk cId="1693141952" sldId="354"/>
            <ac:picMk id="8" creationId="{D9FD0850-558B-3D6E-A7C8-82DC98C73B5E}"/>
          </ac:picMkLst>
        </pc:picChg>
        <pc:picChg chg="add mod ord">
          <ac:chgData name="Tony Radkiewicz" userId="9832534a-7e4f-4058-9c41-7f4a5b855c95" providerId="ADAL" clId="{D01F972D-4D8C-4BE8-B737-74B9E145EE84}" dt="2022-09-08T18:13:18.184" v="1559" actId="167"/>
          <ac:picMkLst>
            <pc:docMk/>
            <pc:sldMk cId="1693141952" sldId="354"/>
            <ac:picMk id="18" creationId="{499C7F64-F684-A186-482D-5A25AAB8B83C}"/>
          </ac:picMkLst>
        </pc:picChg>
      </pc:sldChg>
      <pc:sldChg chg="modSp mod modAnim">
        <pc:chgData name="Tony Radkiewicz" userId="9832534a-7e4f-4058-9c41-7f4a5b855c95" providerId="ADAL" clId="{D01F972D-4D8C-4BE8-B737-74B9E145EE84}" dt="2022-09-08T18:14:59.553" v="1597" actId="14100"/>
        <pc:sldMkLst>
          <pc:docMk/>
          <pc:sldMk cId="226636752" sldId="356"/>
        </pc:sldMkLst>
        <pc:spChg chg="mod">
          <ac:chgData name="Tony Radkiewicz" userId="9832534a-7e4f-4058-9c41-7f4a5b855c95" providerId="ADAL" clId="{D01F972D-4D8C-4BE8-B737-74B9E145EE84}" dt="2022-09-08T18:14:29.117" v="1581" actId="14100"/>
          <ac:spMkLst>
            <pc:docMk/>
            <pc:sldMk cId="226636752" sldId="356"/>
            <ac:spMk id="5" creationId="{FD7354B6-3906-3D80-F86C-D564C25C41A1}"/>
          </ac:spMkLst>
        </pc:spChg>
        <pc:spChg chg="mod">
          <ac:chgData name="Tony Radkiewicz" userId="9832534a-7e4f-4058-9c41-7f4a5b855c95" providerId="ADAL" clId="{D01F972D-4D8C-4BE8-B737-74B9E145EE84}" dt="2022-09-08T18:14:59.553" v="1597" actId="14100"/>
          <ac:spMkLst>
            <pc:docMk/>
            <pc:sldMk cId="226636752" sldId="356"/>
            <ac:spMk id="6" creationId="{4E4B5C31-5231-5A77-5FAB-FA1764835E24}"/>
          </ac:spMkLst>
        </pc:spChg>
        <pc:spChg chg="mod">
          <ac:chgData name="Tony Radkiewicz" userId="9832534a-7e4f-4058-9c41-7f4a5b855c95" providerId="ADAL" clId="{D01F972D-4D8C-4BE8-B737-74B9E145EE84}" dt="2022-09-08T18:14:43.143" v="1589" actId="14100"/>
          <ac:spMkLst>
            <pc:docMk/>
            <pc:sldMk cId="226636752" sldId="356"/>
            <ac:spMk id="7" creationId="{ACA7D85E-CC97-CCBD-8508-96C031FB2257}"/>
          </ac:spMkLst>
        </pc:spChg>
        <pc:spChg chg="mod">
          <ac:chgData name="Tony Radkiewicz" userId="9832534a-7e4f-4058-9c41-7f4a5b855c95" providerId="ADAL" clId="{D01F972D-4D8C-4BE8-B737-74B9E145EE84}" dt="2022-09-08T18:14:11.625" v="1573" actId="14100"/>
          <ac:spMkLst>
            <pc:docMk/>
            <pc:sldMk cId="226636752" sldId="356"/>
            <ac:spMk id="9" creationId="{4EFFF632-5D46-2410-0CC6-3229D09ADBEF}"/>
          </ac:spMkLst>
        </pc:spChg>
      </pc:sldChg>
      <pc:sldChg chg="modSp mod modAnim">
        <pc:chgData name="Tony Radkiewicz" userId="9832534a-7e4f-4058-9c41-7f4a5b855c95" providerId="ADAL" clId="{D01F972D-4D8C-4BE8-B737-74B9E145EE84}" dt="2022-09-08T18:18:24.949" v="1609" actId="692"/>
        <pc:sldMkLst>
          <pc:docMk/>
          <pc:sldMk cId="2220934050" sldId="359"/>
        </pc:sldMkLst>
        <pc:spChg chg="mod">
          <ac:chgData name="Tony Radkiewicz" userId="9832534a-7e4f-4058-9c41-7f4a5b855c95" providerId="ADAL" clId="{D01F972D-4D8C-4BE8-B737-74B9E145EE84}" dt="2022-09-08T18:18:17.689" v="1607" actId="692"/>
          <ac:spMkLst>
            <pc:docMk/>
            <pc:sldMk cId="2220934050" sldId="359"/>
            <ac:spMk id="5" creationId="{FD7354B6-3906-3D80-F86C-D564C25C41A1}"/>
          </ac:spMkLst>
        </pc:spChg>
        <pc:spChg chg="mod">
          <ac:chgData name="Tony Radkiewicz" userId="9832534a-7e4f-4058-9c41-7f4a5b855c95" providerId="ADAL" clId="{D01F972D-4D8C-4BE8-B737-74B9E145EE84}" dt="2022-09-08T18:18:24.949" v="1609" actId="692"/>
          <ac:spMkLst>
            <pc:docMk/>
            <pc:sldMk cId="2220934050" sldId="359"/>
            <ac:spMk id="6" creationId="{4E4B5C31-5231-5A77-5FAB-FA1764835E24}"/>
          </ac:spMkLst>
        </pc:spChg>
        <pc:spChg chg="mod">
          <ac:chgData name="Tony Radkiewicz" userId="9832534a-7e4f-4058-9c41-7f4a5b855c95" providerId="ADAL" clId="{D01F972D-4D8C-4BE8-B737-74B9E145EE84}" dt="2022-09-08T18:18:21.272" v="1608" actId="692"/>
          <ac:spMkLst>
            <pc:docMk/>
            <pc:sldMk cId="2220934050" sldId="359"/>
            <ac:spMk id="7" creationId="{ACA7D85E-CC97-CCBD-8508-96C031FB2257}"/>
          </ac:spMkLst>
        </pc:spChg>
        <pc:spChg chg="mod">
          <ac:chgData name="Tony Radkiewicz" userId="9832534a-7e4f-4058-9c41-7f4a5b855c95" providerId="ADAL" clId="{D01F972D-4D8C-4BE8-B737-74B9E145EE84}" dt="2022-09-08T18:18:14.283" v="1606" actId="692"/>
          <ac:spMkLst>
            <pc:docMk/>
            <pc:sldMk cId="2220934050" sldId="359"/>
            <ac:spMk id="9" creationId="{4EFFF632-5D46-2410-0CC6-3229D09ADBEF}"/>
          </ac:spMkLst>
        </pc:spChg>
      </pc:sldChg>
      <pc:sldChg chg="modSp mod modAnim">
        <pc:chgData name="Tony Radkiewicz" userId="9832534a-7e4f-4058-9c41-7f4a5b855c95" providerId="ADAL" clId="{D01F972D-4D8C-4BE8-B737-74B9E145EE84}" dt="2022-09-08T18:12:54.346" v="1554"/>
        <pc:sldMkLst>
          <pc:docMk/>
          <pc:sldMk cId="1941619545" sldId="360"/>
        </pc:sldMkLst>
        <pc:spChg chg="mod">
          <ac:chgData name="Tony Radkiewicz" userId="9832534a-7e4f-4058-9c41-7f4a5b855c95" providerId="ADAL" clId="{D01F972D-4D8C-4BE8-B737-74B9E145EE84}" dt="2022-09-08T18:11:37.651" v="1533" actId="14100"/>
          <ac:spMkLst>
            <pc:docMk/>
            <pc:sldMk cId="1941619545" sldId="360"/>
            <ac:spMk id="5" creationId="{FD7354B6-3906-3D80-F86C-D564C25C41A1}"/>
          </ac:spMkLst>
        </pc:spChg>
        <pc:spChg chg="mod">
          <ac:chgData name="Tony Radkiewicz" userId="9832534a-7e4f-4058-9c41-7f4a5b855c95" providerId="ADAL" clId="{D01F972D-4D8C-4BE8-B737-74B9E145EE84}" dt="2022-09-08T18:12:11.630" v="1550" actId="1076"/>
          <ac:spMkLst>
            <pc:docMk/>
            <pc:sldMk cId="1941619545" sldId="360"/>
            <ac:spMk id="6" creationId="{4E4B5C31-5231-5A77-5FAB-FA1764835E24}"/>
          </ac:spMkLst>
        </pc:spChg>
        <pc:spChg chg="mod">
          <ac:chgData name="Tony Radkiewicz" userId="9832534a-7e4f-4058-9c41-7f4a5b855c95" providerId="ADAL" clId="{D01F972D-4D8C-4BE8-B737-74B9E145EE84}" dt="2022-09-08T18:12:24.887" v="1552" actId="14100"/>
          <ac:spMkLst>
            <pc:docMk/>
            <pc:sldMk cId="1941619545" sldId="360"/>
            <ac:spMk id="7" creationId="{ACA7D85E-CC97-CCBD-8508-96C031FB2257}"/>
          </ac:spMkLst>
        </pc:spChg>
        <pc:spChg chg="mod">
          <ac:chgData name="Tony Radkiewicz" userId="9832534a-7e4f-4058-9c41-7f4a5b855c95" providerId="ADAL" clId="{D01F972D-4D8C-4BE8-B737-74B9E145EE84}" dt="2022-09-08T18:11:22.429" v="1526" actId="14100"/>
          <ac:spMkLst>
            <pc:docMk/>
            <pc:sldMk cId="1941619545" sldId="360"/>
            <ac:spMk id="9" creationId="{4EFFF632-5D46-2410-0CC6-3229D09ADBEF}"/>
          </ac:spMkLst>
        </pc:spChg>
      </pc:sldChg>
      <pc:sldChg chg="modSp mod">
        <pc:chgData name="Tony Radkiewicz" userId="9832534a-7e4f-4058-9c41-7f4a5b855c95" providerId="ADAL" clId="{D01F972D-4D8C-4BE8-B737-74B9E145EE84}" dt="2022-09-08T18:43:50.882" v="1720" actId="6549"/>
        <pc:sldMkLst>
          <pc:docMk/>
          <pc:sldMk cId="2802056876" sldId="362"/>
        </pc:sldMkLst>
        <pc:spChg chg="mod">
          <ac:chgData name="Tony Radkiewicz" userId="9832534a-7e4f-4058-9c41-7f4a5b855c95" providerId="ADAL" clId="{D01F972D-4D8C-4BE8-B737-74B9E145EE84}" dt="2022-09-08T18:43:50.882" v="1720" actId="6549"/>
          <ac:spMkLst>
            <pc:docMk/>
            <pc:sldMk cId="2802056876" sldId="362"/>
            <ac:spMk id="2" creationId="{B084D8B2-652C-4468-AAAB-C4E446740847}"/>
          </ac:spMkLst>
        </pc:spChg>
      </pc:sldChg>
      <pc:sldChg chg="add">
        <pc:chgData name="Tony Radkiewicz" userId="9832534a-7e4f-4058-9c41-7f4a5b855c95" providerId="ADAL" clId="{D01F972D-4D8C-4BE8-B737-74B9E145EE84}" dt="2022-09-12T21:16:51.494" v="1721" actId="2890"/>
        <pc:sldMkLst>
          <pc:docMk/>
          <pc:sldMk cId="890579405" sldId="365"/>
        </pc:sldMkLst>
      </pc:sldChg>
      <pc:sldChg chg="addSp delSp modSp add mod ord">
        <pc:chgData name="Tony Radkiewicz" userId="9832534a-7e4f-4058-9c41-7f4a5b855c95" providerId="ADAL" clId="{D01F972D-4D8C-4BE8-B737-74B9E145EE84}" dt="2022-09-12T22:34:23.053" v="1911" actId="14100"/>
        <pc:sldMkLst>
          <pc:docMk/>
          <pc:sldMk cId="3830402276" sldId="366"/>
        </pc:sldMkLst>
        <pc:graphicFrameChg chg="del mod">
          <ac:chgData name="Tony Radkiewicz" userId="9832534a-7e4f-4058-9c41-7f4a5b855c95" providerId="ADAL" clId="{D01F972D-4D8C-4BE8-B737-74B9E145EE84}" dt="2022-09-12T21:27:56.374" v="1758" actId="478"/>
          <ac:graphicFrameMkLst>
            <pc:docMk/>
            <pc:sldMk cId="3830402276" sldId="366"/>
            <ac:graphicFrameMk id="9" creationId="{F36AC066-55A0-40CC-AAF4-88C0BA3CA0FB}"/>
          </ac:graphicFrameMkLst>
        </pc:graphicFrameChg>
        <pc:graphicFrameChg chg="add del mod modGraphic">
          <ac:chgData name="Tony Radkiewicz" userId="9832534a-7e4f-4058-9c41-7f4a5b855c95" providerId="ADAL" clId="{D01F972D-4D8C-4BE8-B737-74B9E145EE84}" dt="2022-09-12T21:27:21.037" v="1755" actId="478"/>
          <ac:graphicFrameMkLst>
            <pc:docMk/>
            <pc:sldMk cId="3830402276" sldId="366"/>
            <ac:graphicFrameMk id="10" creationId="{E67AF299-75C8-B1DE-A7DC-4C4F4B2B9B8E}"/>
          </ac:graphicFrameMkLst>
        </pc:graphicFrameChg>
        <pc:graphicFrameChg chg="add del mod">
          <ac:chgData name="Tony Radkiewicz" userId="9832534a-7e4f-4058-9c41-7f4a5b855c95" providerId="ADAL" clId="{D01F972D-4D8C-4BE8-B737-74B9E145EE84}" dt="2022-09-12T21:27:23.808" v="1756" actId="478"/>
          <ac:graphicFrameMkLst>
            <pc:docMk/>
            <pc:sldMk cId="3830402276" sldId="366"/>
            <ac:graphicFrameMk id="22" creationId="{4C2EE959-FFB0-ED81-D681-9239DD31A861}"/>
          </ac:graphicFrameMkLst>
        </pc:graphicFrameChg>
        <pc:graphicFrameChg chg="add del mod modGraphic">
          <ac:chgData name="Tony Radkiewicz" userId="9832534a-7e4f-4058-9c41-7f4a5b855c95" providerId="ADAL" clId="{D01F972D-4D8C-4BE8-B737-74B9E145EE84}" dt="2022-09-12T21:30:08.303" v="1819" actId="478"/>
          <ac:graphicFrameMkLst>
            <pc:docMk/>
            <pc:sldMk cId="3830402276" sldId="366"/>
            <ac:graphicFrameMk id="23" creationId="{714C2A30-86D7-299E-59B4-D29FC22289C9}"/>
          </ac:graphicFrameMkLst>
        </pc:graphicFrameChg>
        <pc:graphicFrameChg chg="add mod modGraphic">
          <ac:chgData name="Tony Radkiewicz" userId="9832534a-7e4f-4058-9c41-7f4a5b855c95" providerId="ADAL" clId="{D01F972D-4D8C-4BE8-B737-74B9E145EE84}" dt="2022-09-12T21:31:43.164" v="1853"/>
          <ac:graphicFrameMkLst>
            <pc:docMk/>
            <pc:sldMk cId="3830402276" sldId="366"/>
            <ac:graphicFrameMk id="25" creationId="{074DEF24-AAA4-5F2D-358F-97762FDD55B0}"/>
          </ac:graphicFrameMkLst>
        </pc:graphicFrameChg>
        <pc:graphicFrameChg chg="add mod modGraphic">
          <ac:chgData name="Tony Radkiewicz" userId="9832534a-7e4f-4058-9c41-7f4a5b855c95" providerId="ADAL" clId="{D01F972D-4D8C-4BE8-B737-74B9E145EE84}" dt="2022-09-12T21:31:07.781" v="1837"/>
          <ac:graphicFrameMkLst>
            <pc:docMk/>
            <pc:sldMk cId="3830402276" sldId="366"/>
            <ac:graphicFrameMk id="27" creationId="{5B127789-99A5-52E7-2DA8-73710B4D4462}"/>
          </ac:graphicFrameMkLst>
        </pc:graphicFrameChg>
        <pc:graphicFrameChg chg="del mod modGraphic">
          <ac:chgData name="Tony Radkiewicz" userId="9832534a-7e4f-4058-9c41-7f4a5b855c95" providerId="ADAL" clId="{D01F972D-4D8C-4BE8-B737-74B9E145EE84}" dt="2022-09-12T21:27:56.374" v="1758" actId="478"/>
          <ac:graphicFrameMkLst>
            <pc:docMk/>
            <pc:sldMk cId="3830402276" sldId="366"/>
            <ac:graphicFrameMk id="32" creationId="{8C19BFBA-5CA7-48D2-87DA-8887B57D2B56}"/>
          </ac:graphicFrameMkLst>
        </pc:graphicFrameChg>
        <pc:picChg chg="del mod">
          <ac:chgData name="Tony Radkiewicz" userId="9832534a-7e4f-4058-9c41-7f4a5b855c95" providerId="ADAL" clId="{D01F972D-4D8C-4BE8-B737-74B9E145EE84}" dt="2022-09-12T21:27:56.374" v="1758" actId="478"/>
          <ac:picMkLst>
            <pc:docMk/>
            <pc:sldMk cId="3830402276" sldId="366"/>
            <ac:picMk id="4" creationId="{3865290E-DF30-4F6E-816A-4C7489857D3B}"/>
          </ac:picMkLst>
        </pc:picChg>
        <pc:picChg chg="del mod">
          <ac:chgData name="Tony Radkiewicz" userId="9832534a-7e4f-4058-9c41-7f4a5b855c95" providerId="ADAL" clId="{D01F972D-4D8C-4BE8-B737-74B9E145EE84}" dt="2022-09-12T21:27:56.374" v="1758" actId="478"/>
          <ac:picMkLst>
            <pc:docMk/>
            <pc:sldMk cId="3830402276" sldId="366"/>
            <ac:picMk id="5" creationId="{F3ED68D2-59BC-48EE-9EEF-721A02AECC7F}"/>
          </ac:picMkLst>
        </pc:picChg>
        <pc:picChg chg="del mod">
          <ac:chgData name="Tony Radkiewicz" userId="9832534a-7e4f-4058-9c41-7f4a5b855c95" providerId="ADAL" clId="{D01F972D-4D8C-4BE8-B737-74B9E145EE84}" dt="2022-09-12T21:27:56.374" v="1758" actId="478"/>
          <ac:picMkLst>
            <pc:docMk/>
            <pc:sldMk cId="3830402276" sldId="366"/>
            <ac:picMk id="6" creationId="{43E2B70A-B646-4F69-A910-1E5F5C5852D1}"/>
          </ac:picMkLst>
        </pc:picChg>
        <pc:picChg chg="del mod">
          <ac:chgData name="Tony Radkiewicz" userId="9832534a-7e4f-4058-9c41-7f4a5b855c95" providerId="ADAL" clId="{D01F972D-4D8C-4BE8-B737-74B9E145EE84}" dt="2022-09-12T21:27:56.374" v="1758" actId="478"/>
          <ac:picMkLst>
            <pc:docMk/>
            <pc:sldMk cId="3830402276" sldId="366"/>
            <ac:picMk id="7" creationId="{FC4F4119-C076-45B2-984E-45588BE5EA9F}"/>
          </ac:picMkLst>
        </pc:picChg>
        <pc:picChg chg="del mod">
          <ac:chgData name="Tony Radkiewicz" userId="9832534a-7e4f-4058-9c41-7f4a5b855c95" providerId="ADAL" clId="{D01F972D-4D8C-4BE8-B737-74B9E145EE84}" dt="2022-09-12T21:27:56.374" v="1758" actId="478"/>
          <ac:picMkLst>
            <pc:docMk/>
            <pc:sldMk cId="3830402276" sldId="366"/>
            <ac:picMk id="8" creationId="{901273C8-C785-497D-A0FB-FC2A412EEB2B}"/>
          </ac:picMkLst>
        </pc:picChg>
        <pc:picChg chg="add del mod">
          <ac:chgData name="Tony Radkiewicz" userId="9832534a-7e4f-4058-9c41-7f4a5b855c95" providerId="ADAL" clId="{D01F972D-4D8C-4BE8-B737-74B9E145EE84}" dt="2022-09-12T21:27:23.808" v="1756" actId="478"/>
          <ac:picMkLst>
            <pc:docMk/>
            <pc:sldMk cId="3830402276" sldId="366"/>
            <ac:picMk id="12" creationId="{6A59B353-E320-11DB-2515-2E207E11FA0D}"/>
          </ac:picMkLst>
        </pc:picChg>
        <pc:picChg chg="add del mod">
          <ac:chgData name="Tony Radkiewicz" userId="9832534a-7e4f-4058-9c41-7f4a5b855c95" providerId="ADAL" clId="{D01F972D-4D8C-4BE8-B737-74B9E145EE84}" dt="2022-09-12T21:27:23.808" v="1756" actId="478"/>
          <ac:picMkLst>
            <pc:docMk/>
            <pc:sldMk cId="3830402276" sldId="366"/>
            <ac:picMk id="14" creationId="{469DCFD9-1F67-2C79-2570-7A5389074FDF}"/>
          </ac:picMkLst>
        </pc:picChg>
        <pc:picChg chg="add del mod">
          <ac:chgData name="Tony Radkiewicz" userId="9832534a-7e4f-4058-9c41-7f4a5b855c95" providerId="ADAL" clId="{D01F972D-4D8C-4BE8-B737-74B9E145EE84}" dt="2022-09-12T21:27:23.808" v="1756" actId="478"/>
          <ac:picMkLst>
            <pc:docMk/>
            <pc:sldMk cId="3830402276" sldId="366"/>
            <ac:picMk id="16" creationId="{E1ACCA76-6B31-C5E5-FEC2-3FFE34C73A9B}"/>
          </ac:picMkLst>
        </pc:picChg>
        <pc:picChg chg="add del mod">
          <ac:chgData name="Tony Radkiewicz" userId="9832534a-7e4f-4058-9c41-7f4a5b855c95" providerId="ADAL" clId="{D01F972D-4D8C-4BE8-B737-74B9E145EE84}" dt="2022-09-12T21:27:23.808" v="1756" actId="478"/>
          <ac:picMkLst>
            <pc:docMk/>
            <pc:sldMk cId="3830402276" sldId="366"/>
            <ac:picMk id="18" creationId="{32EE1F1B-0511-40F7-6E8D-EBE42FE99529}"/>
          </ac:picMkLst>
        </pc:picChg>
        <pc:picChg chg="add del mod">
          <ac:chgData name="Tony Radkiewicz" userId="9832534a-7e4f-4058-9c41-7f4a5b855c95" providerId="ADAL" clId="{D01F972D-4D8C-4BE8-B737-74B9E145EE84}" dt="2022-09-12T21:27:23.808" v="1756" actId="478"/>
          <ac:picMkLst>
            <pc:docMk/>
            <pc:sldMk cId="3830402276" sldId="366"/>
            <ac:picMk id="20" creationId="{A2A78A59-4C9F-1BC5-1066-AF4E46330149}"/>
          </ac:picMkLst>
        </pc:picChg>
        <pc:picChg chg="add mod">
          <ac:chgData name="Tony Radkiewicz" userId="9832534a-7e4f-4058-9c41-7f4a5b855c95" providerId="ADAL" clId="{D01F972D-4D8C-4BE8-B737-74B9E145EE84}" dt="2022-09-12T21:47:02.822" v="1861" actId="1035"/>
          <ac:picMkLst>
            <pc:docMk/>
            <pc:sldMk cId="3830402276" sldId="366"/>
            <ac:picMk id="29" creationId="{3CE8AFAF-39B9-4A4C-11B5-5F2E7CD2C2C8}"/>
          </ac:picMkLst>
        </pc:picChg>
        <pc:picChg chg="add del mod">
          <ac:chgData name="Tony Radkiewicz" userId="9832534a-7e4f-4058-9c41-7f4a5b855c95" providerId="ADAL" clId="{D01F972D-4D8C-4BE8-B737-74B9E145EE84}" dt="2022-09-12T21:59:00.190" v="1871" actId="478"/>
          <ac:picMkLst>
            <pc:docMk/>
            <pc:sldMk cId="3830402276" sldId="366"/>
            <ac:picMk id="31" creationId="{D5799A6F-8E9F-1898-13B0-C2F425B444E6}"/>
          </ac:picMkLst>
        </pc:picChg>
        <pc:picChg chg="add del mod">
          <ac:chgData name="Tony Radkiewicz" userId="9832534a-7e4f-4058-9c41-7f4a5b855c95" providerId="ADAL" clId="{D01F972D-4D8C-4BE8-B737-74B9E145EE84}" dt="2022-09-12T21:58:57.562" v="1870" actId="478"/>
          <ac:picMkLst>
            <pc:docMk/>
            <pc:sldMk cId="3830402276" sldId="366"/>
            <ac:picMk id="34" creationId="{76D6748F-5F1E-7117-0F7A-8696C0829A23}"/>
          </ac:picMkLst>
        </pc:picChg>
        <pc:picChg chg="add del mod">
          <ac:chgData name="Tony Radkiewicz" userId="9832534a-7e4f-4058-9c41-7f4a5b855c95" providerId="ADAL" clId="{D01F972D-4D8C-4BE8-B737-74B9E145EE84}" dt="2022-09-12T22:00:16.599" v="1875" actId="478"/>
          <ac:picMkLst>
            <pc:docMk/>
            <pc:sldMk cId="3830402276" sldId="366"/>
            <ac:picMk id="36" creationId="{7EF7AE78-D08A-1D51-C247-9C6F754D588C}"/>
          </ac:picMkLst>
        </pc:picChg>
        <pc:picChg chg="add mod">
          <ac:chgData name="Tony Radkiewicz" userId="9832534a-7e4f-4058-9c41-7f4a5b855c95" providerId="ADAL" clId="{D01F972D-4D8C-4BE8-B737-74B9E145EE84}" dt="2022-09-12T22:00:56.846" v="1878" actId="14100"/>
          <ac:picMkLst>
            <pc:docMk/>
            <pc:sldMk cId="3830402276" sldId="366"/>
            <ac:picMk id="38" creationId="{A57AACF4-C4E3-C2D8-7529-5109ABD017DF}"/>
          </ac:picMkLst>
        </pc:picChg>
        <pc:picChg chg="add mod">
          <ac:chgData name="Tony Radkiewicz" userId="9832534a-7e4f-4058-9c41-7f4a5b855c95" providerId="ADAL" clId="{D01F972D-4D8C-4BE8-B737-74B9E145EE84}" dt="2022-09-12T22:34:23.053" v="1911" actId="14100"/>
          <ac:picMkLst>
            <pc:docMk/>
            <pc:sldMk cId="3830402276" sldId="366"/>
            <ac:picMk id="40" creationId="{2A93F27D-76E3-F0D2-7B42-4186C1A108B4}"/>
          </ac:picMkLst>
        </pc:picChg>
        <pc:picChg chg="add del mod">
          <ac:chgData name="Tony Radkiewicz" userId="9832534a-7e4f-4058-9c41-7f4a5b855c95" providerId="ADAL" clId="{D01F972D-4D8C-4BE8-B737-74B9E145EE84}" dt="2022-09-12T22:03:20.651" v="1883" actId="478"/>
          <ac:picMkLst>
            <pc:docMk/>
            <pc:sldMk cId="3830402276" sldId="366"/>
            <ac:picMk id="42" creationId="{DA2B9F70-9AC9-FDC9-A525-BEC71476E2DA}"/>
          </ac:picMkLst>
        </pc:picChg>
        <pc:picChg chg="add mod">
          <ac:chgData name="Tony Radkiewicz" userId="9832534a-7e4f-4058-9c41-7f4a5b855c95" providerId="ADAL" clId="{D01F972D-4D8C-4BE8-B737-74B9E145EE84}" dt="2022-09-12T22:04:15.658" v="1885" actId="1076"/>
          <ac:picMkLst>
            <pc:docMk/>
            <pc:sldMk cId="3830402276" sldId="366"/>
            <ac:picMk id="44" creationId="{75B07656-43FC-AC22-203E-2EF6B29FBFF6}"/>
          </ac:picMkLst>
        </pc:picChg>
        <pc:picChg chg="add mod">
          <ac:chgData name="Tony Radkiewicz" userId="9832534a-7e4f-4058-9c41-7f4a5b855c95" providerId="ADAL" clId="{D01F972D-4D8C-4BE8-B737-74B9E145EE84}" dt="2022-09-12T22:04:27.246" v="1887" actId="1076"/>
          <ac:picMkLst>
            <pc:docMk/>
            <pc:sldMk cId="3830402276" sldId="366"/>
            <ac:picMk id="46" creationId="{0BA72394-B2BB-D2F0-8271-C6AD1A9A606F}"/>
          </ac:picMkLst>
        </pc:picChg>
        <pc:picChg chg="add mod">
          <ac:chgData name="Tony Radkiewicz" userId="9832534a-7e4f-4058-9c41-7f4a5b855c95" providerId="ADAL" clId="{D01F972D-4D8C-4BE8-B737-74B9E145EE84}" dt="2022-09-12T22:06:05.330" v="1891" actId="14100"/>
          <ac:picMkLst>
            <pc:docMk/>
            <pc:sldMk cId="3830402276" sldId="366"/>
            <ac:picMk id="48" creationId="{AE0E618C-916A-0D9C-9213-4D6F414FAB4D}"/>
          </ac:picMkLst>
        </pc:picChg>
        <pc:picChg chg="add mod">
          <ac:chgData name="Tony Radkiewicz" userId="9832534a-7e4f-4058-9c41-7f4a5b855c95" providerId="ADAL" clId="{D01F972D-4D8C-4BE8-B737-74B9E145EE84}" dt="2022-09-12T22:06:24.183" v="1894" actId="14100"/>
          <ac:picMkLst>
            <pc:docMk/>
            <pc:sldMk cId="3830402276" sldId="366"/>
            <ac:picMk id="50" creationId="{34E05A42-3AAC-B22C-977A-132169DBCABC}"/>
          </ac:picMkLst>
        </pc:picChg>
        <pc:picChg chg="add mod">
          <ac:chgData name="Tony Radkiewicz" userId="9832534a-7e4f-4058-9c41-7f4a5b855c95" providerId="ADAL" clId="{D01F972D-4D8C-4BE8-B737-74B9E145EE84}" dt="2022-09-12T22:16:53.046" v="1897" actId="1076"/>
          <ac:picMkLst>
            <pc:docMk/>
            <pc:sldMk cId="3830402276" sldId="366"/>
            <ac:picMk id="52" creationId="{CC73AEDD-178F-630A-70CB-42BF1FEBFDCA}"/>
          </ac:picMkLst>
        </pc:picChg>
        <pc:picChg chg="add mod">
          <ac:chgData name="Tony Radkiewicz" userId="9832534a-7e4f-4058-9c41-7f4a5b855c95" providerId="ADAL" clId="{D01F972D-4D8C-4BE8-B737-74B9E145EE84}" dt="2022-09-12T22:17:11.569" v="1901" actId="14100"/>
          <ac:picMkLst>
            <pc:docMk/>
            <pc:sldMk cId="3830402276" sldId="366"/>
            <ac:picMk id="54" creationId="{E652D727-716B-A973-4160-D60E83DC7B42}"/>
          </ac:picMkLst>
        </pc:picChg>
        <pc:picChg chg="add mod">
          <ac:chgData name="Tony Radkiewicz" userId="9832534a-7e4f-4058-9c41-7f4a5b855c95" providerId="ADAL" clId="{D01F972D-4D8C-4BE8-B737-74B9E145EE84}" dt="2022-09-12T22:17:27.440" v="1904" actId="1076"/>
          <ac:picMkLst>
            <pc:docMk/>
            <pc:sldMk cId="3830402276" sldId="366"/>
            <ac:picMk id="56" creationId="{500C456D-AA18-F9F0-44E9-D9D176591F58}"/>
          </ac:picMkLst>
        </pc:picChg>
        <pc:picChg chg="add mod">
          <ac:chgData name="Tony Radkiewicz" userId="9832534a-7e4f-4058-9c41-7f4a5b855c95" providerId="ADAL" clId="{D01F972D-4D8C-4BE8-B737-74B9E145EE84}" dt="2022-09-12T22:18:16.219" v="1907" actId="1076"/>
          <ac:picMkLst>
            <pc:docMk/>
            <pc:sldMk cId="3830402276" sldId="366"/>
            <ac:picMk id="58" creationId="{91AB342D-4C03-2F35-943C-B6EA29435589}"/>
          </ac:picMkLst>
        </pc:picChg>
        <pc:picChg chg="add mod">
          <ac:chgData name="Tony Radkiewicz" userId="9832534a-7e4f-4058-9c41-7f4a5b855c95" providerId="ADAL" clId="{D01F972D-4D8C-4BE8-B737-74B9E145EE84}" dt="2022-09-12T22:32:57.860" v="1910" actId="1076"/>
          <ac:picMkLst>
            <pc:docMk/>
            <pc:sldMk cId="3830402276" sldId="366"/>
            <ac:picMk id="60" creationId="{3F1EDD50-AAB1-D049-992E-0808A1477D63}"/>
          </ac:picMkLst>
        </pc:picChg>
      </pc:sldChg>
      <pc:sldChg chg="addSp delSp modSp add mod modClrScheme chgLayout">
        <pc:chgData name="Tony Radkiewicz" userId="9832534a-7e4f-4058-9c41-7f4a5b855c95" providerId="ADAL" clId="{D01F972D-4D8C-4BE8-B737-74B9E145EE84}" dt="2022-09-13T22:27:22.496" v="2029" actId="1076"/>
        <pc:sldMkLst>
          <pc:docMk/>
          <pc:sldMk cId="1192450783" sldId="368"/>
        </pc:sldMkLst>
        <pc:spChg chg="mod">
          <ac:chgData name="Tony Radkiewicz" userId="9832534a-7e4f-4058-9c41-7f4a5b855c95" providerId="ADAL" clId="{D01F972D-4D8C-4BE8-B737-74B9E145EE84}" dt="2022-09-13T22:07:41.166" v="1932" actId="26606"/>
          <ac:spMkLst>
            <pc:docMk/>
            <pc:sldMk cId="1192450783" sldId="368"/>
            <ac:spMk id="3" creationId="{276763AC-E01B-45D0-806A-1F2948DFF0A8}"/>
          </ac:spMkLst>
        </pc:spChg>
        <pc:spChg chg="add del mod">
          <ac:chgData name="Tony Radkiewicz" userId="9832534a-7e4f-4058-9c41-7f4a5b855c95" providerId="ADAL" clId="{D01F972D-4D8C-4BE8-B737-74B9E145EE84}" dt="2022-09-13T22:07:41.165" v="1931" actId="26606"/>
          <ac:spMkLst>
            <pc:docMk/>
            <pc:sldMk cId="1192450783" sldId="368"/>
            <ac:spMk id="13" creationId="{67A96C87-DD06-13A7-775A-9DD4A238E102}"/>
          </ac:spMkLst>
        </pc:spChg>
        <pc:graphicFrameChg chg="del">
          <ac:chgData name="Tony Radkiewicz" userId="9832534a-7e4f-4058-9c41-7f4a5b855c95" providerId="ADAL" clId="{D01F972D-4D8C-4BE8-B737-74B9E145EE84}" dt="2022-09-13T21:45:26.443" v="1913" actId="478"/>
          <ac:graphicFrameMkLst>
            <pc:docMk/>
            <pc:sldMk cId="1192450783" sldId="368"/>
            <ac:graphicFrameMk id="27" creationId="{5B127789-99A5-52E7-2DA8-73710B4D4462}"/>
          </ac:graphicFrameMkLst>
        </pc:graphicFrameChg>
        <pc:picChg chg="add del mod">
          <ac:chgData name="Tony Radkiewicz" userId="9832534a-7e4f-4058-9c41-7f4a5b855c95" providerId="ADAL" clId="{D01F972D-4D8C-4BE8-B737-74B9E145EE84}" dt="2022-09-13T21:46:27.898" v="1921" actId="478"/>
          <ac:picMkLst>
            <pc:docMk/>
            <pc:sldMk cId="1192450783" sldId="368"/>
            <ac:picMk id="4" creationId="{505029F2-E8DB-8384-A160-39A1883DD59B}"/>
          </ac:picMkLst>
        </pc:picChg>
        <pc:picChg chg="add del mod">
          <ac:chgData name="Tony Radkiewicz" userId="9832534a-7e4f-4058-9c41-7f4a5b855c95" providerId="ADAL" clId="{D01F972D-4D8C-4BE8-B737-74B9E145EE84}" dt="2022-09-13T21:46:26.429" v="1920" actId="478"/>
          <ac:picMkLst>
            <pc:docMk/>
            <pc:sldMk cId="1192450783" sldId="368"/>
            <ac:picMk id="6" creationId="{7FD7E2F5-6081-6458-D7EB-C1E03BEB53F5}"/>
          </ac:picMkLst>
        </pc:picChg>
        <pc:picChg chg="add del mod">
          <ac:chgData name="Tony Radkiewicz" userId="9832534a-7e4f-4058-9c41-7f4a5b855c95" providerId="ADAL" clId="{D01F972D-4D8C-4BE8-B737-74B9E145EE84}" dt="2022-09-13T22:08:19.613" v="1958" actId="478"/>
          <ac:picMkLst>
            <pc:docMk/>
            <pc:sldMk cId="1192450783" sldId="368"/>
            <ac:picMk id="8" creationId="{D1429FD9-70D8-7921-0627-224E1248B126}"/>
          </ac:picMkLst>
        </pc:picChg>
        <pc:picChg chg="add del mod">
          <ac:chgData name="Tony Radkiewicz" userId="9832534a-7e4f-4058-9c41-7f4a5b855c95" providerId="ADAL" clId="{D01F972D-4D8C-4BE8-B737-74B9E145EE84}" dt="2022-09-13T22:09:42.785" v="1961" actId="478"/>
          <ac:picMkLst>
            <pc:docMk/>
            <pc:sldMk cId="1192450783" sldId="368"/>
            <ac:picMk id="10" creationId="{DF77AFF1-27CD-E73B-9886-1AC0D2D15D78}"/>
          </ac:picMkLst>
        </pc:picChg>
        <pc:picChg chg="add del mod">
          <ac:chgData name="Tony Radkiewicz" userId="9832534a-7e4f-4058-9c41-7f4a5b855c95" providerId="ADAL" clId="{D01F972D-4D8C-4BE8-B737-74B9E145EE84}" dt="2022-09-13T22:10:09.426" v="1965" actId="478"/>
          <ac:picMkLst>
            <pc:docMk/>
            <pc:sldMk cId="1192450783" sldId="368"/>
            <ac:picMk id="12" creationId="{6FF61657-8FC6-E6EF-7DC5-A05A75E2AAC0}"/>
          </ac:picMkLst>
        </pc:picChg>
        <pc:picChg chg="add del mod">
          <ac:chgData name="Tony Radkiewicz" userId="9832534a-7e4f-4058-9c41-7f4a5b855c95" providerId="ADAL" clId="{D01F972D-4D8C-4BE8-B737-74B9E145EE84}" dt="2022-09-13T22:11:12.008" v="1994" actId="478"/>
          <ac:picMkLst>
            <pc:docMk/>
            <pc:sldMk cId="1192450783" sldId="368"/>
            <ac:picMk id="15" creationId="{56D132C2-DD9E-009A-9270-742874387359}"/>
          </ac:picMkLst>
        </pc:picChg>
        <pc:picChg chg="add del mod">
          <ac:chgData name="Tony Radkiewicz" userId="9832534a-7e4f-4058-9c41-7f4a5b855c95" providerId="ADAL" clId="{D01F972D-4D8C-4BE8-B737-74B9E145EE84}" dt="2022-09-13T22:22:26.653" v="2026" actId="478"/>
          <ac:picMkLst>
            <pc:docMk/>
            <pc:sldMk cId="1192450783" sldId="368"/>
            <ac:picMk id="17" creationId="{507158EE-29D2-A43B-589C-53CDC147F044}"/>
          </ac:picMkLst>
        </pc:picChg>
        <pc:picChg chg="add mod">
          <ac:chgData name="Tony Radkiewicz" userId="9832534a-7e4f-4058-9c41-7f4a5b855c95" providerId="ADAL" clId="{D01F972D-4D8C-4BE8-B737-74B9E145EE84}" dt="2022-09-13T22:27:22.496" v="2029" actId="1076"/>
          <ac:picMkLst>
            <pc:docMk/>
            <pc:sldMk cId="1192450783" sldId="368"/>
            <ac:picMk id="19" creationId="{232ADB15-BAC6-0C70-247F-BC45FA4861D7}"/>
          </ac:picMkLst>
        </pc:picChg>
      </pc:sldChg>
      <pc:sldChg chg="modSp mod">
        <pc:chgData name="Tony Radkiewicz" userId="9832534a-7e4f-4058-9c41-7f4a5b855c95" providerId="ADAL" clId="{D01F972D-4D8C-4BE8-B737-74B9E145EE84}" dt="2022-09-13T22:15:37.291" v="2013" actId="1076"/>
        <pc:sldMkLst>
          <pc:docMk/>
          <pc:sldMk cId="3939932457" sldId="369"/>
        </pc:sldMkLst>
        <pc:picChg chg="mod">
          <ac:chgData name="Tony Radkiewicz" userId="9832534a-7e4f-4058-9c41-7f4a5b855c95" providerId="ADAL" clId="{D01F972D-4D8C-4BE8-B737-74B9E145EE84}" dt="2022-09-13T22:15:37.291" v="2013" actId="1076"/>
          <ac:picMkLst>
            <pc:docMk/>
            <pc:sldMk cId="3939932457" sldId="369"/>
            <ac:picMk id="17" creationId="{507158EE-29D2-A43B-589C-53CDC147F044}"/>
          </ac:picMkLst>
        </pc:picChg>
      </pc:sldChg>
      <pc:sldChg chg="modSp del mod">
        <pc:chgData name="Tony Radkiewicz" userId="9832534a-7e4f-4058-9c41-7f4a5b855c95" providerId="ADAL" clId="{D01F972D-4D8C-4BE8-B737-74B9E145EE84}" dt="2022-09-26T21:06:51.721" v="2131" actId="47"/>
        <pc:sldMkLst>
          <pc:docMk/>
          <pc:sldMk cId="2999091721" sldId="370"/>
        </pc:sldMkLst>
        <pc:graphicFrameChg chg="modGraphic">
          <ac:chgData name="Tony Radkiewicz" userId="9832534a-7e4f-4058-9c41-7f4a5b855c95" providerId="ADAL" clId="{D01F972D-4D8C-4BE8-B737-74B9E145EE84}" dt="2022-09-13T22:42:57.517" v="2035" actId="403"/>
          <ac:graphicFrameMkLst>
            <pc:docMk/>
            <pc:sldMk cId="2999091721" sldId="370"/>
            <ac:graphicFrameMk id="2" creationId="{25280BB3-37B9-ECD9-74DE-77B0B013816C}"/>
          </ac:graphicFrameMkLst>
        </pc:graphicFrameChg>
      </pc:sldChg>
      <pc:sldChg chg="del modNotesTx">
        <pc:chgData name="Tony Radkiewicz" userId="9832534a-7e4f-4058-9c41-7f4a5b855c95" providerId="ADAL" clId="{D01F972D-4D8C-4BE8-B737-74B9E145EE84}" dt="2022-09-26T21:06:46.096" v="2130" actId="47"/>
        <pc:sldMkLst>
          <pc:docMk/>
          <pc:sldMk cId="1292271749" sldId="371"/>
        </pc:sldMkLst>
      </pc:sldChg>
      <pc:sldChg chg="addSp delSp modSp mod">
        <pc:chgData name="Tony Radkiewicz" userId="9832534a-7e4f-4058-9c41-7f4a5b855c95" providerId="ADAL" clId="{D01F972D-4D8C-4BE8-B737-74B9E145EE84}" dt="2022-09-13T22:19:26.985" v="2025" actId="478"/>
        <pc:sldMkLst>
          <pc:docMk/>
          <pc:sldMk cId="1371504404" sldId="371"/>
        </pc:sldMkLst>
        <pc:spChg chg="del">
          <ac:chgData name="Tony Radkiewicz" userId="9832534a-7e4f-4058-9c41-7f4a5b855c95" providerId="ADAL" clId="{D01F972D-4D8C-4BE8-B737-74B9E145EE84}" dt="2022-09-13T22:18:37.352" v="2014" actId="478"/>
          <ac:spMkLst>
            <pc:docMk/>
            <pc:sldMk cId="1371504404" sldId="371"/>
            <ac:spMk id="2" creationId="{A7F25C56-CD1E-9279-667A-CAB208178B9E}"/>
          </ac:spMkLst>
        </pc:spChg>
        <pc:spChg chg="add del mod">
          <ac:chgData name="Tony Radkiewicz" userId="9832534a-7e4f-4058-9c41-7f4a5b855c95" providerId="ADAL" clId="{D01F972D-4D8C-4BE8-B737-74B9E145EE84}" dt="2022-09-13T22:19:26.985" v="2025" actId="478"/>
          <ac:spMkLst>
            <pc:docMk/>
            <pc:sldMk cId="1371504404" sldId="371"/>
            <ac:spMk id="4" creationId="{AB632DDC-0C8C-CA8D-6E1C-0A21D99DA403}"/>
          </ac:spMkLst>
        </pc:spChg>
      </pc:sldChg>
      <pc:sldChg chg="del">
        <pc:chgData name="Tony Radkiewicz" userId="9832534a-7e4f-4058-9c41-7f4a5b855c95" providerId="ADAL" clId="{D01F972D-4D8C-4BE8-B737-74B9E145EE84}" dt="2022-09-26T21:06:44.399" v="2129" actId="47"/>
        <pc:sldMkLst>
          <pc:docMk/>
          <pc:sldMk cId="1761979091" sldId="372"/>
        </pc:sldMkLst>
      </pc:sldChg>
      <pc:sldChg chg="modSp add">
        <pc:chgData name="Tony Radkiewicz" userId="9832534a-7e4f-4058-9c41-7f4a5b855c95" providerId="ADAL" clId="{D01F972D-4D8C-4BE8-B737-74B9E145EE84}" dt="2022-09-26T21:41:01.842" v="2164" actId="20577"/>
        <pc:sldMkLst>
          <pc:docMk/>
          <pc:sldMk cId="399634550" sldId="374"/>
        </pc:sldMkLst>
        <pc:graphicFrameChg chg="mod">
          <ac:chgData name="Tony Radkiewicz" userId="9832534a-7e4f-4058-9c41-7f4a5b855c95" providerId="ADAL" clId="{D01F972D-4D8C-4BE8-B737-74B9E145EE84}" dt="2022-09-26T21:41:01.842" v="2164" actId="20577"/>
          <ac:graphicFrameMkLst>
            <pc:docMk/>
            <pc:sldMk cId="399634550" sldId="374"/>
            <ac:graphicFrameMk id="2" creationId="{25280BB3-37B9-ECD9-74DE-77B0B013816C}"/>
          </ac:graphicFrameMkLst>
        </pc:graphicFrameChg>
      </pc:sldChg>
    </pc:docChg>
  </pc:docChgLst>
  <pc:docChgLst>
    <pc:chgData name="Tony Radkiewicz" userId="9832534a-7e4f-4058-9c41-7f4a5b855c95" providerId="ADAL" clId="{96F75F33-C60B-4471-9377-FAC3BE291A83}"/>
    <pc:docChg chg="undo redo custSel addSld delSld modSld modSection">
      <pc:chgData name="Tony Radkiewicz" userId="9832534a-7e4f-4058-9c41-7f4a5b855c95" providerId="ADAL" clId="{96F75F33-C60B-4471-9377-FAC3BE291A83}" dt="2022-10-17T23:38:41.860" v="429" actId="14100"/>
      <pc:docMkLst>
        <pc:docMk/>
      </pc:docMkLst>
      <pc:sldChg chg="addSp delSp modSp mod">
        <pc:chgData name="Tony Radkiewicz" userId="9832534a-7e4f-4058-9c41-7f4a5b855c95" providerId="ADAL" clId="{96F75F33-C60B-4471-9377-FAC3BE291A83}" dt="2022-10-17T21:22:03.447" v="15" actId="1076"/>
        <pc:sldMkLst>
          <pc:docMk/>
          <pc:sldMk cId="1895228649" sldId="276"/>
        </pc:sldMkLst>
        <pc:picChg chg="add del mod">
          <ac:chgData name="Tony Radkiewicz" userId="9832534a-7e4f-4058-9c41-7f4a5b855c95" providerId="ADAL" clId="{96F75F33-C60B-4471-9377-FAC3BE291A83}" dt="2022-10-17T21:21:59.464" v="13" actId="478"/>
          <ac:picMkLst>
            <pc:docMk/>
            <pc:sldMk cId="1895228649" sldId="276"/>
            <ac:picMk id="5" creationId="{196937E7-205D-0A98-35EC-90BD91637C33}"/>
          </ac:picMkLst>
        </pc:picChg>
        <pc:picChg chg="add mod">
          <ac:chgData name="Tony Radkiewicz" userId="9832534a-7e4f-4058-9c41-7f4a5b855c95" providerId="ADAL" clId="{96F75F33-C60B-4471-9377-FAC3BE291A83}" dt="2022-10-17T21:22:03.447" v="15" actId="1076"/>
          <ac:picMkLst>
            <pc:docMk/>
            <pc:sldMk cId="1895228649" sldId="276"/>
            <ac:picMk id="7" creationId="{723E510E-ED01-A15E-D2CB-94D380EB0824}"/>
          </ac:picMkLst>
        </pc:picChg>
        <pc:picChg chg="del">
          <ac:chgData name="Tony Radkiewicz" userId="9832534a-7e4f-4058-9c41-7f4a5b855c95" providerId="ADAL" clId="{96F75F33-C60B-4471-9377-FAC3BE291A83}" dt="2022-10-17T21:17:14.255" v="5" actId="478"/>
          <ac:picMkLst>
            <pc:docMk/>
            <pc:sldMk cId="1895228649" sldId="276"/>
            <ac:picMk id="9" creationId="{FBD4F94B-C40B-22A1-35A0-350218F8208E}"/>
          </ac:picMkLst>
        </pc:picChg>
      </pc:sldChg>
      <pc:sldChg chg="addSp delSp modSp new del mod">
        <pc:chgData name="Tony Radkiewicz" userId="9832534a-7e4f-4058-9c41-7f4a5b855c95" providerId="ADAL" clId="{96F75F33-C60B-4471-9377-FAC3BE291A83}" dt="2022-10-17T21:22:58.865" v="16" actId="2696"/>
        <pc:sldMkLst>
          <pc:docMk/>
          <pc:sldMk cId="4072268234" sldId="378"/>
        </pc:sldMkLst>
        <pc:spChg chg="del">
          <ac:chgData name="Tony Radkiewicz" userId="9832534a-7e4f-4058-9c41-7f4a5b855c95" providerId="ADAL" clId="{96F75F33-C60B-4471-9377-FAC3BE291A83}" dt="2022-10-17T21:16:35.325" v="2" actId="478"/>
          <ac:spMkLst>
            <pc:docMk/>
            <pc:sldMk cId="4072268234" sldId="378"/>
            <ac:spMk id="2" creationId="{004EF501-648F-D88C-ABEC-6734990E6880}"/>
          </ac:spMkLst>
        </pc:spChg>
        <pc:spChg chg="del">
          <ac:chgData name="Tony Radkiewicz" userId="9832534a-7e4f-4058-9c41-7f4a5b855c95" providerId="ADAL" clId="{96F75F33-C60B-4471-9377-FAC3BE291A83}" dt="2022-10-17T21:16:32.988" v="1" actId="478"/>
          <ac:spMkLst>
            <pc:docMk/>
            <pc:sldMk cId="4072268234" sldId="378"/>
            <ac:spMk id="3" creationId="{1CBE957D-1A77-89A5-9DDE-126266D31D8D}"/>
          </ac:spMkLst>
        </pc:spChg>
        <pc:picChg chg="add del">
          <ac:chgData name="Tony Radkiewicz" userId="9832534a-7e4f-4058-9c41-7f4a5b855c95" providerId="ADAL" clId="{96F75F33-C60B-4471-9377-FAC3BE291A83}" dt="2022-10-17T21:17:09.255" v="4" actId="22"/>
          <ac:picMkLst>
            <pc:docMk/>
            <pc:sldMk cId="4072268234" sldId="378"/>
            <ac:picMk id="5" creationId="{48787A37-346A-9A76-5CF5-8F4700FF3439}"/>
          </ac:picMkLst>
        </pc:picChg>
        <pc:picChg chg="add del mod">
          <ac:chgData name="Tony Radkiewicz" userId="9832534a-7e4f-4058-9c41-7f4a5b855c95" providerId="ADAL" clId="{96F75F33-C60B-4471-9377-FAC3BE291A83}" dt="2022-10-17T21:21:42.542" v="12" actId="478"/>
          <ac:picMkLst>
            <pc:docMk/>
            <pc:sldMk cId="4072268234" sldId="378"/>
            <ac:picMk id="7" creationId="{847A7A8B-4DAA-C579-3CE1-4A5630F72F7B}"/>
          </ac:picMkLst>
        </pc:picChg>
      </pc:sldChg>
      <pc:sldChg chg="modSp del">
        <pc:chgData name="Tony Radkiewicz" userId="9832534a-7e4f-4058-9c41-7f4a5b855c95" providerId="ADAL" clId="{96F75F33-C60B-4471-9377-FAC3BE291A83}" dt="2022-10-17T22:22:50.555" v="307" actId="2696"/>
        <pc:sldMkLst>
          <pc:docMk/>
          <pc:sldMk cId="2097075415" sldId="379"/>
        </pc:sldMkLst>
        <pc:graphicFrameChg chg="mod">
          <ac:chgData name="Tony Radkiewicz" userId="9832534a-7e4f-4058-9c41-7f4a5b855c95" providerId="ADAL" clId="{96F75F33-C60B-4471-9377-FAC3BE291A83}" dt="2022-10-17T22:10:37.901" v="277" actId="20577"/>
          <ac:graphicFrameMkLst>
            <pc:docMk/>
            <pc:sldMk cId="2097075415" sldId="379"/>
            <ac:graphicFrameMk id="4" creationId="{4588EEB5-609F-4C18-B29D-534E1ABBA92C}"/>
          </ac:graphicFrameMkLst>
        </pc:graphicFrameChg>
      </pc:sldChg>
      <pc:sldChg chg="modSp add">
        <pc:chgData name="Tony Radkiewicz" userId="9832534a-7e4f-4058-9c41-7f4a5b855c95" providerId="ADAL" clId="{96F75F33-C60B-4471-9377-FAC3BE291A83}" dt="2022-10-17T21:40:54.789" v="19" actId="13782"/>
        <pc:sldMkLst>
          <pc:docMk/>
          <pc:sldMk cId="423295473" sldId="380"/>
        </pc:sldMkLst>
        <pc:graphicFrameChg chg="mod">
          <ac:chgData name="Tony Radkiewicz" userId="9832534a-7e4f-4058-9c41-7f4a5b855c95" providerId="ADAL" clId="{96F75F33-C60B-4471-9377-FAC3BE291A83}" dt="2022-10-17T21:40:54.789" v="19" actId="13782"/>
          <ac:graphicFrameMkLst>
            <pc:docMk/>
            <pc:sldMk cId="423295473" sldId="380"/>
            <ac:graphicFrameMk id="4" creationId="{4588EEB5-609F-4C18-B29D-534E1ABBA92C}"/>
          </ac:graphicFrameMkLst>
        </pc:graphicFrameChg>
      </pc:sldChg>
      <pc:sldChg chg="modSp add">
        <pc:chgData name="Tony Radkiewicz" userId="9832534a-7e4f-4058-9c41-7f4a5b855c95" providerId="ADAL" clId="{96F75F33-C60B-4471-9377-FAC3BE291A83}" dt="2022-10-17T21:41:47.890" v="21" actId="13782"/>
        <pc:sldMkLst>
          <pc:docMk/>
          <pc:sldMk cId="1755238430" sldId="381"/>
        </pc:sldMkLst>
        <pc:graphicFrameChg chg="mod">
          <ac:chgData name="Tony Radkiewicz" userId="9832534a-7e4f-4058-9c41-7f4a5b855c95" providerId="ADAL" clId="{96F75F33-C60B-4471-9377-FAC3BE291A83}" dt="2022-10-17T21:41:47.890" v="21" actId="13782"/>
          <ac:graphicFrameMkLst>
            <pc:docMk/>
            <pc:sldMk cId="1755238430" sldId="381"/>
            <ac:graphicFrameMk id="4" creationId="{4588EEB5-609F-4C18-B29D-534E1ABBA92C}"/>
          </ac:graphicFrameMkLst>
        </pc:graphicFrameChg>
      </pc:sldChg>
      <pc:sldChg chg="modSp add">
        <pc:chgData name="Tony Radkiewicz" userId="9832534a-7e4f-4058-9c41-7f4a5b855c95" providerId="ADAL" clId="{96F75F33-C60B-4471-9377-FAC3BE291A83}" dt="2022-10-17T21:43:07.393" v="23" actId="13782"/>
        <pc:sldMkLst>
          <pc:docMk/>
          <pc:sldMk cId="1472810532" sldId="382"/>
        </pc:sldMkLst>
        <pc:graphicFrameChg chg="mod">
          <ac:chgData name="Tony Radkiewicz" userId="9832534a-7e4f-4058-9c41-7f4a5b855c95" providerId="ADAL" clId="{96F75F33-C60B-4471-9377-FAC3BE291A83}" dt="2022-10-17T21:43:07.393" v="23" actId="13782"/>
          <ac:graphicFrameMkLst>
            <pc:docMk/>
            <pc:sldMk cId="1472810532" sldId="382"/>
            <ac:graphicFrameMk id="4" creationId="{4588EEB5-609F-4C18-B29D-534E1ABBA92C}"/>
          </ac:graphicFrameMkLst>
        </pc:graphicFrameChg>
      </pc:sldChg>
      <pc:sldChg chg="modSp add del">
        <pc:chgData name="Tony Radkiewicz" userId="9832534a-7e4f-4058-9c41-7f4a5b855c95" providerId="ADAL" clId="{96F75F33-C60B-4471-9377-FAC3BE291A83}" dt="2022-10-17T21:45:38.300" v="30" actId="2696"/>
        <pc:sldMkLst>
          <pc:docMk/>
          <pc:sldMk cId="977721790" sldId="383"/>
        </pc:sldMkLst>
        <pc:graphicFrameChg chg="mod">
          <ac:chgData name="Tony Radkiewicz" userId="9832534a-7e4f-4058-9c41-7f4a5b855c95" providerId="ADAL" clId="{96F75F33-C60B-4471-9377-FAC3BE291A83}" dt="2022-10-17T21:43:59.317" v="26" actId="13782"/>
          <ac:graphicFrameMkLst>
            <pc:docMk/>
            <pc:sldMk cId="977721790" sldId="383"/>
            <ac:graphicFrameMk id="4" creationId="{4588EEB5-609F-4C18-B29D-534E1ABBA92C}"/>
          </ac:graphicFrameMkLst>
        </pc:graphicFrameChg>
      </pc:sldChg>
      <pc:sldChg chg="modSp mod modNotesTx">
        <pc:chgData name="Tony Radkiewicz" userId="9832534a-7e4f-4058-9c41-7f4a5b855c95" providerId="ADAL" clId="{96F75F33-C60B-4471-9377-FAC3BE291A83}" dt="2022-10-17T22:32:08.364" v="330" actId="1076"/>
        <pc:sldMkLst>
          <pc:docMk/>
          <pc:sldMk cId="3042322101" sldId="383"/>
        </pc:sldMkLst>
        <pc:graphicFrameChg chg="mod">
          <ac:chgData name="Tony Radkiewicz" userId="9832534a-7e4f-4058-9c41-7f4a5b855c95" providerId="ADAL" clId="{96F75F33-C60B-4471-9377-FAC3BE291A83}" dt="2022-10-17T22:31:00.742" v="325" actId="1076"/>
          <ac:graphicFrameMkLst>
            <pc:docMk/>
            <pc:sldMk cId="3042322101" sldId="383"/>
            <ac:graphicFrameMk id="2" creationId="{7570760C-0BE2-50ED-62B1-E4B6707D193B}"/>
          </ac:graphicFrameMkLst>
        </pc:graphicFrameChg>
        <pc:graphicFrameChg chg="mod">
          <ac:chgData name="Tony Radkiewicz" userId="9832534a-7e4f-4058-9c41-7f4a5b855c95" providerId="ADAL" clId="{96F75F33-C60B-4471-9377-FAC3BE291A83}" dt="2022-10-17T22:32:08.364" v="330" actId="1076"/>
          <ac:graphicFrameMkLst>
            <pc:docMk/>
            <pc:sldMk cId="3042322101" sldId="383"/>
            <ac:graphicFrameMk id="4" creationId="{4588EEB5-609F-4C18-B29D-534E1ABBA92C}"/>
          </ac:graphicFrameMkLst>
        </pc:graphicFrameChg>
      </pc:sldChg>
      <pc:sldChg chg="modSp mod">
        <pc:chgData name="Tony Radkiewicz" userId="9832534a-7e4f-4058-9c41-7f4a5b855c95" providerId="ADAL" clId="{96F75F33-C60B-4471-9377-FAC3BE291A83}" dt="2022-10-17T22:36:06.976" v="332" actId="1076"/>
        <pc:sldMkLst>
          <pc:docMk/>
          <pc:sldMk cId="588746502" sldId="384"/>
        </pc:sldMkLst>
        <pc:graphicFrameChg chg="mod">
          <ac:chgData name="Tony Radkiewicz" userId="9832534a-7e4f-4058-9c41-7f4a5b855c95" providerId="ADAL" clId="{96F75F33-C60B-4471-9377-FAC3BE291A83}" dt="2022-10-17T22:36:06.976" v="332" actId="1076"/>
          <ac:graphicFrameMkLst>
            <pc:docMk/>
            <pc:sldMk cId="588746502" sldId="384"/>
            <ac:graphicFrameMk id="4" creationId="{4588EEB5-609F-4C18-B29D-534E1ABBA92C}"/>
          </ac:graphicFrameMkLst>
        </pc:graphicFrameChg>
      </pc:sldChg>
      <pc:sldChg chg="modSp add del">
        <pc:chgData name="Tony Radkiewicz" userId="9832534a-7e4f-4058-9c41-7f4a5b855c95" providerId="ADAL" clId="{96F75F33-C60B-4471-9377-FAC3BE291A83}" dt="2022-10-17T21:45:34.534" v="29" actId="2696"/>
        <pc:sldMkLst>
          <pc:docMk/>
          <pc:sldMk cId="2094454935" sldId="384"/>
        </pc:sldMkLst>
        <pc:graphicFrameChg chg="mod">
          <ac:chgData name="Tony Radkiewicz" userId="9832534a-7e4f-4058-9c41-7f4a5b855c95" providerId="ADAL" clId="{96F75F33-C60B-4471-9377-FAC3BE291A83}" dt="2022-10-17T21:44:33.762" v="28" actId="13782"/>
          <ac:graphicFrameMkLst>
            <pc:docMk/>
            <pc:sldMk cId="2094454935" sldId="384"/>
            <ac:graphicFrameMk id="4" creationId="{4588EEB5-609F-4C18-B29D-534E1ABBA92C}"/>
          </ac:graphicFrameMkLst>
        </pc:graphicFrameChg>
      </pc:sldChg>
      <pc:sldChg chg="del">
        <pc:chgData name="Tony Radkiewicz" userId="9832534a-7e4f-4058-9c41-7f4a5b855c95" providerId="ADAL" clId="{96F75F33-C60B-4471-9377-FAC3BE291A83}" dt="2022-10-17T23:12:11.417" v="333" actId="47"/>
        <pc:sldMkLst>
          <pc:docMk/>
          <pc:sldMk cId="3380416303" sldId="385"/>
        </pc:sldMkLst>
      </pc:sldChg>
      <pc:sldChg chg="mod modShow">
        <pc:chgData name="Tony Radkiewicz" userId="9832534a-7e4f-4058-9c41-7f4a5b855c95" providerId="ADAL" clId="{96F75F33-C60B-4471-9377-FAC3BE291A83}" dt="2022-10-17T23:12:24.265" v="335" actId="729"/>
        <pc:sldMkLst>
          <pc:docMk/>
          <pc:sldMk cId="1208044423" sldId="386"/>
        </pc:sldMkLst>
      </pc:sldChg>
      <pc:sldChg chg="addSp delSp modSp add mod">
        <pc:chgData name="Tony Radkiewicz" userId="9832534a-7e4f-4058-9c41-7f4a5b855c95" providerId="ADAL" clId="{96F75F33-C60B-4471-9377-FAC3BE291A83}" dt="2022-10-17T23:23:41.424" v="389" actId="1076"/>
        <pc:sldMkLst>
          <pc:docMk/>
          <pc:sldMk cId="1337716753" sldId="387"/>
        </pc:sldMkLst>
        <pc:grpChg chg="del">
          <ac:chgData name="Tony Radkiewicz" userId="9832534a-7e4f-4058-9c41-7f4a5b855c95" providerId="ADAL" clId="{96F75F33-C60B-4471-9377-FAC3BE291A83}" dt="2022-10-17T23:12:31.982" v="337" actId="478"/>
          <ac:grpSpMkLst>
            <pc:docMk/>
            <pc:sldMk cId="1337716753" sldId="387"/>
            <ac:grpSpMk id="12" creationId="{DD3EC515-C009-E69A-7458-81D63680BD19}"/>
          </ac:grpSpMkLst>
        </pc:grpChg>
        <pc:picChg chg="mod">
          <ac:chgData name="Tony Radkiewicz" userId="9832534a-7e4f-4058-9c41-7f4a5b855c95" providerId="ADAL" clId="{96F75F33-C60B-4471-9377-FAC3BE291A83}" dt="2022-10-17T23:23:12.609" v="375" actId="1076"/>
          <ac:picMkLst>
            <pc:docMk/>
            <pc:sldMk cId="1337716753" sldId="387"/>
            <ac:picMk id="2" creationId="{290166B7-9A44-38D4-6B3C-EC7DCD4BFA6F}"/>
          </ac:picMkLst>
        </pc:picChg>
        <pc:picChg chg="add del mod">
          <ac:chgData name="Tony Radkiewicz" userId="9832534a-7e4f-4058-9c41-7f4a5b855c95" providerId="ADAL" clId="{96F75F33-C60B-4471-9377-FAC3BE291A83}" dt="2022-10-17T23:15:22.177" v="364" actId="478"/>
          <ac:picMkLst>
            <pc:docMk/>
            <pc:sldMk cId="1337716753" sldId="387"/>
            <ac:picMk id="4" creationId="{86466E3F-3FA8-0C62-65A1-36C5303746D4}"/>
          </ac:picMkLst>
        </pc:picChg>
        <pc:picChg chg="add mod">
          <ac:chgData name="Tony Radkiewicz" userId="9832534a-7e4f-4058-9c41-7f4a5b855c95" providerId="ADAL" clId="{96F75F33-C60B-4471-9377-FAC3BE291A83}" dt="2022-10-17T23:23:41.424" v="389" actId="1076"/>
          <ac:picMkLst>
            <pc:docMk/>
            <pc:sldMk cId="1337716753" sldId="387"/>
            <ac:picMk id="6" creationId="{9B1B4178-8068-2203-876C-EA0E7308A6FC}"/>
          </ac:picMkLst>
        </pc:picChg>
        <pc:picChg chg="add mod">
          <ac:chgData name="Tony Radkiewicz" userId="9832534a-7e4f-4058-9c41-7f4a5b855c95" providerId="ADAL" clId="{96F75F33-C60B-4471-9377-FAC3BE291A83}" dt="2022-10-17T23:23:27.126" v="383" actId="14100"/>
          <ac:picMkLst>
            <pc:docMk/>
            <pc:sldMk cId="1337716753" sldId="387"/>
            <ac:picMk id="8" creationId="{C0A5981D-487A-5356-075F-14776FF2C842}"/>
          </ac:picMkLst>
        </pc:picChg>
      </pc:sldChg>
      <pc:sldChg chg="addSp delSp modSp add mod">
        <pc:chgData name="Tony Radkiewicz" userId="9832534a-7e4f-4058-9c41-7f4a5b855c95" providerId="ADAL" clId="{96F75F33-C60B-4471-9377-FAC3BE291A83}" dt="2022-10-17T23:29:15.856" v="396" actId="1076"/>
        <pc:sldMkLst>
          <pc:docMk/>
          <pc:sldMk cId="1264342053" sldId="388"/>
        </pc:sldMkLst>
        <pc:grpChg chg="del">
          <ac:chgData name="Tony Radkiewicz" userId="9832534a-7e4f-4058-9c41-7f4a5b855c95" providerId="ADAL" clId="{96F75F33-C60B-4471-9377-FAC3BE291A83}" dt="2022-10-17T23:13:28.008" v="340" actId="478"/>
          <ac:grpSpMkLst>
            <pc:docMk/>
            <pc:sldMk cId="1264342053" sldId="388"/>
            <ac:grpSpMk id="12" creationId="{DD3EC515-C009-E69A-7458-81D63680BD19}"/>
          </ac:grpSpMkLst>
        </pc:grpChg>
        <pc:picChg chg="add mod">
          <ac:chgData name="Tony Radkiewicz" userId="9832534a-7e4f-4058-9c41-7f4a5b855c95" providerId="ADAL" clId="{96F75F33-C60B-4471-9377-FAC3BE291A83}" dt="2022-10-17T23:13:30.180" v="342" actId="1076"/>
          <ac:picMkLst>
            <pc:docMk/>
            <pc:sldMk cId="1264342053" sldId="388"/>
            <ac:picMk id="4" creationId="{D277D2B3-EB17-1ACD-17A3-827740765B73}"/>
          </ac:picMkLst>
        </pc:picChg>
        <pc:picChg chg="add">
          <ac:chgData name="Tony Radkiewicz" userId="9832534a-7e4f-4058-9c41-7f4a5b855c95" providerId="ADAL" clId="{96F75F33-C60B-4471-9377-FAC3BE291A83}" dt="2022-10-17T23:21:58.792" v="367" actId="22"/>
          <ac:picMkLst>
            <pc:docMk/>
            <pc:sldMk cId="1264342053" sldId="388"/>
            <ac:picMk id="6" creationId="{5F9E452A-8324-A484-2DF0-007E45F20FB2}"/>
          </ac:picMkLst>
        </pc:picChg>
        <pc:picChg chg="add mod">
          <ac:chgData name="Tony Radkiewicz" userId="9832534a-7e4f-4058-9c41-7f4a5b855c95" providerId="ADAL" clId="{96F75F33-C60B-4471-9377-FAC3BE291A83}" dt="2022-10-17T23:29:15.856" v="396" actId="1076"/>
          <ac:picMkLst>
            <pc:docMk/>
            <pc:sldMk cId="1264342053" sldId="388"/>
            <ac:picMk id="8" creationId="{1AB5C250-E686-56EC-043E-7CE036CC65D4}"/>
          </ac:picMkLst>
        </pc:picChg>
      </pc:sldChg>
      <pc:sldChg chg="add del">
        <pc:chgData name="Tony Radkiewicz" userId="9832534a-7e4f-4058-9c41-7f4a5b855c95" providerId="ADAL" clId="{96F75F33-C60B-4471-9377-FAC3BE291A83}" dt="2022-10-17T23:15:04.949" v="362" actId="47"/>
        <pc:sldMkLst>
          <pc:docMk/>
          <pc:sldMk cId="2413249982" sldId="389"/>
        </pc:sldMkLst>
      </pc:sldChg>
      <pc:sldChg chg="addSp delSp modSp add mod">
        <pc:chgData name="Tony Radkiewicz" userId="9832534a-7e4f-4058-9c41-7f4a5b855c95" providerId="ADAL" clId="{96F75F33-C60B-4471-9377-FAC3BE291A83}" dt="2022-10-17T23:22:03.690" v="369" actId="1076"/>
        <pc:sldMkLst>
          <pc:docMk/>
          <pc:sldMk cId="3152413064" sldId="390"/>
        </pc:sldMkLst>
        <pc:spChg chg="add del">
          <ac:chgData name="Tony Radkiewicz" userId="9832534a-7e4f-4058-9c41-7f4a5b855c95" providerId="ADAL" clId="{96F75F33-C60B-4471-9377-FAC3BE291A83}" dt="2022-10-17T23:13:58.799" v="351" actId="22"/>
          <ac:spMkLst>
            <pc:docMk/>
            <pc:sldMk cId="3152413064" sldId="390"/>
            <ac:spMk id="5" creationId="{DE9AF489-B7FD-01F7-FD63-CBB0EAD15970}"/>
          </ac:spMkLst>
        </pc:spChg>
        <pc:spChg chg="add mod">
          <ac:chgData name="Tony Radkiewicz" userId="9832534a-7e4f-4058-9c41-7f4a5b855c95" providerId="ADAL" clId="{96F75F33-C60B-4471-9377-FAC3BE291A83}" dt="2022-10-17T23:14:29.340" v="361" actId="14100"/>
          <ac:spMkLst>
            <pc:docMk/>
            <pc:sldMk cId="3152413064" sldId="390"/>
            <ac:spMk id="7" creationId="{693EFFA7-11AB-EE75-E39E-7B464A01DDD2}"/>
          </ac:spMkLst>
        </pc:spChg>
        <pc:picChg chg="del">
          <ac:chgData name="Tony Radkiewicz" userId="9832534a-7e4f-4058-9c41-7f4a5b855c95" providerId="ADAL" clId="{96F75F33-C60B-4471-9377-FAC3BE291A83}" dt="2022-10-17T23:13:51.736" v="345" actId="478"/>
          <ac:picMkLst>
            <pc:docMk/>
            <pc:sldMk cId="3152413064" sldId="390"/>
            <ac:picMk id="4" creationId="{D277D2B3-EB17-1ACD-17A3-827740765B73}"/>
          </ac:picMkLst>
        </pc:picChg>
        <pc:picChg chg="add mod">
          <ac:chgData name="Tony Radkiewicz" userId="9832534a-7e4f-4058-9c41-7f4a5b855c95" providerId="ADAL" clId="{96F75F33-C60B-4471-9377-FAC3BE291A83}" dt="2022-10-17T23:22:03.690" v="369" actId="1076"/>
          <ac:picMkLst>
            <pc:docMk/>
            <pc:sldMk cId="3152413064" sldId="390"/>
            <ac:picMk id="9" creationId="{04ECE64D-3E33-B0BB-B972-6501BCECA807}"/>
          </ac:picMkLst>
        </pc:picChg>
      </pc:sldChg>
      <pc:sldChg chg="modSp mod">
        <pc:chgData name="Tony Radkiewicz" userId="9832534a-7e4f-4058-9c41-7f4a5b855c95" providerId="ADAL" clId="{96F75F33-C60B-4471-9377-FAC3BE291A83}" dt="2022-10-17T23:38:41.860" v="429" actId="14100"/>
        <pc:sldMkLst>
          <pc:docMk/>
          <pc:sldMk cId="3178451749" sldId="391"/>
        </pc:sldMkLst>
        <pc:spChg chg="mod">
          <ac:chgData name="Tony Radkiewicz" userId="9832534a-7e4f-4058-9c41-7f4a5b855c95" providerId="ADAL" clId="{96F75F33-C60B-4471-9377-FAC3BE291A83}" dt="2022-10-17T23:38:41.860" v="429" actId="14100"/>
          <ac:spMkLst>
            <pc:docMk/>
            <pc:sldMk cId="3178451749" sldId="391"/>
            <ac:spMk id="9" creationId="{79912F58-B1ED-2B76-3D88-2D8D47C9AB0E}"/>
          </ac:spMkLst>
        </pc:spChg>
        <pc:spChg chg="mod">
          <ac:chgData name="Tony Radkiewicz" userId="9832534a-7e4f-4058-9c41-7f4a5b855c95" providerId="ADAL" clId="{96F75F33-C60B-4471-9377-FAC3BE291A83}" dt="2022-10-17T23:38:01.283" v="422" actId="1076"/>
          <ac:spMkLst>
            <pc:docMk/>
            <pc:sldMk cId="3178451749" sldId="391"/>
            <ac:spMk id="10" creationId="{30FFBE83-38F4-317F-F1BD-57A995A5BE39}"/>
          </ac:spMkLst>
        </pc:spChg>
        <pc:picChg chg="mod">
          <ac:chgData name="Tony Radkiewicz" userId="9832534a-7e4f-4058-9c41-7f4a5b855c95" providerId="ADAL" clId="{96F75F33-C60B-4471-9377-FAC3BE291A83}" dt="2022-10-17T23:25:07.499" v="392" actId="1076"/>
          <ac:picMkLst>
            <pc:docMk/>
            <pc:sldMk cId="3178451749" sldId="391"/>
            <ac:picMk id="2" creationId="{290166B7-9A44-38D4-6B3C-EC7DCD4BFA6F}"/>
          </ac:picMkLst>
        </pc:picChg>
        <pc:picChg chg="mod">
          <ac:chgData name="Tony Radkiewicz" userId="9832534a-7e4f-4058-9c41-7f4a5b855c95" providerId="ADAL" clId="{96F75F33-C60B-4471-9377-FAC3BE291A83}" dt="2022-10-17T23:25:23.816" v="394" actId="1076"/>
          <ac:picMkLst>
            <pc:docMk/>
            <pc:sldMk cId="3178451749" sldId="391"/>
            <ac:picMk id="6" creationId="{9B1B4178-8068-2203-876C-EA0E7308A6FC}"/>
          </ac:picMkLst>
        </pc:picChg>
        <pc:picChg chg="mod">
          <ac:chgData name="Tony Radkiewicz" userId="9832534a-7e4f-4058-9c41-7f4a5b855c95" providerId="ADAL" clId="{96F75F33-C60B-4471-9377-FAC3BE291A83}" dt="2022-10-17T23:35:25.380" v="401" actId="1076"/>
          <ac:picMkLst>
            <pc:docMk/>
            <pc:sldMk cId="3178451749" sldId="391"/>
            <ac:picMk id="7" creationId="{D0687D22-AF18-2A8C-6E0D-F1C3C9DFAA44}"/>
          </ac:picMkLst>
        </pc:picChg>
        <pc:picChg chg="mod">
          <ac:chgData name="Tony Radkiewicz" userId="9832534a-7e4f-4058-9c41-7f4a5b855c95" providerId="ADAL" clId="{96F75F33-C60B-4471-9377-FAC3BE291A83}" dt="2022-10-17T23:25:17.529" v="393" actId="1076"/>
          <ac:picMkLst>
            <pc:docMk/>
            <pc:sldMk cId="3178451749" sldId="391"/>
            <ac:picMk id="8" creationId="{C0A5981D-487A-5356-075F-14776FF2C842}"/>
          </ac:picMkLst>
        </pc:picChg>
      </pc:sldChg>
    </pc:docChg>
  </pc:docChgLst>
  <pc:docChgLst>
    <pc:chgData name="Kory Thacher (APPS / POWERSHELL)" userId="995eb0f2-f21c-467c-a947-4f8fc26d0f2e" providerId="ADAL" clId="{D6AE3920-5CE7-415D-B2E3-8920D07BE963}"/>
    <pc:docChg chg="undo custSel addSld delSld modSld sldOrd modSection">
      <pc:chgData name="Kory Thacher (APPS / POWERSHELL)" userId="995eb0f2-f21c-467c-a947-4f8fc26d0f2e" providerId="ADAL" clId="{D6AE3920-5CE7-415D-B2E3-8920D07BE963}" dt="2022-09-26T23:31:10.986" v="7372" actId="1440"/>
      <pc:docMkLst>
        <pc:docMk/>
      </pc:docMkLst>
      <pc:sldChg chg="delSp modSp del mod addCm delCm modCm modNotesTx">
        <pc:chgData name="Kory Thacher (APPS / POWERSHELL)" userId="995eb0f2-f21c-467c-a947-4f8fc26d0f2e" providerId="ADAL" clId="{D6AE3920-5CE7-415D-B2E3-8920D07BE963}" dt="2022-08-16T22:55:54.755" v="427" actId="47"/>
        <pc:sldMkLst>
          <pc:docMk/>
          <pc:sldMk cId="523280705" sldId="260"/>
        </pc:sldMkLst>
        <pc:spChg chg="mod">
          <ac:chgData name="Kory Thacher (APPS / POWERSHELL)" userId="995eb0f2-f21c-467c-a947-4f8fc26d0f2e" providerId="ADAL" clId="{D6AE3920-5CE7-415D-B2E3-8920D07BE963}" dt="2022-08-16T22:44:39.068" v="346" actId="20577"/>
          <ac:spMkLst>
            <pc:docMk/>
            <pc:sldMk cId="523280705" sldId="260"/>
            <ac:spMk id="2" creationId="{71A03513-5BF0-5870-D8CE-670FDF0E907E}"/>
          </ac:spMkLst>
        </pc:spChg>
        <pc:grpChg chg="del">
          <ac:chgData name="Kory Thacher (APPS / POWERSHELL)" userId="995eb0f2-f21c-467c-a947-4f8fc26d0f2e" providerId="ADAL" clId="{D6AE3920-5CE7-415D-B2E3-8920D07BE963}" dt="2022-08-16T22:31:15.283" v="72" actId="478"/>
          <ac:grpSpMkLst>
            <pc:docMk/>
            <pc:sldMk cId="523280705" sldId="260"/>
            <ac:grpSpMk id="18" creationId="{7900A87C-7DA1-4007-8CA9-9D32D57BBC02}"/>
          </ac:grpSpMkLst>
        </pc:grpChg>
        <pc:grpChg chg="del">
          <ac:chgData name="Kory Thacher (APPS / POWERSHELL)" userId="995eb0f2-f21c-467c-a947-4f8fc26d0f2e" providerId="ADAL" clId="{D6AE3920-5CE7-415D-B2E3-8920D07BE963}" dt="2022-08-16T22:31:15.283" v="72" actId="478"/>
          <ac:grpSpMkLst>
            <pc:docMk/>
            <pc:sldMk cId="523280705" sldId="260"/>
            <ac:grpSpMk id="19" creationId="{88FA40DC-BCF9-491D-B65B-B58FD56BFEC0}"/>
          </ac:grpSpMkLst>
        </pc:grpChg>
        <pc:grpChg chg="del">
          <ac:chgData name="Kory Thacher (APPS / POWERSHELL)" userId="995eb0f2-f21c-467c-a947-4f8fc26d0f2e" providerId="ADAL" clId="{D6AE3920-5CE7-415D-B2E3-8920D07BE963}" dt="2022-08-16T22:31:15.283" v="72" actId="478"/>
          <ac:grpSpMkLst>
            <pc:docMk/>
            <pc:sldMk cId="523280705" sldId="260"/>
            <ac:grpSpMk id="20" creationId="{C364B315-B9BE-43DD-B4CF-CA3808A7F9B1}"/>
          </ac:grpSpMkLst>
        </pc:grpChg>
        <pc:grpChg chg="del">
          <ac:chgData name="Kory Thacher (APPS / POWERSHELL)" userId="995eb0f2-f21c-467c-a947-4f8fc26d0f2e" providerId="ADAL" clId="{D6AE3920-5CE7-415D-B2E3-8920D07BE963}" dt="2022-08-16T22:31:15.283" v="72" actId="478"/>
          <ac:grpSpMkLst>
            <pc:docMk/>
            <pc:sldMk cId="523280705" sldId="260"/>
            <ac:grpSpMk id="21" creationId="{157345F9-EFE8-47CD-B5CA-B6EF942FA88F}"/>
          </ac:grpSpMkLst>
        </pc:grpChg>
      </pc:sldChg>
      <pc:sldChg chg="addSp delSp modSp mod modAnim modShow addCm modCm">
        <pc:chgData name="Kory Thacher (APPS / POWERSHELL)" userId="995eb0f2-f21c-467c-a947-4f8fc26d0f2e" providerId="ADAL" clId="{D6AE3920-5CE7-415D-B2E3-8920D07BE963}" dt="2022-08-29T21:59:19.369" v="823" actId="1076"/>
        <pc:sldMkLst>
          <pc:docMk/>
          <pc:sldMk cId="4109296172" sldId="261"/>
        </pc:sldMkLst>
        <pc:spChg chg="add mod">
          <ac:chgData name="Kory Thacher (APPS / POWERSHELL)" userId="995eb0f2-f21c-467c-a947-4f8fc26d0f2e" providerId="ADAL" clId="{D6AE3920-5CE7-415D-B2E3-8920D07BE963}" dt="2022-08-29T21:19:05.306" v="736" actId="14100"/>
          <ac:spMkLst>
            <pc:docMk/>
            <pc:sldMk cId="4109296172" sldId="261"/>
            <ac:spMk id="2" creationId="{4C7EAF08-7EE5-1A99-84AA-F7B8E06A3157}"/>
          </ac:spMkLst>
        </pc:spChg>
        <pc:spChg chg="mod">
          <ac:chgData name="Kory Thacher (APPS / POWERSHELL)" userId="995eb0f2-f21c-467c-a947-4f8fc26d0f2e" providerId="ADAL" clId="{D6AE3920-5CE7-415D-B2E3-8920D07BE963}" dt="2022-08-29T21:09:30.289" v="474" actId="20577"/>
          <ac:spMkLst>
            <pc:docMk/>
            <pc:sldMk cId="4109296172" sldId="261"/>
            <ac:spMk id="3" creationId="{10E84FF2-257C-4392-B779-D9D02C0B9FB2}"/>
          </ac:spMkLst>
        </pc:spChg>
        <pc:graphicFrameChg chg="del">
          <ac:chgData name="Kory Thacher (APPS / POWERSHELL)" userId="995eb0f2-f21c-467c-a947-4f8fc26d0f2e" providerId="ADAL" clId="{D6AE3920-5CE7-415D-B2E3-8920D07BE963}" dt="2022-08-29T21:08:25.332" v="431" actId="11529"/>
          <ac:graphicFrameMkLst>
            <pc:docMk/>
            <pc:sldMk cId="4109296172" sldId="261"/>
            <ac:graphicFrameMk id="5" creationId="{B92DE62B-2501-4EEC-8159-9E0F350E3516}"/>
          </ac:graphicFrameMkLst>
        </pc:graphicFrameChg>
        <pc:picChg chg="add mod">
          <ac:chgData name="Kory Thacher (APPS / POWERSHELL)" userId="995eb0f2-f21c-467c-a947-4f8fc26d0f2e" providerId="ADAL" clId="{D6AE3920-5CE7-415D-B2E3-8920D07BE963}" dt="2022-08-29T21:54:37.604" v="788" actId="14100"/>
          <ac:picMkLst>
            <pc:docMk/>
            <pc:sldMk cId="4109296172" sldId="261"/>
            <ac:picMk id="6" creationId="{10A75397-19F4-4A3E-4B72-F93C5AD8964E}"/>
          </ac:picMkLst>
        </pc:picChg>
        <pc:picChg chg="mod">
          <ac:chgData name="Kory Thacher (APPS / POWERSHELL)" userId="995eb0f2-f21c-467c-a947-4f8fc26d0f2e" providerId="ADAL" clId="{D6AE3920-5CE7-415D-B2E3-8920D07BE963}" dt="2022-08-29T21:59:18.159" v="822" actId="1076"/>
          <ac:picMkLst>
            <pc:docMk/>
            <pc:sldMk cId="4109296172" sldId="261"/>
            <ac:picMk id="7" creationId="{E4B205E9-EE5A-2065-7224-88B1A95BCC8A}"/>
          </ac:picMkLst>
        </pc:picChg>
        <pc:picChg chg="add mod">
          <ac:chgData name="Kory Thacher (APPS / POWERSHELL)" userId="995eb0f2-f21c-467c-a947-4f8fc26d0f2e" providerId="ADAL" clId="{D6AE3920-5CE7-415D-B2E3-8920D07BE963}" dt="2022-08-29T21:59:19.369" v="823" actId="1076"/>
          <ac:picMkLst>
            <pc:docMk/>
            <pc:sldMk cId="4109296172" sldId="261"/>
            <ac:picMk id="8" creationId="{F8DE479D-368B-6F54-1ABE-3C34DE45603F}"/>
          </ac:picMkLst>
        </pc:picChg>
        <pc:picChg chg="add mod">
          <ac:chgData name="Kory Thacher (APPS / POWERSHELL)" userId="995eb0f2-f21c-467c-a947-4f8fc26d0f2e" providerId="ADAL" clId="{D6AE3920-5CE7-415D-B2E3-8920D07BE963}" dt="2022-08-29T21:59:17.151" v="821" actId="1076"/>
          <ac:picMkLst>
            <pc:docMk/>
            <pc:sldMk cId="4109296172" sldId="261"/>
            <ac:picMk id="9" creationId="{0E924878-A346-742F-857D-8AAD2CDACA83}"/>
          </ac:picMkLst>
        </pc:picChg>
      </pc:sldChg>
      <pc:sldChg chg="mod modShow addCm modCm">
        <pc:chgData name="Kory Thacher (APPS / POWERSHELL)" userId="995eb0f2-f21c-467c-a947-4f8fc26d0f2e" providerId="ADAL" clId="{D6AE3920-5CE7-415D-B2E3-8920D07BE963}" dt="2022-08-16T21:18:24.458" v="8" actId="729"/>
        <pc:sldMkLst>
          <pc:docMk/>
          <pc:sldMk cId="1954043941" sldId="262"/>
        </pc:sldMkLst>
      </pc:sldChg>
      <pc:sldChg chg="del mod modShow">
        <pc:chgData name="Kory Thacher (APPS / POWERSHELL)" userId="995eb0f2-f21c-467c-a947-4f8fc26d0f2e" providerId="ADAL" clId="{D6AE3920-5CE7-415D-B2E3-8920D07BE963}" dt="2022-08-16T21:17:37.920" v="5" actId="2696"/>
        <pc:sldMkLst>
          <pc:docMk/>
          <pc:sldMk cId="160840770" sldId="263"/>
        </pc:sldMkLst>
      </pc:sldChg>
      <pc:sldChg chg="del mod modShow addCm modCm">
        <pc:chgData name="Kory Thacher (APPS / POWERSHELL)" userId="995eb0f2-f21c-467c-a947-4f8fc26d0f2e" providerId="ADAL" clId="{D6AE3920-5CE7-415D-B2E3-8920D07BE963}" dt="2022-09-08T17:02:48.565" v="1691" actId="47"/>
        <pc:sldMkLst>
          <pc:docMk/>
          <pc:sldMk cId="3126785347" sldId="266"/>
        </pc:sldMkLst>
      </pc:sldChg>
      <pc:sldChg chg="addCm modCm">
        <pc:chgData name="Kory Thacher (APPS / POWERSHELL)" userId="995eb0f2-f21c-467c-a947-4f8fc26d0f2e" providerId="ADAL" clId="{D6AE3920-5CE7-415D-B2E3-8920D07BE963}" dt="2022-08-16T21:23:03.615" v="12"/>
        <pc:sldMkLst>
          <pc:docMk/>
          <pc:sldMk cId="1998940606" sldId="267"/>
        </pc:sldMkLst>
      </pc:sldChg>
      <pc:sldChg chg="del mod ord modShow addCm modCm">
        <pc:chgData name="Kory Thacher (APPS / POWERSHELL)" userId="995eb0f2-f21c-467c-a947-4f8fc26d0f2e" providerId="ADAL" clId="{D6AE3920-5CE7-415D-B2E3-8920D07BE963}" dt="2022-09-08T17:02:48.565" v="1691" actId="47"/>
        <pc:sldMkLst>
          <pc:docMk/>
          <pc:sldMk cId="2963866585" sldId="269"/>
        </pc:sldMkLst>
      </pc:sldChg>
      <pc:sldChg chg="del addCm modCm">
        <pc:chgData name="Kory Thacher (APPS / POWERSHELL)" userId="995eb0f2-f21c-467c-a947-4f8fc26d0f2e" providerId="ADAL" clId="{D6AE3920-5CE7-415D-B2E3-8920D07BE963}" dt="2022-09-08T17:31:20.973" v="1791" actId="47"/>
        <pc:sldMkLst>
          <pc:docMk/>
          <pc:sldMk cId="1814040589" sldId="270"/>
        </pc:sldMkLst>
      </pc:sldChg>
      <pc:sldChg chg="modSp mod modShow addCm modCm">
        <pc:chgData name="Kory Thacher (APPS / POWERSHELL)" userId="995eb0f2-f21c-467c-a947-4f8fc26d0f2e" providerId="ADAL" clId="{D6AE3920-5CE7-415D-B2E3-8920D07BE963}" dt="2022-09-08T18:31:03.283" v="2261" actId="729"/>
        <pc:sldMkLst>
          <pc:docMk/>
          <pc:sldMk cId="349827140" sldId="271"/>
        </pc:sldMkLst>
        <pc:spChg chg="mod">
          <ac:chgData name="Kory Thacher (APPS / POWERSHELL)" userId="995eb0f2-f21c-467c-a947-4f8fc26d0f2e" providerId="ADAL" clId="{D6AE3920-5CE7-415D-B2E3-8920D07BE963}" dt="2022-08-16T21:33:21.352" v="19" actId="1076"/>
          <ac:spMkLst>
            <pc:docMk/>
            <pc:sldMk cId="349827140" sldId="271"/>
            <ac:spMk id="8" creationId="{FFE17BE8-FD22-4D6F-8BF9-DEE810739187}"/>
          </ac:spMkLst>
        </pc:spChg>
      </pc:sldChg>
      <pc:sldChg chg="mod modShow">
        <pc:chgData name="Kory Thacher (APPS / POWERSHELL)" userId="995eb0f2-f21c-467c-a947-4f8fc26d0f2e" providerId="ADAL" clId="{D6AE3920-5CE7-415D-B2E3-8920D07BE963}" dt="2022-09-08T18:31:06.989" v="2262" actId="729"/>
        <pc:sldMkLst>
          <pc:docMk/>
          <pc:sldMk cId="3900680908" sldId="272"/>
        </pc:sldMkLst>
      </pc:sldChg>
      <pc:sldChg chg="modSp mod addCm modCm">
        <pc:chgData name="Kory Thacher (APPS / POWERSHELL)" userId="995eb0f2-f21c-467c-a947-4f8fc26d0f2e" providerId="ADAL" clId="{D6AE3920-5CE7-415D-B2E3-8920D07BE963}" dt="2022-09-08T18:31:35.432" v="2275" actId="20577"/>
        <pc:sldMkLst>
          <pc:docMk/>
          <pc:sldMk cId="902272526" sldId="275"/>
        </pc:sldMkLst>
        <pc:spChg chg="mod">
          <ac:chgData name="Kory Thacher (APPS / POWERSHELL)" userId="995eb0f2-f21c-467c-a947-4f8fc26d0f2e" providerId="ADAL" clId="{D6AE3920-5CE7-415D-B2E3-8920D07BE963}" dt="2022-09-08T18:31:35.432" v="2275" actId="20577"/>
          <ac:spMkLst>
            <pc:docMk/>
            <pc:sldMk cId="902272526" sldId="275"/>
            <ac:spMk id="4" creationId="{9CBC6F63-616D-478D-A91D-8B071350BF64}"/>
          </ac:spMkLst>
        </pc:spChg>
      </pc:sldChg>
      <pc:sldChg chg="addSp delSp modSp mod ord delAnim addCm modCm">
        <pc:chgData name="Kory Thacher (APPS / POWERSHELL)" userId="995eb0f2-f21c-467c-a947-4f8fc26d0f2e" providerId="ADAL" clId="{D6AE3920-5CE7-415D-B2E3-8920D07BE963}" dt="2022-09-26T23:31:10.986" v="7372" actId="1440"/>
        <pc:sldMkLst>
          <pc:docMk/>
          <pc:sldMk cId="1895228649" sldId="276"/>
        </pc:sldMkLst>
        <pc:spChg chg="del mod">
          <ac:chgData name="Kory Thacher (APPS / POWERSHELL)" userId="995eb0f2-f21c-467c-a947-4f8fc26d0f2e" providerId="ADAL" clId="{D6AE3920-5CE7-415D-B2E3-8920D07BE963}" dt="2022-09-26T22:31:23.385" v="7336" actId="12084"/>
          <ac:spMkLst>
            <pc:docMk/>
            <pc:sldMk cId="1895228649" sldId="276"/>
            <ac:spMk id="2" creationId="{4D7D9637-BECD-0C33-3BA2-215737DD1BCD}"/>
          </ac:spMkLst>
        </pc:spChg>
        <pc:spChg chg="add del mod">
          <ac:chgData name="Kory Thacher (APPS / POWERSHELL)" userId="995eb0f2-f21c-467c-a947-4f8fc26d0f2e" providerId="ADAL" clId="{D6AE3920-5CE7-415D-B2E3-8920D07BE963}" dt="2022-09-26T21:09:37.898" v="4660" actId="478"/>
          <ac:spMkLst>
            <pc:docMk/>
            <pc:sldMk cId="1895228649" sldId="276"/>
            <ac:spMk id="3" creationId="{73B24AF9-6480-5D88-1608-5D07B4DB4AB1}"/>
          </ac:spMkLst>
        </pc:spChg>
        <pc:spChg chg="add del mod">
          <ac:chgData name="Kory Thacher (APPS / POWERSHELL)" userId="995eb0f2-f21c-467c-a947-4f8fc26d0f2e" providerId="ADAL" clId="{D6AE3920-5CE7-415D-B2E3-8920D07BE963}" dt="2022-09-26T21:09:40.124" v="4661" actId="20577"/>
          <ac:spMkLst>
            <pc:docMk/>
            <pc:sldMk cId="1895228649" sldId="276"/>
            <ac:spMk id="4" creationId="{8E64F0EF-5D00-4F19-B090-4F73F1518B0E}"/>
          </ac:spMkLst>
        </pc:spChg>
        <pc:spChg chg="del">
          <ac:chgData name="Kory Thacher (APPS / POWERSHELL)" userId="995eb0f2-f21c-467c-a947-4f8fc26d0f2e" providerId="ADAL" clId="{D6AE3920-5CE7-415D-B2E3-8920D07BE963}" dt="2022-09-26T21:09:12.146" v="4631" actId="478"/>
          <ac:spMkLst>
            <pc:docMk/>
            <pc:sldMk cId="1895228649" sldId="276"/>
            <ac:spMk id="5" creationId="{2BB6CE03-897F-4E28-BE8D-2421C106FF7B}"/>
          </ac:spMkLst>
        </pc:spChg>
        <pc:spChg chg="add mod">
          <ac:chgData name="Kory Thacher (APPS / POWERSHELL)" userId="995eb0f2-f21c-467c-a947-4f8fc26d0f2e" providerId="ADAL" clId="{D6AE3920-5CE7-415D-B2E3-8920D07BE963}" dt="2022-09-26T21:09:12.146" v="4631" actId="478"/>
          <ac:spMkLst>
            <pc:docMk/>
            <pc:sldMk cId="1895228649" sldId="276"/>
            <ac:spMk id="6" creationId="{03567180-E35A-8645-AFA9-0383D02F0E18}"/>
          </ac:spMkLst>
        </pc:spChg>
        <pc:spChg chg="del mod">
          <ac:chgData name="Kory Thacher (APPS / POWERSHELL)" userId="995eb0f2-f21c-467c-a947-4f8fc26d0f2e" providerId="ADAL" clId="{D6AE3920-5CE7-415D-B2E3-8920D07BE963}" dt="2022-09-26T22:30:43.980" v="7335" actId="478"/>
          <ac:spMkLst>
            <pc:docMk/>
            <pc:sldMk cId="1895228649" sldId="276"/>
            <ac:spMk id="8" creationId="{413AFE7A-9F19-4F2A-BC56-D052BAA5430C}"/>
          </ac:spMkLst>
        </pc:spChg>
        <pc:spChg chg="mod">
          <ac:chgData name="Kory Thacher (APPS / POWERSHELL)" userId="995eb0f2-f21c-467c-a947-4f8fc26d0f2e" providerId="ADAL" clId="{D6AE3920-5CE7-415D-B2E3-8920D07BE963}" dt="2022-09-26T22:21:12.745" v="6646" actId="1076"/>
          <ac:spMkLst>
            <pc:docMk/>
            <pc:sldMk cId="1895228649" sldId="276"/>
            <ac:spMk id="9" creationId="{92F2D255-A3FD-466C-83DA-70DFFFCC3098}"/>
          </ac:spMkLst>
        </pc:spChg>
        <pc:graphicFrameChg chg="add mod">
          <ac:chgData name="Kory Thacher (APPS / POWERSHELL)" userId="995eb0f2-f21c-467c-a947-4f8fc26d0f2e" providerId="ADAL" clId="{D6AE3920-5CE7-415D-B2E3-8920D07BE963}" dt="2022-09-26T22:33:18.743" v="7363" actId="113"/>
          <ac:graphicFrameMkLst>
            <pc:docMk/>
            <pc:sldMk cId="1895228649" sldId="276"/>
            <ac:graphicFrameMk id="3" creationId="{FEBDE72C-DD01-8C41-F99D-BB9AE031F7AA}"/>
          </ac:graphicFrameMkLst>
        </pc:graphicFrameChg>
        <pc:picChg chg="del mod">
          <ac:chgData name="Kory Thacher (APPS / POWERSHELL)" userId="995eb0f2-f21c-467c-a947-4f8fc26d0f2e" providerId="ADAL" clId="{D6AE3920-5CE7-415D-B2E3-8920D07BE963}" dt="2022-09-26T21:08:56.010" v="4630" actId="478"/>
          <ac:picMkLst>
            <pc:docMk/>
            <pc:sldMk cId="1895228649" sldId="276"/>
            <ac:picMk id="2" creationId="{E9CBD644-3050-4FEE-8129-F6DF42703D9F}"/>
          </ac:picMkLst>
        </pc:picChg>
        <pc:picChg chg="add del mod">
          <ac:chgData name="Kory Thacher (APPS / POWERSHELL)" userId="995eb0f2-f21c-467c-a947-4f8fc26d0f2e" providerId="ADAL" clId="{D6AE3920-5CE7-415D-B2E3-8920D07BE963}" dt="2022-09-26T22:19:50.956" v="6639" actId="478"/>
          <ac:picMkLst>
            <pc:docMk/>
            <pc:sldMk cId="1895228649" sldId="276"/>
            <ac:picMk id="5" creationId="{1440E4AA-DF9E-D441-BEA5-573A6BAD4937}"/>
          </ac:picMkLst>
        </pc:picChg>
        <pc:picChg chg="del">
          <ac:chgData name="Kory Thacher (APPS / POWERSHELL)" userId="995eb0f2-f21c-467c-a947-4f8fc26d0f2e" providerId="ADAL" clId="{D6AE3920-5CE7-415D-B2E3-8920D07BE963}" dt="2022-09-26T23:27:17.317" v="7365" actId="478"/>
          <ac:picMkLst>
            <pc:docMk/>
            <pc:sldMk cId="1895228649" sldId="276"/>
            <ac:picMk id="5" creationId="{97B2BC91-A699-FDF4-5C6F-767E4244FD9C}"/>
          </ac:picMkLst>
        </pc:picChg>
        <pc:picChg chg="add mod">
          <ac:chgData name="Kory Thacher (APPS / POWERSHELL)" userId="995eb0f2-f21c-467c-a947-4f8fc26d0f2e" providerId="ADAL" clId="{D6AE3920-5CE7-415D-B2E3-8920D07BE963}" dt="2022-09-26T22:32:26.320" v="7352" actId="1076"/>
          <ac:picMkLst>
            <pc:docMk/>
            <pc:sldMk cId="1895228649" sldId="276"/>
            <ac:picMk id="7" creationId="{22844EAC-36A2-9E6B-9906-A186B521485A}"/>
          </ac:picMkLst>
        </pc:picChg>
        <pc:picChg chg="add mod">
          <ac:chgData name="Kory Thacher (APPS / POWERSHELL)" userId="995eb0f2-f21c-467c-a947-4f8fc26d0f2e" providerId="ADAL" clId="{D6AE3920-5CE7-415D-B2E3-8920D07BE963}" dt="2022-09-26T23:31:10.986" v="7372" actId="1440"/>
          <ac:picMkLst>
            <pc:docMk/>
            <pc:sldMk cId="1895228649" sldId="276"/>
            <ac:picMk id="9" creationId="{FBD4F94B-C40B-22A1-35A0-350218F8208E}"/>
          </ac:picMkLst>
        </pc:picChg>
        <pc:picChg chg="del mod">
          <ac:chgData name="Kory Thacher (APPS / POWERSHELL)" userId="995eb0f2-f21c-467c-a947-4f8fc26d0f2e" providerId="ADAL" clId="{D6AE3920-5CE7-415D-B2E3-8920D07BE963}" dt="2022-09-26T22:32:28.140" v="7353" actId="478"/>
          <ac:picMkLst>
            <pc:docMk/>
            <pc:sldMk cId="1895228649" sldId="276"/>
            <ac:picMk id="10" creationId="{868238C5-8AD8-4002-90FD-EA79C1AF19FE}"/>
          </ac:picMkLst>
        </pc:picChg>
      </pc:sldChg>
      <pc:sldChg chg="del mod modShow addCm modCm">
        <pc:chgData name="Kory Thacher (APPS / POWERSHELL)" userId="995eb0f2-f21c-467c-a947-4f8fc26d0f2e" providerId="ADAL" clId="{D6AE3920-5CE7-415D-B2E3-8920D07BE963}" dt="2022-09-12T21:07:51.047" v="2623" actId="47"/>
        <pc:sldMkLst>
          <pc:docMk/>
          <pc:sldMk cId="1356962058" sldId="277"/>
        </pc:sldMkLst>
      </pc:sldChg>
      <pc:sldChg chg="ord">
        <pc:chgData name="Kory Thacher (APPS / POWERSHELL)" userId="995eb0f2-f21c-467c-a947-4f8fc26d0f2e" providerId="ADAL" clId="{D6AE3920-5CE7-415D-B2E3-8920D07BE963}" dt="2022-09-08T18:31:56.054" v="2277"/>
        <pc:sldMkLst>
          <pc:docMk/>
          <pc:sldMk cId="4211615216" sldId="278"/>
        </pc:sldMkLst>
      </pc:sldChg>
      <pc:sldChg chg="ord">
        <pc:chgData name="Kory Thacher (APPS / POWERSHELL)" userId="995eb0f2-f21c-467c-a947-4f8fc26d0f2e" providerId="ADAL" clId="{D6AE3920-5CE7-415D-B2E3-8920D07BE963}" dt="2022-09-08T18:32:00.808" v="2279"/>
        <pc:sldMkLst>
          <pc:docMk/>
          <pc:sldMk cId="2821449364" sldId="279"/>
        </pc:sldMkLst>
      </pc:sldChg>
      <pc:sldChg chg="ord">
        <pc:chgData name="Kory Thacher (APPS / POWERSHELL)" userId="995eb0f2-f21c-467c-a947-4f8fc26d0f2e" providerId="ADAL" clId="{D6AE3920-5CE7-415D-B2E3-8920D07BE963}" dt="2022-09-08T17:33:22.437" v="1793"/>
        <pc:sldMkLst>
          <pc:docMk/>
          <pc:sldMk cId="443941287" sldId="280"/>
        </pc:sldMkLst>
      </pc:sldChg>
      <pc:sldChg chg="mod modShow">
        <pc:chgData name="Kory Thacher (APPS / POWERSHELL)" userId="995eb0f2-f21c-467c-a947-4f8fc26d0f2e" providerId="ADAL" clId="{D6AE3920-5CE7-415D-B2E3-8920D07BE963}" dt="2022-09-13T22:28:12.478" v="3215" actId="729"/>
        <pc:sldMkLst>
          <pc:docMk/>
          <pc:sldMk cId="2713139555" sldId="281"/>
        </pc:sldMkLst>
      </pc:sldChg>
      <pc:sldChg chg="addCm modCm">
        <pc:chgData name="Kory Thacher (APPS / POWERSHELL)" userId="995eb0f2-f21c-467c-a947-4f8fc26d0f2e" providerId="ADAL" clId="{D6AE3920-5CE7-415D-B2E3-8920D07BE963}" dt="2022-08-16T21:49:15.017" v="33"/>
        <pc:sldMkLst>
          <pc:docMk/>
          <pc:sldMk cId="2966509842" sldId="285"/>
        </pc:sldMkLst>
      </pc:sldChg>
      <pc:sldChg chg="addCm modCm">
        <pc:chgData name="Kory Thacher (APPS / POWERSHELL)" userId="995eb0f2-f21c-467c-a947-4f8fc26d0f2e" providerId="ADAL" clId="{D6AE3920-5CE7-415D-B2E3-8920D07BE963}" dt="2022-08-16T21:51:18.794" v="35"/>
        <pc:sldMkLst>
          <pc:docMk/>
          <pc:sldMk cId="3434545505" sldId="286"/>
        </pc:sldMkLst>
      </pc:sldChg>
      <pc:sldChg chg="addCm modCm">
        <pc:chgData name="Kory Thacher (APPS / POWERSHELL)" userId="995eb0f2-f21c-467c-a947-4f8fc26d0f2e" providerId="ADAL" clId="{D6AE3920-5CE7-415D-B2E3-8920D07BE963}" dt="2022-08-16T21:52:12.522" v="37"/>
        <pc:sldMkLst>
          <pc:docMk/>
          <pc:sldMk cId="143350073" sldId="287"/>
        </pc:sldMkLst>
      </pc:sldChg>
      <pc:sldChg chg="addCm modCm">
        <pc:chgData name="Kory Thacher (APPS / POWERSHELL)" userId="995eb0f2-f21c-467c-a947-4f8fc26d0f2e" providerId="ADAL" clId="{D6AE3920-5CE7-415D-B2E3-8920D07BE963}" dt="2022-08-16T21:54:34.762" v="39"/>
        <pc:sldMkLst>
          <pc:docMk/>
          <pc:sldMk cId="669144298" sldId="288"/>
        </pc:sldMkLst>
      </pc:sldChg>
      <pc:sldChg chg="mod ord modShow addCm modCm">
        <pc:chgData name="Kory Thacher (APPS / POWERSHELL)" userId="995eb0f2-f21c-467c-a947-4f8fc26d0f2e" providerId="ADAL" clId="{D6AE3920-5CE7-415D-B2E3-8920D07BE963}" dt="2022-09-13T22:28:12.478" v="3215" actId="729"/>
        <pc:sldMkLst>
          <pc:docMk/>
          <pc:sldMk cId="3895184305" sldId="293"/>
        </pc:sldMkLst>
      </pc:sldChg>
      <pc:sldChg chg="mod ord modShow addCm modCm">
        <pc:chgData name="Kory Thacher (APPS / POWERSHELL)" userId="995eb0f2-f21c-467c-a947-4f8fc26d0f2e" providerId="ADAL" clId="{D6AE3920-5CE7-415D-B2E3-8920D07BE963}" dt="2022-09-13T22:28:12.478" v="3215" actId="729"/>
        <pc:sldMkLst>
          <pc:docMk/>
          <pc:sldMk cId="2655594440" sldId="294"/>
        </pc:sldMkLst>
      </pc:sldChg>
      <pc:sldChg chg="addCm modCm">
        <pc:chgData name="Kory Thacher (APPS / POWERSHELL)" userId="995eb0f2-f21c-467c-a947-4f8fc26d0f2e" providerId="ADAL" clId="{D6AE3920-5CE7-415D-B2E3-8920D07BE963}" dt="2022-08-16T22:00:01.618" v="46"/>
        <pc:sldMkLst>
          <pc:docMk/>
          <pc:sldMk cId="3190187242" sldId="298"/>
        </pc:sldMkLst>
      </pc:sldChg>
      <pc:sldChg chg="addCm modCm">
        <pc:chgData name="Kory Thacher (APPS / POWERSHELL)" userId="995eb0f2-f21c-467c-a947-4f8fc26d0f2e" providerId="ADAL" clId="{D6AE3920-5CE7-415D-B2E3-8920D07BE963}" dt="2022-08-16T22:05:36.514" v="48"/>
        <pc:sldMkLst>
          <pc:docMk/>
          <pc:sldMk cId="2033449873" sldId="299"/>
        </pc:sldMkLst>
      </pc:sldChg>
      <pc:sldChg chg="addCm modCm">
        <pc:chgData name="Kory Thacher (APPS / POWERSHELL)" userId="995eb0f2-f21c-467c-a947-4f8fc26d0f2e" providerId="ADAL" clId="{D6AE3920-5CE7-415D-B2E3-8920D07BE963}" dt="2022-08-16T22:06:21.794" v="50"/>
        <pc:sldMkLst>
          <pc:docMk/>
          <pc:sldMk cId="1677061110" sldId="300"/>
        </pc:sldMkLst>
      </pc:sldChg>
      <pc:sldChg chg="addCm modCm">
        <pc:chgData name="Kory Thacher (APPS / POWERSHELL)" userId="995eb0f2-f21c-467c-a947-4f8fc26d0f2e" providerId="ADAL" clId="{D6AE3920-5CE7-415D-B2E3-8920D07BE963}" dt="2022-08-16T22:10:16.082" v="52"/>
        <pc:sldMkLst>
          <pc:docMk/>
          <pc:sldMk cId="761153844" sldId="301"/>
        </pc:sldMkLst>
      </pc:sldChg>
      <pc:sldChg chg="addCm modCm">
        <pc:chgData name="Kory Thacher (APPS / POWERSHELL)" userId="995eb0f2-f21c-467c-a947-4f8fc26d0f2e" providerId="ADAL" clId="{D6AE3920-5CE7-415D-B2E3-8920D07BE963}" dt="2022-08-16T22:15:30.523" v="54"/>
        <pc:sldMkLst>
          <pc:docMk/>
          <pc:sldMk cId="2651296270" sldId="306"/>
        </pc:sldMkLst>
      </pc:sldChg>
      <pc:sldChg chg="addCm modCm">
        <pc:chgData name="Kory Thacher (APPS / POWERSHELL)" userId="995eb0f2-f21c-467c-a947-4f8fc26d0f2e" providerId="ADAL" clId="{D6AE3920-5CE7-415D-B2E3-8920D07BE963}" dt="2022-08-16T22:18:22.275" v="56"/>
        <pc:sldMkLst>
          <pc:docMk/>
          <pc:sldMk cId="3398519265" sldId="309"/>
        </pc:sldMkLst>
      </pc:sldChg>
      <pc:sldChg chg="addCm modCm">
        <pc:chgData name="Kory Thacher (APPS / POWERSHELL)" userId="995eb0f2-f21c-467c-a947-4f8fc26d0f2e" providerId="ADAL" clId="{D6AE3920-5CE7-415D-B2E3-8920D07BE963}" dt="2022-08-16T22:18:49.683" v="58"/>
        <pc:sldMkLst>
          <pc:docMk/>
          <pc:sldMk cId="3132383162" sldId="310"/>
        </pc:sldMkLst>
      </pc:sldChg>
      <pc:sldChg chg="addCm modCm">
        <pc:chgData name="Kory Thacher (APPS / POWERSHELL)" userId="995eb0f2-f21c-467c-a947-4f8fc26d0f2e" providerId="ADAL" clId="{D6AE3920-5CE7-415D-B2E3-8920D07BE963}" dt="2022-08-16T22:18:54.762" v="60"/>
        <pc:sldMkLst>
          <pc:docMk/>
          <pc:sldMk cId="986258471" sldId="311"/>
        </pc:sldMkLst>
      </pc:sldChg>
      <pc:sldChg chg="addCm modCm">
        <pc:chgData name="Kory Thacher (APPS / POWERSHELL)" userId="995eb0f2-f21c-467c-a947-4f8fc26d0f2e" providerId="ADAL" clId="{D6AE3920-5CE7-415D-B2E3-8920D07BE963}" dt="2022-08-16T22:18:59.147" v="62"/>
        <pc:sldMkLst>
          <pc:docMk/>
          <pc:sldMk cId="2234774238" sldId="312"/>
        </pc:sldMkLst>
      </pc:sldChg>
      <pc:sldChg chg="addCm modCm">
        <pc:chgData name="Kory Thacher (APPS / POWERSHELL)" userId="995eb0f2-f21c-467c-a947-4f8fc26d0f2e" providerId="ADAL" clId="{D6AE3920-5CE7-415D-B2E3-8920D07BE963}" dt="2022-08-16T22:19:12.579" v="64"/>
        <pc:sldMkLst>
          <pc:docMk/>
          <pc:sldMk cId="2820221524" sldId="313"/>
        </pc:sldMkLst>
      </pc:sldChg>
      <pc:sldChg chg="addCm modCm">
        <pc:chgData name="Kory Thacher (APPS / POWERSHELL)" userId="995eb0f2-f21c-467c-a947-4f8fc26d0f2e" providerId="ADAL" clId="{D6AE3920-5CE7-415D-B2E3-8920D07BE963}" dt="2022-08-16T22:19:31.658" v="66"/>
        <pc:sldMkLst>
          <pc:docMk/>
          <pc:sldMk cId="1115799198" sldId="314"/>
        </pc:sldMkLst>
      </pc:sldChg>
      <pc:sldChg chg="add del mod modShow">
        <pc:chgData name="Kory Thacher (APPS / POWERSHELL)" userId="995eb0f2-f21c-467c-a947-4f8fc26d0f2e" providerId="ADAL" clId="{D6AE3920-5CE7-415D-B2E3-8920D07BE963}" dt="2022-08-16T22:56:06.711" v="428" actId="47"/>
        <pc:sldMkLst>
          <pc:docMk/>
          <pc:sldMk cId="3405268001" sldId="319"/>
        </pc:sldMkLst>
      </pc:sldChg>
      <pc:sldChg chg="delSp add del mod">
        <pc:chgData name="Kory Thacher (APPS / POWERSHELL)" userId="995eb0f2-f21c-467c-a947-4f8fc26d0f2e" providerId="ADAL" clId="{D6AE3920-5CE7-415D-B2E3-8920D07BE963}" dt="2022-08-16T22:29:08.074" v="70" actId="47"/>
        <pc:sldMkLst>
          <pc:docMk/>
          <pc:sldMk cId="198138749" sldId="320"/>
        </pc:sldMkLst>
        <pc:grpChg chg="del">
          <ac:chgData name="Kory Thacher (APPS / POWERSHELL)" userId="995eb0f2-f21c-467c-a947-4f8fc26d0f2e" providerId="ADAL" clId="{D6AE3920-5CE7-415D-B2E3-8920D07BE963}" dt="2022-08-16T22:29:03.459" v="69" actId="478"/>
          <ac:grpSpMkLst>
            <pc:docMk/>
            <pc:sldMk cId="198138749" sldId="320"/>
            <ac:grpSpMk id="19" creationId="{88FA40DC-BCF9-491D-B65B-B58FD56BFEC0}"/>
          </ac:grpSpMkLst>
        </pc:grpChg>
      </pc:sldChg>
      <pc:sldChg chg="addSp delSp modSp add del">
        <pc:chgData name="Kory Thacher (APPS / POWERSHELL)" userId="995eb0f2-f21c-467c-a947-4f8fc26d0f2e" providerId="ADAL" clId="{D6AE3920-5CE7-415D-B2E3-8920D07BE963}" dt="2022-08-16T22:50:07.472" v="369" actId="47"/>
        <pc:sldMkLst>
          <pc:docMk/>
          <pc:sldMk cId="1917493640" sldId="320"/>
        </pc:sldMkLst>
        <pc:spChg chg="del">
          <ac:chgData name="Kory Thacher (APPS / POWERSHELL)" userId="995eb0f2-f21c-467c-a947-4f8fc26d0f2e" providerId="ADAL" clId="{D6AE3920-5CE7-415D-B2E3-8920D07BE963}" dt="2022-08-16T22:47:02.689" v="355" actId="12084"/>
          <ac:spMkLst>
            <pc:docMk/>
            <pc:sldMk cId="1917493640" sldId="320"/>
            <ac:spMk id="2" creationId="{71A03513-5BF0-5870-D8CE-670FDF0E907E}"/>
          </ac:spMkLst>
        </pc:spChg>
        <pc:graphicFrameChg chg="add mod">
          <ac:chgData name="Kory Thacher (APPS / POWERSHELL)" userId="995eb0f2-f21c-467c-a947-4f8fc26d0f2e" providerId="ADAL" clId="{D6AE3920-5CE7-415D-B2E3-8920D07BE963}" dt="2022-08-16T22:47:02.689" v="355" actId="12084"/>
          <ac:graphicFrameMkLst>
            <pc:docMk/>
            <pc:sldMk cId="1917493640" sldId="320"/>
            <ac:graphicFrameMk id="3" creationId="{B517B408-937E-9E89-62E4-1A482F293A68}"/>
          </ac:graphicFrameMkLst>
        </pc:graphicFrameChg>
      </pc:sldChg>
      <pc:sldChg chg="modSp mod">
        <pc:chgData name="Kory Thacher (APPS / POWERSHELL)" userId="995eb0f2-f21c-467c-a947-4f8fc26d0f2e" providerId="ADAL" clId="{D6AE3920-5CE7-415D-B2E3-8920D07BE963}" dt="2022-08-16T22:55:33.273" v="426" actId="113"/>
        <pc:sldMkLst>
          <pc:docMk/>
          <pc:sldMk cId="1572072190" sldId="321"/>
        </pc:sldMkLst>
        <pc:graphicFrameChg chg="mod modGraphic">
          <ac:chgData name="Kory Thacher (APPS / POWERSHELL)" userId="995eb0f2-f21c-467c-a947-4f8fc26d0f2e" providerId="ADAL" clId="{D6AE3920-5CE7-415D-B2E3-8920D07BE963}" dt="2022-08-16T22:55:33.273" v="426" actId="113"/>
          <ac:graphicFrameMkLst>
            <pc:docMk/>
            <pc:sldMk cId="1572072190" sldId="321"/>
            <ac:graphicFrameMk id="3" creationId="{550D197A-CBD9-DC5D-F980-1998BE9CFB48}"/>
          </ac:graphicFrameMkLst>
        </pc:graphicFrameChg>
      </pc:sldChg>
      <pc:sldChg chg="modSp add del mod">
        <pc:chgData name="Kory Thacher (APPS / POWERSHELL)" userId="995eb0f2-f21c-467c-a947-4f8fc26d0f2e" providerId="ADAL" clId="{D6AE3920-5CE7-415D-B2E3-8920D07BE963}" dt="2022-08-16T22:50:07.472" v="369" actId="47"/>
        <pc:sldMkLst>
          <pc:docMk/>
          <pc:sldMk cId="212064404" sldId="322"/>
        </pc:sldMkLst>
        <pc:graphicFrameChg chg="mod">
          <ac:chgData name="Kory Thacher (APPS / POWERSHELL)" userId="995eb0f2-f21c-467c-a947-4f8fc26d0f2e" providerId="ADAL" clId="{D6AE3920-5CE7-415D-B2E3-8920D07BE963}" dt="2022-08-16T22:49:55.401" v="368" actId="14100"/>
          <ac:graphicFrameMkLst>
            <pc:docMk/>
            <pc:sldMk cId="212064404" sldId="322"/>
            <ac:graphicFrameMk id="3" creationId="{B517B408-937E-9E89-62E4-1A482F293A68}"/>
          </ac:graphicFrameMkLst>
        </pc:graphicFrameChg>
      </pc:sldChg>
      <pc:sldChg chg="add mod ord setBg modShow modCm">
        <pc:chgData name="Kory Thacher (APPS / POWERSHELL)" userId="995eb0f2-f21c-467c-a947-4f8fc26d0f2e" providerId="ADAL" clId="{D6AE3920-5CE7-415D-B2E3-8920D07BE963}" dt="2022-08-29T21:57:43.298" v="819"/>
        <pc:sldMkLst>
          <pc:docMk/>
          <pc:sldMk cId="326216181" sldId="322"/>
        </pc:sldMkLst>
      </pc:sldChg>
      <pc:sldChg chg="modSp add del mod">
        <pc:chgData name="Kory Thacher (APPS / POWERSHELL)" userId="995eb0f2-f21c-467c-a947-4f8fc26d0f2e" providerId="ADAL" clId="{D6AE3920-5CE7-415D-B2E3-8920D07BE963}" dt="2022-08-16T22:55:54.755" v="427" actId="47"/>
        <pc:sldMkLst>
          <pc:docMk/>
          <pc:sldMk cId="157764764" sldId="323"/>
        </pc:sldMkLst>
        <pc:graphicFrameChg chg="mod">
          <ac:chgData name="Kory Thacher (APPS / POWERSHELL)" userId="995eb0f2-f21c-467c-a947-4f8fc26d0f2e" providerId="ADAL" clId="{D6AE3920-5CE7-415D-B2E3-8920D07BE963}" dt="2022-08-16T22:47:53.529" v="360" actId="14100"/>
          <ac:graphicFrameMkLst>
            <pc:docMk/>
            <pc:sldMk cId="157764764" sldId="323"/>
            <ac:graphicFrameMk id="3" creationId="{B517B408-937E-9E89-62E4-1A482F293A68}"/>
          </ac:graphicFrameMkLst>
        </pc:graphicFrameChg>
      </pc:sldChg>
      <pc:sldChg chg="add del setBg">
        <pc:chgData name="Kory Thacher (APPS / POWERSHELL)" userId="995eb0f2-f21c-467c-a947-4f8fc26d0f2e" providerId="ADAL" clId="{D6AE3920-5CE7-415D-B2E3-8920D07BE963}" dt="2022-08-29T21:19:10.855" v="737" actId="47"/>
        <pc:sldMkLst>
          <pc:docMk/>
          <pc:sldMk cId="2638759122" sldId="323"/>
        </pc:sldMkLst>
      </pc:sldChg>
      <pc:sldChg chg="modSp add del">
        <pc:chgData name="Kory Thacher (APPS / POWERSHELL)" userId="995eb0f2-f21c-467c-a947-4f8fc26d0f2e" providerId="ADAL" clId="{D6AE3920-5CE7-415D-B2E3-8920D07BE963}" dt="2022-08-16T22:55:54.755" v="427" actId="47"/>
        <pc:sldMkLst>
          <pc:docMk/>
          <pc:sldMk cId="9727956" sldId="324"/>
        </pc:sldMkLst>
        <pc:graphicFrameChg chg="mod">
          <ac:chgData name="Kory Thacher (APPS / POWERSHELL)" userId="995eb0f2-f21c-467c-a947-4f8fc26d0f2e" providerId="ADAL" clId="{D6AE3920-5CE7-415D-B2E3-8920D07BE963}" dt="2022-08-16T22:48:04.452" v="362" actId="13782"/>
          <ac:graphicFrameMkLst>
            <pc:docMk/>
            <pc:sldMk cId="9727956" sldId="324"/>
            <ac:graphicFrameMk id="3" creationId="{B517B408-937E-9E89-62E4-1A482F293A68}"/>
          </ac:graphicFrameMkLst>
        </pc:graphicFrameChg>
      </pc:sldChg>
      <pc:sldChg chg="del mod ord modShow">
        <pc:chgData name="Kory Thacher (APPS / POWERSHELL)" userId="995eb0f2-f21c-467c-a947-4f8fc26d0f2e" providerId="ADAL" clId="{D6AE3920-5CE7-415D-B2E3-8920D07BE963}" dt="2022-09-08T17:02:48.565" v="1691" actId="47"/>
        <pc:sldMkLst>
          <pc:docMk/>
          <pc:sldMk cId="4276181191" sldId="324"/>
        </pc:sldMkLst>
      </pc:sldChg>
      <pc:sldChg chg="addSp delSp modSp add del setBg">
        <pc:chgData name="Kory Thacher (APPS / POWERSHELL)" userId="995eb0f2-f21c-467c-a947-4f8fc26d0f2e" providerId="ADAL" clId="{D6AE3920-5CE7-415D-B2E3-8920D07BE963}" dt="2022-08-29T21:24:08.134" v="766" actId="47"/>
        <pc:sldMkLst>
          <pc:docMk/>
          <pc:sldMk cId="2364085825" sldId="325"/>
        </pc:sldMkLst>
        <pc:spChg chg="del">
          <ac:chgData name="Kory Thacher (APPS / POWERSHELL)" userId="995eb0f2-f21c-467c-a947-4f8fc26d0f2e" providerId="ADAL" clId="{D6AE3920-5CE7-415D-B2E3-8920D07BE963}" dt="2022-08-29T21:19:25.384" v="742" actId="12084"/>
          <ac:spMkLst>
            <pc:docMk/>
            <pc:sldMk cId="2364085825" sldId="325"/>
            <ac:spMk id="2" creationId="{4C7EAF08-7EE5-1A99-84AA-F7B8E06A3157}"/>
          </ac:spMkLst>
        </pc:spChg>
        <pc:graphicFrameChg chg="add mod">
          <ac:chgData name="Kory Thacher (APPS / POWERSHELL)" userId="995eb0f2-f21c-467c-a947-4f8fc26d0f2e" providerId="ADAL" clId="{D6AE3920-5CE7-415D-B2E3-8920D07BE963}" dt="2022-08-29T21:24:02.551" v="765" actId="207"/>
          <ac:graphicFrameMkLst>
            <pc:docMk/>
            <pc:sldMk cId="2364085825" sldId="325"/>
            <ac:graphicFrameMk id="4" creationId="{43929DD0-E7A8-CA0A-B98F-E00B3BD62AFC}"/>
          </ac:graphicFrameMkLst>
        </pc:graphicFrameChg>
      </pc:sldChg>
      <pc:sldChg chg="modSp add del">
        <pc:chgData name="Kory Thacher (APPS / POWERSHELL)" userId="995eb0f2-f21c-467c-a947-4f8fc26d0f2e" providerId="ADAL" clId="{D6AE3920-5CE7-415D-B2E3-8920D07BE963}" dt="2022-08-16T22:50:44.696" v="370" actId="47"/>
        <pc:sldMkLst>
          <pc:docMk/>
          <pc:sldMk cId="4070631798" sldId="325"/>
        </pc:sldMkLst>
        <pc:graphicFrameChg chg="mod">
          <ac:chgData name="Kory Thacher (APPS / POWERSHELL)" userId="995eb0f2-f21c-467c-a947-4f8fc26d0f2e" providerId="ADAL" clId="{D6AE3920-5CE7-415D-B2E3-8920D07BE963}" dt="2022-08-16T22:48:17.592" v="364" actId="13782"/>
          <ac:graphicFrameMkLst>
            <pc:docMk/>
            <pc:sldMk cId="4070631798" sldId="325"/>
            <ac:graphicFrameMk id="3" creationId="{B517B408-937E-9E89-62E4-1A482F293A68}"/>
          </ac:graphicFrameMkLst>
        </pc:graphicFrameChg>
      </pc:sldChg>
      <pc:sldChg chg="addSp delSp modSp add del setBg">
        <pc:chgData name="Kory Thacher (APPS / POWERSHELL)" userId="995eb0f2-f21c-467c-a947-4f8fc26d0f2e" providerId="ADAL" clId="{D6AE3920-5CE7-415D-B2E3-8920D07BE963}" dt="2022-08-29T21:28:08.908" v="769" actId="47"/>
        <pc:sldMkLst>
          <pc:docMk/>
          <pc:sldMk cId="9702920" sldId="326"/>
        </pc:sldMkLst>
        <pc:spChg chg="del">
          <ac:chgData name="Kory Thacher (APPS / POWERSHELL)" userId="995eb0f2-f21c-467c-a947-4f8fc26d0f2e" providerId="ADAL" clId="{D6AE3920-5CE7-415D-B2E3-8920D07BE963}" dt="2022-08-29T21:19:38.657" v="743" actId="12084"/>
          <ac:spMkLst>
            <pc:docMk/>
            <pc:sldMk cId="9702920" sldId="326"/>
            <ac:spMk id="2" creationId="{4C7EAF08-7EE5-1A99-84AA-F7B8E06A3157}"/>
          </ac:spMkLst>
        </pc:spChg>
        <pc:graphicFrameChg chg="add mod">
          <ac:chgData name="Kory Thacher (APPS / POWERSHELL)" userId="995eb0f2-f21c-467c-a947-4f8fc26d0f2e" providerId="ADAL" clId="{D6AE3920-5CE7-415D-B2E3-8920D07BE963}" dt="2022-08-29T21:19:38.657" v="743" actId="12084"/>
          <ac:graphicFrameMkLst>
            <pc:docMk/>
            <pc:sldMk cId="9702920" sldId="326"/>
            <ac:graphicFrameMk id="4" creationId="{D3F32D65-81AD-0D7C-0A2C-18639EA583CC}"/>
          </ac:graphicFrameMkLst>
        </pc:graphicFrameChg>
      </pc:sldChg>
      <pc:sldChg chg="modSp add del">
        <pc:chgData name="Kory Thacher (APPS / POWERSHELL)" userId="995eb0f2-f21c-467c-a947-4f8fc26d0f2e" providerId="ADAL" clId="{D6AE3920-5CE7-415D-B2E3-8920D07BE963}" dt="2022-08-16T22:51:13.280" v="371" actId="47"/>
        <pc:sldMkLst>
          <pc:docMk/>
          <pc:sldMk cId="2636890708" sldId="326"/>
        </pc:sldMkLst>
        <pc:graphicFrameChg chg="mod">
          <ac:chgData name="Kory Thacher (APPS / POWERSHELL)" userId="995eb0f2-f21c-467c-a947-4f8fc26d0f2e" providerId="ADAL" clId="{D6AE3920-5CE7-415D-B2E3-8920D07BE963}" dt="2022-08-16T22:49:07.526" v="367" actId="13782"/>
          <ac:graphicFrameMkLst>
            <pc:docMk/>
            <pc:sldMk cId="2636890708" sldId="326"/>
            <ac:graphicFrameMk id="3" creationId="{B517B408-937E-9E89-62E4-1A482F293A68}"/>
          </ac:graphicFrameMkLst>
        </pc:graphicFrameChg>
      </pc:sldChg>
      <pc:sldChg chg="addSp delSp modSp add del setBg">
        <pc:chgData name="Kory Thacher (APPS / POWERSHELL)" userId="995eb0f2-f21c-467c-a947-4f8fc26d0f2e" providerId="ADAL" clId="{D6AE3920-5CE7-415D-B2E3-8920D07BE963}" dt="2022-08-29T21:23:35.430" v="762" actId="47"/>
        <pc:sldMkLst>
          <pc:docMk/>
          <pc:sldMk cId="1508375485" sldId="327"/>
        </pc:sldMkLst>
        <pc:spChg chg="del">
          <ac:chgData name="Kory Thacher (APPS / POWERSHELL)" userId="995eb0f2-f21c-467c-a947-4f8fc26d0f2e" providerId="ADAL" clId="{D6AE3920-5CE7-415D-B2E3-8920D07BE963}" dt="2022-08-29T21:19:59.920" v="744" actId="12084"/>
          <ac:spMkLst>
            <pc:docMk/>
            <pc:sldMk cId="1508375485" sldId="327"/>
            <ac:spMk id="2" creationId="{4C7EAF08-7EE5-1A99-84AA-F7B8E06A3157}"/>
          </ac:spMkLst>
        </pc:spChg>
        <pc:graphicFrameChg chg="add mod">
          <ac:chgData name="Kory Thacher (APPS / POWERSHELL)" userId="995eb0f2-f21c-467c-a947-4f8fc26d0f2e" providerId="ADAL" clId="{D6AE3920-5CE7-415D-B2E3-8920D07BE963}" dt="2022-08-29T21:19:59.920" v="744" actId="12084"/>
          <ac:graphicFrameMkLst>
            <pc:docMk/>
            <pc:sldMk cId="1508375485" sldId="327"/>
            <ac:graphicFrameMk id="4" creationId="{2701D3AE-F6AC-E167-8CE4-B5D6B85C9314}"/>
          </ac:graphicFrameMkLst>
        </pc:graphicFrameChg>
      </pc:sldChg>
      <pc:sldChg chg="del">
        <pc:chgData name="Kory Thacher (APPS / POWERSHELL)" userId="995eb0f2-f21c-467c-a947-4f8fc26d0f2e" providerId="ADAL" clId="{D6AE3920-5CE7-415D-B2E3-8920D07BE963}" dt="2022-08-16T22:52:31.260" v="372" actId="47"/>
        <pc:sldMkLst>
          <pc:docMk/>
          <pc:sldMk cId="2720172110" sldId="327"/>
        </pc:sldMkLst>
      </pc:sldChg>
      <pc:sldChg chg="del">
        <pc:chgData name="Kory Thacher (APPS / POWERSHELL)" userId="995eb0f2-f21c-467c-a947-4f8fc26d0f2e" providerId="ADAL" clId="{D6AE3920-5CE7-415D-B2E3-8920D07BE963}" dt="2022-08-16T22:55:54.755" v="427" actId="47"/>
        <pc:sldMkLst>
          <pc:docMk/>
          <pc:sldMk cId="2472791748" sldId="328"/>
        </pc:sldMkLst>
      </pc:sldChg>
      <pc:sldChg chg="addSp delSp modSp add del setBg">
        <pc:chgData name="Kory Thacher (APPS / POWERSHELL)" userId="995eb0f2-f21c-467c-a947-4f8fc26d0f2e" providerId="ADAL" clId="{D6AE3920-5CE7-415D-B2E3-8920D07BE963}" dt="2022-08-29T21:28:08.908" v="769" actId="47"/>
        <pc:sldMkLst>
          <pc:docMk/>
          <pc:sldMk cId="2670796020" sldId="328"/>
        </pc:sldMkLst>
        <pc:spChg chg="del">
          <ac:chgData name="Kory Thacher (APPS / POWERSHELL)" userId="995eb0f2-f21c-467c-a947-4f8fc26d0f2e" providerId="ADAL" clId="{D6AE3920-5CE7-415D-B2E3-8920D07BE963}" dt="2022-08-29T21:20:28.847" v="745" actId="12084"/>
          <ac:spMkLst>
            <pc:docMk/>
            <pc:sldMk cId="2670796020" sldId="328"/>
            <ac:spMk id="2" creationId="{4C7EAF08-7EE5-1A99-84AA-F7B8E06A3157}"/>
          </ac:spMkLst>
        </pc:spChg>
        <pc:graphicFrameChg chg="add mod">
          <ac:chgData name="Kory Thacher (APPS / POWERSHELL)" userId="995eb0f2-f21c-467c-a947-4f8fc26d0f2e" providerId="ADAL" clId="{D6AE3920-5CE7-415D-B2E3-8920D07BE963}" dt="2022-08-29T21:20:28.847" v="745" actId="12084"/>
          <ac:graphicFrameMkLst>
            <pc:docMk/>
            <pc:sldMk cId="2670796020" sldId="328"/>
            <ac:graphicFrameMk id="4" creationId="{C7E8F00D-37DD-A2A9-4FDA-5C66C45B1DB1}"/>
          </ac:graphicFrameMkLst>
        </pc:graphicFrameChg>
      </pc:sldChg>
      <pc:sldChg chg="addSp modSp add del mod modAnim">
        <pc:chgData name="Kory Thacher (APPS / POWERSHELL)" userId="995eb0f2-f21c-467c-a947-4f8fc26d0f2e" providerId="ADAL" clId="{D6AE3920-5CE7-415D-B2E3-8920D07BE963}" dt="2022-08-29T21:27:15.373" v="768" actId="47"/>
        <pc:sldMkLst>
          <pc:docMk/>
          <pc:sldMk cId="3984213691" sldId="329"/>
        </pc:sldMkLst>
        <pc:graphicFrameChg chg="mod">
          <ac:chgData name="Kory Thacher (APPS / POWERSHELL)" userId="995eb0f2-f21c-467c-a947-4f8fc26d0f2e" providerId="ADAL" clId="{D6AE3920-5CE7-415D-B2E3-8920D07BE963}" dt="2022-08-29T21:20:52.973" v="748" actId="14100"/>
          <ac:graphicFrameMkLst>
            <pc:docMk/>
            <pc:sldMk cId="3984213691" sldId="329"/>
            <ac:graphicFrameMk id="4" creationId="{C7E8F00D-37DD-A2A9-4FDA-5C66C45B1DB1}"/>
          </ac:graphicFrameMkLst>
        </pc:graphicFrameChg>
        <pc:picChg chg="add mod">
          <ac:chgData name="Kory Thacher (APPS / POWERSHELL)" userId="995eb0f2-f21c-467c-a947-4f8fc26d0f2e" providerId="ADAL" clId="{D6AE3920-5CE7-415D-B2E3-8920D07BE963}" dt="2022-08-29T21:21:13.366" v="753" actId="1076"/>
          <ac:picMkLst>
            <pc:docMk/>
            <pc:sldMk cId="3984213691" sldId="329"/>
            <ac:picMk id="2" creationId="{3C929016-D549-BA7A-D532-AC77D9E14A0F}"/>
          </ac:picMkLst>
        </pc:picChg>
      </pc:sldChg>
      <pc:sldChg chg="modSp add del mod">
        <pc:chgData name="Kory Thacher (APPS / POWERSHELL)" userId="995eb0f2-f21c-467c-a947-4f8fc26d0f2e" providerId="ADAL" clId="{D6AE3920-5CE7-415D-B2E3-8920D07BE963}" dt="2022-08-29T21:25:13.976" v="767" actId="47"/>
        <pc:sldMkLst>
          <pc:docMk/>
          <pc:sldMk cId="3956432164" sldId="330"/>
        </pc:sldMkLst>
        <pc:graphicFrameChg chg="mod">
          <ac:chgData name="Kory Thacher (APPS / POWERSHELL)" userId="995eb0f2-f21c-467c-a947-4f8fc26d0f2e" providerId="ADAL" clId="{D6AE3920-5CE7-415D-B2E3-8920D07BE963}" dt="2022-08-29T21:21:54.938" v="757" actId="13782"/>
          <ac:graphicFrameMkLst>
            <pc:docMk/>
            <pc:sldMk cId="3956432164" sldId="330"/>
            <ac:graphicFrameMk id="4" creationId="{C7E8F00D-37DD-A2A9-4FDA-5C66C45B1DB1}"/>
          </ac:graphicFrameMkLst>
        </pc:graphicFrameChg>
      </pc:sldChg>
      <pc:sldChg chg="addSp delSp modSp add mod delAnim modCm">
        <pc:chgData name="Kory Thacher (APPS / POWERSHELL)" userId="995eb0f2-f21c-467c-a947-4f8fc26d0f2e" providerId="ADAL" clId="{D6AE3920-5CE7-415D-B2E3-8920D07BE963}" dt="2022-08-29T21:57:17.242" v="810"/>
        <pc:sldMkLst>
          <pc:docMk/>
          <pc:sldMk cId="4130409067" sldId="331"/>
        </pc:sldMkLst>
        <pc:graphicFrameChg chg="mod modGraphic">
          <ac:chgData name="Kory Thacher (APPS / POWERSHELL)" userId="995eb0f2-f21c-467c-a947-4f8fc26d0f2e" providerId="ADAL" clId="{D6AE3920-5CE7-415D-B2E3-8920D07BE963}" dt="2022-08-29T21:56:02.340" v="804" actId="255"/>
          <ac:graphicFrameMkLst>
            <pc:docMk/>
            <pc:sldMk cId="4130409067" sldId="331"/>
            <ac:graphicFrameMk id="4" creationId="{C7E8F00D-37DD-A2A9-4FDA-5C66C45B1DB1}"/>
          </ac:graphicFrameMkLst>
        </pc:graphicFrameChg>
        <pc:picChg chg="del">
          <ac:chgData name="Kory Thacher (APPS / POWERSHELL)" userId="995eb0f2-f21c-467c-a947-4f8fc26d0f2e" providerId="ADAL" clId="{D6AE3920-5CE7-415D-B2E3-8920D07BE963}" dt="2022-08-29T21:55:00.349" v="790" actId="478"/>
          <ac:picMkLst>
            <pc:docMk/>
            <pc:sldMk cId="4130409067" sldId="331"/>
            <ac:picMk id="2" creationId="{3C929016-D549-BA7A-D532-AC77D9E14A0F}"/>
          </ac:picMkLst>
        </pc:picChg>
        <pc:picChg chg="add mod">
          <ac:chgData name="Kory Thacher (APPS / POWERSHELL)" userId="995eb0f2-f21c-467c-a947-4f8fc26d0f2e" providerId="ADAL" clId="{D6AE3920-5CE7-415D-B2E3-8920D07BE963}" dt="2022-08-29T21:55:39.951" v="801" actId="1076"/>
          <ac:picMkLst>
            <pc:docMk/>
            <pc:sldMk cId="4130409067" sldId="331"/>
            <ac:picMk id="5" creationId="{257B024F-14C5-2A29-D149-0C4504267224}"/>
          </ac:picMkLst>
        </pc:picChg>
      </pc:sldChg>
      <pc:sldChg chg="addSp delSp modSp add mod ord delAnim modShow modCm">
        <pc:chgData name="Kory Thacher (APPS / POWERSHELL)" userId="995eb0f2-f21c-467c-a947-4f8fc26d0f2e" providerId="ADAL" clId="{D6AE3920-5CE7-415D-B2E3-8920D07BE963}" dt="2022-08-29T21:57:22.877" v="813" actId="729"/>
        <pc:sldMkLst>
          <pc:docMk/>
          <pc:sldMk cId="4275759498" sldId="332"/>
        </pc:sldMkLst>
        <pc:graphicFrameChg chg="mod modGraphic">
          <ac:chgData name="Kory Thacher (APPS / POWERSHELL)" userId="995eb0f2-f21c-467c-a947-4f8fc26d0f2e" providerId="ADAL" clId="{D6AE3920-5CE7-415D-B2E3-8920D07BE963}" dt="2022-08-29T21:56:15.361" v="807" actId="14100"/>
          <ac:graphicFrameMkLst>
            <pc:docMk/>
            <pc:sldMk cId="4275759498" sldId="332"/>
            <ac:graphicFrameMk id="4" creationId="{C7E8F00D-37DD-A2A9-4FDA-5C66C45B1DB1}"/>
          </ac:graphicFrameMkLst>
        </pc:graphicFrameChg>
        <pc:picChg chg="del mod">
          <ac:chgData name="Kory Thacher (APPS / POWERSHELL)" userId="995eb0f2-f21c-467c-a947-4f8fc26d0f2e" providerId="ADAL" clId="{D6AE3920-5CE7-415D-B2E3-8920D07BE963}" dt="2022-08-29T21:56:17.595" v="808" actId="478"/>
          <ac:picMkLst>
            <pc:docMk/>
            <pc:sldMk cId="4275759498" sldId="332"/>
            <ac:picMk id="2" creationId="{3C929016-D549-BA7A-D532-AC77D9E14A0F}"/>
          </ac:picMkLst>
        </pc:picChg>
        <pc:picChg chg="add mod">
          <ac:chgData name="Kory Thacher (APPS / POWERSHELL)" userId="995eb0f2-f21c-467c-a947-4f8fc26d0f2e" providerId="ADAL" clId="{D6AE3920-5CE7-415D-B2E3-8920D07BE963}" dt="2022-08-29T21:56:05.824" v="805"/>
          <ac:picMkLst>
            <pc:docMk/>
            <pc:sldMk cId="4275759498" sldId="332"/>
            <ac:picMk id="5" creationId="{DFC9290E-8575-5778-BE59-5460721A2A60}"/>
          </ac:picMkLst>
        </pc:picChg>
      </pc:sldChg>
      <pc:sldChg chg="addSp delSp modSp add del mod setBg">
        <pc:chgData name="Kory Thacher (APPS / POWERSHELL)" userId="995eb0f2-f21c-467c-a947-4f8fc26d0f2e" providerId="ADAL" clId="{D6AE3920-5CE7-415D-B2E3-8920D07BE963}" dt="2022-08-29T22:14:49.407" v="994" actId="47"/>
        <pc:sldMkLst>
          <pc:docMk/>
          <pc:sldMk cId="4177860399" sldId="333"/>
        </pc:sldMkLst>
        <pc:spChg chg="mod">
          <ac:chgData name="Kory Thacher (APPS / POWERSHELL)" userId="995eb0f2-f21c-467c-a947-4f8fc26d0f2e" providerId="ADAL" clId="{D6AE3920-5CE7-415D-B2E3-8920D07BE963}" dt="2022-08-29T22:01:26.731" v="826" actId="20577"/>
          <ac:spMkLst>
            <pc:docMk/>
            <pc:sldMk cId="4177860399" sldId="333"/>
            <ac:spMk id="3" creationId="{D9E89D95-6FCA-45C6-981C-9C1CE7F8DD25}"/>
          </ac:spMkLst>
        </pc:spChg>
        <pc:graphicFrameChg chg="add mod">
          <ac:chgData name="Kory Thacher (APPS / POWERSHELL)" userId="995eb0f2-f21c-467c-a947-4f8fc26d0f2e" providerId="ADAL" clId="{D6AE3920-5CE7-415D-B2E3-8920D07BE963}" dt="2022-08-29T22:07:06.772" v="959" actId="27349"/>
          <ac:graphicFrameMkLst>
            <pc:docMk/>
            <pc:sldMk cId="4177860399" sldId="333"/>
            <ac:graphicFrameMk id="2" creationId="{D78879B1-3866-DE7B-42F6-0AF9A9244D0A}"/>
          </ac:graphicFrameMkLst>
        </pc:graphicFrameChg>
        <pc:graphicFrameChg chg="del mod">
          <ac:chgData name="Kory Thacher (APPS / POWERSHELL)" userId="995eb0f2-f21c-467c-a947-4f8fc26d0f2e" providerId="ADAL" clId="{D6AE3920-5CE7-415D-B2E3-8920D07BE963}" dt="2022-08-29T22:03:05.669" v="873" actId="478"/>
          <ac:graphicFrameMkLst>
            <pc:docMk/>
            <pc:sldMk cId="4177860399" sldId="333"/>
            <ac:graphicFrameMk id="5" creationId="{94164F84-7BD9-4B6B-984B-20448FC51915}"/>
          </ac:graphicFrameMkLst>
        </pc:graphicFrameChg>
      </pc:sldChg>
      <pc:sldChg chg="del mod ord modShow">
        <pc:chgData name="Kory Thacher (APPS / POWERSHELL)" userId="995eb0f2-f21c-467c-a947-4f8fc26d0f2e" providerId="ADAL" clId="{D6AE3920-5CE7-415D-B2E3-8920D07BE963}" dt="2022-09-08T17:02:48.565" v="1691" actId="47"/>
        <pc:sldMkLst>
          <pc:docMk/>
          <pc:sldMk cId="3699448947" sldId="334"/>
        </pc:sldMkLst>
      </pc:sldChg>
      <pc:sldChg chg="modSp add del">
        <pc:chgData name="Kory Thacher (APPS / POWERSHELL)" userId="995eb0f2-f21c-467c-a947-4f8fc26d0f2e" providerId="ADAL" clId="{D6AE3920-5CE7-415D-B2E3-8920D07BE963}" dt="2022-08-29T22:14:35.859" v="993" actId="47"/>
        <pc:sldMkLst>
          <pc:docMk/>
          <pc:sldMk cId="3464137775" sldId="335"/>
        </pc:sldMkLst>
        <pc:graphicFrameChg chg="mod">
          <ac:chgData name="Kory Thacher (APPS / POWERSHELL)" userId="995eb0f2-f21c-467c-a947-4f8fc26d0f2e" providerId="ADAL" clId="{D6AE3920-5CE7-415D-B2E3-8920D07BE963}" dt="2022-08-29T22:09:13.146" v="964" actId="255"/>
          <ac:graphicFrameMkLst>
            <pc:docMk/>
            <pc:sldMk cId="3464137775" sldId="335"/>
            <ac:graphicFrameMk id="2" creationId="{D78879B1-3866-DE7B-42F6-0AF9A9244D0A}"/>
          </ac:graphicFrameMkLst>
        </pc:graphicFrameChg>
      </pc:sldChg>
      <pc:sldChg chg="modSp del mod">
        <pc:chgData name="Kory Thacher (APPS / POWERSHELL)" userId="995eb0f2-f21c-467c-a947-4f8fc26d0f2e" providerId="ADAL" clId="{D6AE3920-5CE7-415D-B2E3-8920D07BE963}" dt="2022-08-29T22:23:49.988" v="1056" actId="47"/>
        <pc:sldMkLst>
          <pc:docMk/>
          <pc:sldMk cId="467110426" sldId="336"/>
        </pc:sldMkLst>
        <pc:graphicFrameChg chg="mod modGraphic">
          <ac:chgData name="Kory Thacher (APPS / POWERSHELL)" userId="995eb0f2-f21c-467c-a947-4f8fc26d0f2e" providerId="ADAL" clId="{D6AE3920-5CE7-415D-B2E3-8920D07BE963}" dt="2022-08-29T22:22:13.001" v="1032" actId="14100"/>
          <ac:graphicFrameMkLst>
            <pc:docMk/>
            <pc:sldMk cId="467110426" sldId="336"/>
            <ac:graphicFrameMk id="5" creationId="{33BF0D34-CA0B-09B9-C2B1-604D778DBFF2}"/>
          </ac:graphicFrameMkLst>
        </pc:graphicFrameChg>
      </pc:sldChg>
      <pc:sldChg chg="modSp add mod">
        <pc:chgData name="Kory Thacher (APPS / POWERSHELL)" userId="995eb0f2-f21c-467c-a947-4f8fc26d0f2e" providerId="ADAL" clId="{D6AE3920-5CE7-415D-B2E3-8920D07BE963}" dt="2022-08-29T22:14:26.305" v="992" actId="1076"/>
        <pc:sldMkLst>
          <pc:docMk/>
          <pc:sldMk cId="979368761" sldId="337"/>
        </pc:sldMkLst>
        <pc:graphicFrameChg chg="mod">
          <ac:chgData name="Kory Thacher (APPS / POWERSHELL)" userId="995eb0f2-f21c-467c-a947-4f8fc26d0f2e" providerId="ADAL" clId="{D6AE3920-5CE7-415D-B2E3-8920D07BE963}" dt="2022-08-29T22:14:26.305" v="992" actId="1076"/>
          <ac:graphicFrameMkLst>
            <pc:docMk/>
            <pc:sldMk cId="979368761" sldId="337"/>
            <ac:graphicFrameMk id="2" creationId="{D78879B1-3866-DE7B-42F6-0AF9A9244D0A}"/>
          </ac:graphicFrameMkLst>
        </pc:graphicFrameChg>
      </pc:sldChg>
      <pc:sldChg chg="modSp mod addCm modCm">
        <pc:chgData name="Kory Thacher (APPS / POWERSHELL)" userId="995eb0f2-f21c-467c-a947-4f8fc26d0f2e" providerId="ADAL" clId="{D6AE3920-5CE7-415D-B2E3-8920D07BE963}" dt="2022-08-29T22:35:06.228" v="1256" actId="12100"/>
        <pc:sldMkLst>
          <pc:docMk/>
          <pc:sldMk cId="1735206840" sldId="338"/>
        </pc:sldMkLst>
        <pc:graphicFrameChg chg="mod">
          <ac:chgData name="Kory Thacher (APPS / POWERSHELL)" userId="995eb0f2-f21c-467c-a947-4f8fc26d0f2e" providerId="ADAL" clId="{D6AE3920-5CE7-415D-B2E3-8920D07BE963}" dt="2022-08-29T22:35:06.228" v="1256" actId="12100"/>
          <ac:graphicFrameMkLst>
            <pc:docMk/>
            <pc:sldMk cId="1735206840" sldId="338"/>
            <ac:graphicFrameMk id="5" creationId="{33BF0D34-CA0B-09B9-C2B1-604D778DBFF2}"/>
          </ac:graphicFrameMkLst>
        </pc:graphicFrameChg>
      </pc:sldChg>
      <pc:sldChg chg="modSp add del">
        <pc:chgData name="Kory Thacher (APPS / POWERSHELL)" userId="995eb0f2-f21c-467c-a947-4f8fc26d0f2e" providerId="ADAL" clId="{D6AE3920-5CE7-415D-B2E3-8920D07BE963}" dt="2022-08-29T22:20:10.869" v="1016" actId="47"/>
        <pc:sldMkLst>
          <pc:docMk/>
          <pc:sldMk cId="8373794" sldId="339"/>
        </pc:sldMkLst>
        <pc:graphicFrameChg chg="mod">
          <ac:chgData name="Kory Thacher (APPS / POWERSHELL)" userId="995eb0f2-f21c-467c-a947-4f8fc26d0f2e" providerId="ADAL" clId="{D6AE3920-5CE7-415D-B2E3-8920D07BE963}" dt="2022-08-29T22:16:11.989" v="1001" actId="13782"/>
          <ac:graphicFrameMkLst>
            <pc:docMk/>
            <pc:sldMk cId="8373794" sldId="339"/>
            <ac:graphicFrameMk id="5" creationId="{33BF0D34-CA0B-09B9-C2B1-604D778DBFF2}"/>
          </ac:graphicFrameMkLst>
        </pc:graphicFrameChg>
      </pc:sldChg>
      <pc:sldChg chg="modSp del mod modShow">
        <pc:chgData name="Kory Thacher (APPS / POWERSHELL)" userId="995eb0f2-f21c-467c-a947-4f8fc26d0f2e" providerId="ADAL" clId="{D6AE3920-5CE7-415D-B2E3-8920D07BE963}" dt="2022-09-08T17:31:20.973" v="1791" actId="47"/>
        <pc:sldMkLst>
          <pc:docMk/>
          <pc:sldMk cId="2671065060" sldId="339"/>
        </pc:sldMkLst>
        <pc:graphicFrameChg chg="mod">
          <ac:chgData name="Kory Thacher (APPS / POWERSHELL)" userId="995eb0f2-f21c-467c-a947-4f8fc26d0f2e" providerId="ADAL" clId="{D6AE3920-5CE7-415D-B2E3-8920D07BE963}" dt="2022-08-29T23:00:54.040" v="1588" actId="14100"/>
          <ac:graphicFrameMkLst>
            <pc:docMk/>
            <pc:sldMk cId="2671065060" sldId="339"/>
            <ac:graphicFrameMk id="16" creationId="{FF836BF8-B54F-B2BD-BAAA-3FD591F0543E}"/>
          </ac:graphicFrameMkLst>
        </pc:graphicFrameChg>
        <pc:picChg chg="mod">
          <ac:chgData name="Kory Thacher (APPS / POWERSHELL)" userId="995eb0f2-f21c-467c-a947-4f8fc26d0f2e" providerId="ADAL" clId="{D6AE3920-5CE7-415D-B2E3-8920D07BE963}" dt="2022-08-29T22:41:48.144" v="1378" actId="1076"/>
          <ac:picMkLst>
            <pc:docMk/>
            <pc:sldMk cId="2671065060" sldId="339"/>
            <ac:picMk id="8" creationId="{AB0AB4EE-15C7-1088-CB6E-0E6DD0F0E41D}"/>
          </ac:picMkLst>
        </pc:picChg>
      </pc:sldChg>
      <pc:sldChg chg="addSp delSp modSp add del mod modShow">
        <pc:chgData name="Kory Thacher (APPS / POWERSHELL)" userId="995eb0f2-f21c-467c-a947-4f8fc26d0f2e" providerId="ADAL" clId="{D6AE3920-5CE7-415D-B2E3-8920D07BE963}" dt="2022-09-13T22:28:07.410" v="3214" actId="47"/>
        <pc:sldMkLst>
          <pc:docMk/>
          <pc:sldMk cId="438586771" sldId="340"/>
        </pc:sldMkLst>
        <pc:spChg chg="add del mod">
          <ac:chgData name="Kory Thacher (APPS / POWERSHELL)" userId="995eb0f2-f21c-467c-a947-4f8fc26d0f2e" providerId="ADAL" clId="{D6AE3920-5CE7-415D-B2E3-8920D07BE963}" dt="2022-08-29T22:40:19.411" v="1273" actId="478"/>
          <ac:spMkLst>
            <pc:docMk/>
            <pc:sldMk cId="438586771" sldId="340"/>
            <ac:spMk id="2" creationId="{E5C9EDC2-AA0A-4E50-B1CA-7A9DE2F8B3F1}"/>
          </ac:spMkLst>
        </pc:spChg>
        <pc:graphicFrameChg chg="del">
          <ac:chgData name="Kory Thacher (APPS / POWERSHELL)" userId="995eb0f2-f21c-467c-a947-4f8fc26d0f2e" providerId="ADAL" clId="{D6AE3920-5CE7-415D-B2E3-8920D07BE963}" dt="2022-08-29T22:39:47.451" v="1260" actId="478"/>
          <ac:graphicFrameMkLst>
            <pc:docMk/>
            <pc:sldMk cId="438586771" sldId="340"/>
            <ac:graphicFrameMk id="9" creationId="{F36AC066-55A0-40CC-AAF4-88C0BA3CA0FB}"/>
          </ac:graphicFrameMkLst>
        </pc:graphicFrameChg>
        <pc:graphicFrameChg chg="add mod">
          <ac:chgData name="Kory Thacher (APPS / POWERSHELL)" userId="995eb0f2-f21c-467c-a947-4f8fc26d0f2e" providerId="ADAL" clId="{D6AE3920-5CE7-415D-B2E3-8920D07BE963}" dt="2022-09-12T21:30:07.896" v="2675" actId="20577"/>
          <ac:graphicFrameMkLst>
            <pc:docMk/>
            <pc:sldMk cId="438586771" sldId="340"/>
            <ac:graphicFrameMk id="10" creationId="{873A7150-3CA2-F241-A933-2699CED7233B}"/>
          </ac:graphicFrameMkLst>
        </pc:graphicFrameChg>
        <pc:graphicFrameChg chg="del">
          <ac:chgData name="Kory Thacher (APPS / POWERSHELL)" userId="995eb0f2-f21c-467c-a947-4f8fc26d0f2e" providerId="ADAL" clId="{D6AE3920-5CE7-415D-B2E3-8920D07BE963}" dt="2022-08-29T22:39:42.165" v="1259" actId="478"/>
          <ac:graphicFrameMkLst>
            <pc:docMk/>
            <pc:sldMk cId="438586771" sldId="340"/>
            <ac:graphicFrameMk id="32" creationId="{8C19BFBA-5CA7-48D2-87DA-8887B57D2B56}"/>
          </ac:graphicFrameMkLst>
        </pc:graphicFrameChg>
        <pc:picChg chg="del">
          <ac:chgData name="Kory Thacher (APPS / POWERSHELL)" userId="995eb0f2-f21c-467c-a947-4f8fc26d0f2e" providerId="ADAL" clId="{D6AE3920-5CE7-415D-B2E3-8920D07BE963}" dt="2022-08-29T22:39:47.451" v="1260" actId="478"/>
          <ac:picMkLst>
            <pc:docMk/>
            <pc:sldMk cId="438586771" sldId="340"/>
            <ac:picMk id="4" creationId="{3865290E-DF30-4F6E-816A-4C7489857D3B}"/>
          </ac:picMkLst>
        </pc:picChg>
        <pc:picChg chg="del">
          <ac:chgData name="Kory Thacher (APPS / POWERSHELL)" userId="995eb0f2-f21c-467c-a947-4f8fc26d0f2e" providerId="ADAL" clId="{D6AE3920-5CE7-415D-B2E3-8920D07BE963}" dt="2022-08-29T22:39:47.451" v="1260" actId="478"/>
          <ac:picMkLst>
            <pc:docMk/>
            <pc:sldMk cId="438586771" sldId="340"/>
            <ac:picMk id="5" creationId="{F3ED68D2-59BC-48EE-9EEF-721A02AECC7F}"/>
          </ac:picMkLst>
        </pc:picChg>
        <pc:picChg chg="del">
          <ac:chgData name="Kory Thacher (APPS / POWERSHELL)" userId="995eb0f2-f21c-467c-a947-4f8fc26d0f2e" providerId="ADAL" clId="{D6AE3920-5CE7-415D-B2E3-8920D07BE963}" dt="2022-08-29T22:39:47.451" v="1260" actId="478"/>
          <ac:picMkLst>
            <pc:docMk/>
            <pc:sldMk cId="438586771" sldId="340"/>
            <ac:picMk id="6" creationId="{43E2B70A-B646-4F69-A910-1E5F5C5852D1}"/>
          </ac:picMkLst>
        </pc:picChg>
        <pc:picChg chg="del">
          <ac:chgData name="Kory Thacher (APPS / POWERSHELL)" userId="995eb0f2-f21c-467c-a947-4f8fc26d0f2e" providerId="ADAL" clId="{D6AE3920-5CE7-415D-B2E3-8920D07BE963}" dt="2022-08-29T22:39:47.451" v="1260" actId="478"/>
          <ac:picMkLst>
            <pc:docMk/>
            <pc:sldMk cId="438586771" sldId="340"/>
            <ac:picMk id="7" creationId="{FC4F4119-C076-45B2-984E-45588BE5EA9F}"/>
          </ac:picMkLst>
        </pc:picChg>
        <pc:picChg chg="del">
          <ac:chgData name="Kory Thacher (APPS / POWERSHELL)" userId="995eb0f2-f21c-467c-a947-4f8fc26d0f2e" providerId="ADAL" clId="{D6AE3920-5CE7-415D-B2E3-8920D07BE963}" dt="2022-08-29T22:39:47.451" v="1260" actId="478"/>
          <ac:picMkLst>
            <pc:docMk/>
            <pc:sldMk cId="438586771" sldId="340"/>
            <ac:picMk id="8" creationId="{901273C8-C785-497D-A0FB-FC2A412EEB2B}"/>
          </ac:picMkLst>
        </pc:picChg>
      </pc:sldChg>
      <pc:sldChg chg="modSp add del mod">
        <pc:chgData name="Kory Thacher (APPS / POWERSHELL)" userId="995eb0f2-f21c-467c-a947-4f8fc26d0f2e" providerId="ADAL" clId="{D6AE3920-5CE7-415D-B2E3-8920D07BE963}" dt="2022-08-29T22:20:50.398" v="1023" actId="47"/>
        <pc:sldMkLst>
          <pc:docMk/>
          <pc:sldMk cId="1185402073" sldId="340"/>
        </pc:sldMkLst>
        <pc:graphicFrameChg chg="mod">
          <ac:chgData name="Kory Thacher (APPS / POWERSHELL)" userId="995eb0f2-f21c-467c-a947-4f8fc26d0f2e" providerId="ADAL" clId="{D6AE3920-5CE7-415D-B2E3-8920D07BE963}" dt="2022-08-29T22:20:32.666" v="1022" actId="14100"/>
          <ac:graphicFrameMkLst>
            <pc:docMk/>
            <pc:sldMk cId="1185402073" sldId="340"/>
            <ac:graphicFrameMk id="5" creationId="{33BF0D34-CA0B-09B9-C2B1-604D778DBFF2}"/>
          </ac:graphicFrameMkLst>
        </pc:graphicFrameChg>
      </pc:sldChg>
      <pc:sldChg chg="modSp add del">
        <pc:chgData name="Kory Thacher (APPS / POWERSHELL)" userId="995eb0f2-f21c-467c-a947-4f8fc26d0f2e" providerId="ADAL" clId="{D6AE3920-5CE7-415D-B2E3-8920D07BE963}" dt="2022-08-29T22:19:55.894" v="1015" actId="47"/>
        <pc:sldMkLst>
          <pc:docMk/>
          <pc:sldMk cId="961770828" sldId="341"/>
        </pc:sldMkLst>
        <pc:graphicFrameChg chg="mod">
          <ac:chgData name="Kory Thacher (APPS / POWERSHELL)" userId="995eb0f2-f21c-467c-a947-4f8fc26d0f2e" providerId="ADAL" clId="{D6AE3920-5CE7-415D-B2E3-8920D07BE963}" dt="2022-08-29T22:19:39.376" v="1014" actId="12"/>
          <ac:graphicFrameMkLst>
            <pc:docMk/>
            <pc:sldMk cId="961770828" sldId="341"/>
            <ac:graphicFrameMk id="5" creationId="{33BF0D34-CA0B-09B9-C2B1-604D778DBFF2}"/>
          </ac:graphicFrameMkLst>
        </pc:graphicFrameChg>
      </pc:sldChg>
      <pc:sldChg chg="modSp add del">
        <pc:chgData name="Kory Thacher (APPS / POWERSHELL)" userId="995eb0f2-f21c-467c-a947-4f8fc26d0f2e" providerId="ADAL" clId="{D6AE3920-5CE7-415D-B2E3-8920D07BE963}" dt="2022-09-13T22:28:07.410" v="3214" actId="47"/>
        <pc:sldMkLst>
          <pc:docMk/>
          <pc:sldMk cId="1173654242" sldId="341"/>
        </pc:sldMkLst>
        <pc:graphicFrameChg chg="mod">
          <ac:chgData name="Kory Thacher (APPS / POWERSHELL)" userId="995eb0f2-f21c-467c-a947-4f8fc26d0f2e" providerId="ADAL" clId="{D6AE3920-5CE7-415D-B2E3-8920D07BE963}" dt="2022-09-12T21:36:41.855" v="2755"/>
          <ac:graphicFrameMkLst>
            <pc:docMk/>
            <pc:sldMk cId="1173654242" sldId="341"/>
            <ac:graphicFrameMk id="10" creationId="{873A7150-3CA2-F241-A933-2699CED7233B}"/>
          </ac:graphicFrameMkLst>
        </pc:graphicFrameChg>
      </pc:sldChg>
      <pc:sldChg chg="del mod modShow">
        <pc:chgData name="Kory Thacher (APPS / POWERSHELL)" userId="995eb0f2-f21c-467c-a947-4f8fc26d0f2e" providerId="ADAL" clId="{D6AE3920-5CE7-415D-B2E3-8920D07BE963}" dt="2022-09-08T17:31:20.973" v="1791" actId="47"/>
        <pc:sldMkLst>
          <pc:docMk/>
          <pc:sldMk cId="2612765922" sldId="342"/>
        </pc:sldMkLst>
      </pc:sldChg>
      <pc:sldChg chg="modSp add del">
        <pc:chgData name="Kory Thacher (APPS / POWERSHELL)" userId="995eb0f2-f21c-467c-a947-4f8fc26d0f2e" providerId="ADAL" clId="{D6AE3920-5CE7-415D-B2E3-8920D07BE963}" dt="2022-08-29T22:23:53.260" v="1057" actId="47"/>
        <pc:sldMkLst>
          <pc:docMk/>
          <pc:sldMk cId="2803760190" sldId="342"/>
        </pc:sldMkLst>
        <pc:graphicFrameChg chg="mod">
          <ac:chgData name="Kory Thacher (APPS / POWERSHELL)" userId="995eb0f2-f21c-467c-a947-4f8fc26d0f2e" providerId="ADAL" clId="{D6AE3920-5CE7-415D-B2E3-8920D07BE963}" dt="2022-08-29T22:16:55.378" v="1005" actId="13782"/>
          <ac:graphicFrameMkLst>
            <pc:docMk/>
            <pc:sldMk cId="2803760190" sldId="342"/>
            <ac:graphicFrameMk id="5" creationId="{33BF0D34-CA0B-09B9-C2B1-604D778DBFF2}"/>
          </ac:graphicFrameMkLst>
        </pc:graphicFrameChg>
      </pc:sldChg>
      <pc:sldChg chg="addSp modSp add del mod">
        <pc:chgData name="Kory Thacher (APPS / POWERSHELL)" userId="995eb0f2-f21c-467c-a947-4f8fc26d0f2e" providerId="ADAL" clId="{D6AE3920-5CE7-415D-B2E3-8920D07BE963}" dt="2022-08-29T22:23:41.422" v="1055" actId="47"/>
        <pc:sldMkLst>
          <pc:docMk/>
          <pc:sldMk cId="2232472387" sldId="343"/>
        </pc:sldMkLst>
        <pc:graphicFrameChg chg="mod">
          <ac:chgData name="Kory Thacher (APPS / POWERSHELL)" userId="995eb0f2-f21c-467c-a947-4f8fc26d0f2e" providerId="ADAL" clId="{D6AE3920-5CE7-415D-B2E3-8920D07BE963}" dt="2022-08-29T22:22:35.023" v="1037" actId="14100"/>
          <ac:graphicFrameMkLst>
            <pc:docMk/>
            <pc:sldMk cId="2232472387" sldId="343"/>
            <ac:graphicFrameMk id="2" creationId="{D78879B1-3866-DE7B-42F6-0AF9A9244D0A}"/>
          </ac:graphicFrameMkLst>
        </pc:graphicFrameChg>
        <pc:graphicFrameChg chg="add mod">
          <ac:chgData name="Kory Thacher (APPS / POWERSHELL)" userId="995eb0f2-f21c-467c-a947-4f8fc26d0f2e" providerId="ADAL" clId="{D6AE3920-5CE7-415D-B2E3-8920D07BE963}" dt="2022-08-29T22:23:10.839" v="1054" actId="20577"/>
          <ac:graphicFrameMkLst>
            <pc:docMk/>
            <pc:sldMk cId="2232472387" sldId="343"/>
            <ac:graphicFrameMk id="4" creationId="{562060DE-5012-0D31-2F70-26AB14891789}"/>
          </ac:graphicFrameMkLst>
        </pc:graphicFrameChg>
      </pc:sldChg>
      <pc:sldChg chg="add del">
        <pc:chgData name="Kory Thacher (APPS / POWERSHELL)" userId="995eb0f2-f21c-467c-a947-4f8fc26d0f2e" providerId="ADAL" clId="{D6AE3920-5CE7-415D-B2E3-8920D07BE963}" dt="2022-08-29T22:17:24.847" v="1007" actId="47"/>
        <pc:sldMkLst>
          <pc:docMk/>
          <pc:sldMk cId="2494564816" sldId="343"/>
        </pc:sldMkLst>
      </pc:sldChg>
      <pc:sldChg chg="modSp add del mod">
        <pc:chgData name="Kory Thacher (APPS / POWERSHELL)" userId="995eb0f2-f21c-467c-a947-4f8fc26d0f2e" providerId="ADAL" clId="{D6AE3920-5CE7-415D-B2E3-8920D07BE963}" dt="2022-08-29T23:02:22.766" v="1613" actId="47"/>
        <pc:sldMkLst>
          <pc:docMk/>
          <pc:sldMk cId="4262884422" sldId="343"/>
        </pc:sldMkLst>
        <pc:graphicFrameChg chg="mod">
          <ac:chgData name="Kory Thacher (APPS / POWERSHELL)" userId="995eb0f2-f21c-467c-a947-4f8fc26d0f2e" providerId="ADAL" clId="{D6AE3920-5CE7-415D-B2E3-8920D07BE963}" dt="2022-08-29T22:56:43.311" v="1544" actId="14100"/>
          <ac:graphicFrameMkLst>
            <pc:docMk/>
            <pc:sldMk cId="4262884422" sldId="343"/>
            <ac:graphicFrameMk id="16" creationId="{FF836BF8-B54F-B2BD-BAAA-3FD591F0543E}"/>
          </ac:graphicFrameMkLst>
        </pc:graphicFrameChg>
        <pc:picChg chg="mod">
          <ac:chgData name="Kory Thacher (APPS / POWERSHELL)" userId="995eb0f2-f21c-467c-a947-4f8fc26d0f2e" providerId="ADAL" clId="{D6AE3920-5CE7-415D-B2E3-8920D07BE963}" dt="2022-08-29T22:56:46.432" v="1546" actId="1076"/>
          <ac:picMkLst>
            <pc:docMk/>
            <pc:sldMk cId="4262884422" sldId="343"/>
            <ac:picMk id="18" creationId="{4B232547-E6E2-4324-66DD-959FCCCB2A14}"/>
          </ac:picMkLst>
        </pc:picChg>
        <pc:picChg chg="mod">
          <ac:chgData name="Kory Thacher (APPS / POWERSHELL)" userId="995eb0f2-f21c-467c-a947-4f8fc26d0f2e" providerId="ADAL" clId="{D6AE3920-5CE7-415D-B2E3-8920D07BE963}" dt="2022-08-29T22:56:49.888" v="1547" actId="1076"/>
          <ac:picMkLst>
            <pc:docMk/>
            <pc:sldMk cId="4262884422" sldId="343"/>
            <ac:picMk id="22" creationId="{98DD611D-67B6-D23B-F6A0-B580A961F663}"/>
          </ac:picMkLst>
        </pc:picChg>
      </pc:sldChg>
      <pc:sldChg chg="modSp add del mod modShow">
        <pc:chgData name="Kory Thacher (APPS / POWERSHELL)" userId="995eb0f2-f21c-467c-a947-4f8fc26d0f2e" providerId="ADAL" clId="{D6AE3920-5CE7-415D-B2E3-8920D07BE963}" dt="2022-09-08T17:31:20.973" v="1791" actId="47"/>
        <pc:sldMkLst>
          <pc:docMk/>
          <pc:sldMk cId="1134021433" sldId="344"/>
        </pc:sldMkLst>
        <pc:graphicFrameChg chg="mod modGraphic">
          <ac:chgData name="Kory Thacher (APPS / POWERSHELL)" userId="995eb0f2-f21c-467c-a947-4f8fc26d0f2e" providerId="ADAL" clId="{D6AE3920-5CE7-415D-B2E3-8920D07BE963}" dt="2022-08-29T22:59:05.788" v="1576" actId="14100"/>
          <ac:graphicFrameMkLst>
            <pc:docMk/>
            <pc:sldMk cId="1134021433" sldId="344"/>
            <ac:graphicFrameMk id="16" creationId="{FF836BF8-B54F-B2BD-BAAA-3FD591F0543E}"/>
          </ac:graphicFrameMkLst>
        </pc:graphicFrameChg>
        <pc:picChg chg="mod">
          <ac:chgData name="Kory Thacher (APPS / POWERSHELL)" userId="995eb0f2-f21c-467c-a947-4f8fc26d0f2e" providerId="ADAL" clId="{D6AE3920-5CE7-415D-B2E3-8920D07BE963}" dt="2022-08-29T22:57:44.883" v="1556" actId="1076"/>
          <ac:picMkLst>
            <pc:docMk/>
            <pc:sldMk cId="1134021433" sldId="344"/>
            <ac:picMk id="18" creationId="{4B232547-E6E2-4324-66DD-959FCCCB2A14}"/>
          </ac:picMkLst>
        </pc:picChg>
        <pc:picChg chg="mod">
          <ac:chgData name="Kory Thacher (APPS / POWERSHELL)" userId="995eb0f2-f21c-467c-a947-4f8fc26d0f2e" providerId="ADAL" clId="{D6AE3920-5CE7-415D-B2E3-8920D07BE963}" dt="2022-08-29T22:57:51.128" v="1558" actId="14100"/>
          <ac:picMkLst>
            <pc:docMk/>
            <pc:sldMk cId="1134021433" sldId="344"/>
            <ac:picMk id="22" creationId="{98DD611D-67B6-D23B-F6A0-B580A961F663}"/>
          </ac:picMkLst>
        </pc:picChg>
      </pc:sldChg>
      <pc:sldChg chg="modSp add del mod modShow">
        <pc:chgData name="Kory Thacher (APPS / POWERSHELL)" userId="995eb0f2-f21c-467c-a947-4f8fc26d0f2e" providerId="ADAL" clId="{D6AE3920-5CE7-415D-B2E3-8920D07BE963}" dt="2022-09-08T17:31:20.973" v="1791" actId="47"/>
        <pc:sldMkLst>
          <pc:docMk/>
          <pc:sldMk cId="1228198472" sldId="345"/>
        </pc:sldMkLst>
        <pc:graphicFrameChg chg="mod modGraphic">
          <ac:chgData name="Kory Thacher (APPS / POWERSHELL)" userId="995eb0f2-f21c-467c-a947-4f8fc26d0f2e" providerId="ADAL" clId="{D6AE3920-5CE7-415D-B2E3-8920D07BE963}" dt="2022-09-08T17:06:51.969" v="1695" actId="12100"/>
          <ac:graphicFrameMkLst>
            <pc:docMk/>
            <pc:sldMk cId="1228198472" sldId="345"/>
            <ac:graphicFrameMk id="16" creationId="{FF836BF8-B54F-B2BD-BAAA-3FD591F0543E}"/>
          </ac:graphicFrameMkLst>
        </pc:graphicFrameChg>
      </pc:sldChg>
      <pc:sldChg chg="modSp add del mod modShow">
        <pc:chgData name="Kory Thacher (APPS / POWERSHELL)" userId="995eb0f2-f21c-467c-a947-4f8fc26d0f2e" providerId="ADAL" clId="{D6AE3920-5CE7-415D-B2E3-8920D07BE963}" dt="2022-09-08T17:31:20.973" v="1791" actId="47"/>
        <pc:sldMkLst>
          <pc:docMk/>
          <pc:sldMk cId="3362528153" sldId="346"/>
        </pc:sldMkLst>
        <pc:graphicFrameChg chg="mod">
          <ac:chgData name="Kory Thacher (APPS / POWERSHELL)" userId="995eb0f2-f21c-467c-a947-4f8fc26d0f2e" providerId="ADAL" clId="{D6AE3920-5CE7-415D-B2E3-8920D07BE963}" dt="2022-08-29T22:59:45.176" v="1580" actId="13782"/>
          <ac:graphicFrameMkLst>
            <pc:docMk/>
            <pc:sldMk cId="3362528153" sldId="346"/>
            <ac:graphicFrameMk id="16" creationId="{FF836BF8-B54F-B2BD-BAAA-3FD591F0543E}"/>
          </ac:graphicFrameMkLst>
        </pc:graphicFrameChg>
      </pc:sldChg>
      <pc:sldChg chg="modSp add del mod modShow">
        <pc:chgData name="Kory Thacher (APPS / POWERSHELL)" userId="995eb0f2-f21c-467c-a947-4f8fc26d0f2e" providerId="ADAL" clId="{D6AE3920-5CE7-415D-B2E3-8920D07BE963}" dt="2022-09-08T17:31:20.973" v="1791" actId="47"/>
        <pc:sldMkLst>
          <pc:docMk/>
          <pc:sldMk cId="192484873" sldId="347"/>
        </pc:sldMkLst>
        <pc:graphicFrameChg chg="mod">
          <ac:chgData name="Kory Thacher (APPS / POWERSHELL)" userId="995eb0f2-f21c-467c-a947-4f8fc26d0f2e" providerId="ADAL" clId="{D6AE3920-5CE7-415D-B2E3-8920D07BE963}" dt="2022-08-29T23:00:38.277" v="1586" actId="13782"/>
          <ac:graphicFrameMkLst>
            <pc:docMk/>
            <pc:sldMk cId="192484873" sldId="347"/>
            <ac:graphicFrameMk id="16" creationId="{FF836BF8-B54F-B2BD-BAAA-3FD591F0543E}"/>
          </ac:graphicFrameMkLst>
        </pc:graphicFrameChg>
      </pc:sldChg>
      <pc:sldChg chg="addSp delSp modSp add del mod modShow">
        <pc:chgData name="Kory Thacher (APPS / POWERSHELL)" userId="995eb0f2-f21c-467c-a947-4f8fc26d0f2e" providerId="ADAL" clId="{D6AE3920-5CE7-415D-B2E3-8920D07BE963}" dt="2022-09-08T17:31:20.973" v="1791" actId="47"/>
        <pc:sldMkLst>
          <pc:docMk/>
          <pc:sldMk cId="1863212311" sldId="348"/>
        </pc:sldMkLst>
        <pc:spChg chg="add del mod">
          <ac:chgData name="Kory Thacher (APPS / POWERSHELL)" userId="995eb0f2-f21c-467c-a947-4f8fc26d0f2e" providerId="ADAL" clId="{D6AE3920-5CE7-415D-B2E3-8920D07BE963}" dt="2022-08-29T23:01:09.523" v="1592" actId="478"/>
          <ac:spMkLst>
            <pc:docMk/>
            <pc:sldMk cId="1863212311" sldId="348"/>
            <ac:spMk id="5" creationId="{4C9685E2-001E-0C12-14F5-BEB9D2DAA2D7}"/>
          </ac:spMkLst>
        </pc:spChg>
        <pc:graphicFrameChg chg="add mod">
          <ac:chgData name="Kory Thacher (APPS / POWERSHELL)" userId="995eb0f2-f21c-467c-a947-4f8fc26d0f2e" providerId="ADAL" clId="{D6AE3920-5CE7-415D-B2E3-8920D07BE963}" dt="2022-08-29T23:01:40.790" v="1607" actId="14100"/>
          <ac:graphicFrameMkLst>
            <pc:docMk/>
            <pc:sldMk cId="1863212311" sldId="348"/>
            <ac:graphicFrameMk id="2" creationId="{9B0792DF-D03E-31B5-9215-45DD8154957B}"/>
          </ac:graphicFrameMkLst>
        </pc:graphicFrameChg>
        <pc:graphicFrameChg chg="del">
          <ac:chgData name="Kory Thacher (APPS / POWERSHELL)" userId="995eb0f2-f21c-467c-a947-4f8fc26d0f2e" providerId="ADAL" clId="{D6AE3920-5CE7-415D-B2E3-8920D07BE963}" dt="2022-08-29T23:01:03.442" v="1591" actId="478"/>
          <ac:graphicFrameMkLst>
            <pc:docMk/>
            <pc:sldMk cId="1863212311" sldId="348"/>
            <ac:graphicFrameMk id="16" creationId="{FF836BF8-B54F-B2BD-BAAA-3FD591F0543E}"/>
          </ac:graphicFrameMkLst>
        </pc:graphicFrameChg>
        <pc:picChg chg="mod">
          <ac:chgData name="Kory Thacher (APPS / POWERSHELL)" userId="995eb0f2-f21c-467c-a947-4f8fc26d0f2e" providerId="ADAL" clId="{D6AE3920-5CE7-415D-B2E3-8920D07BE963}" dt="2022-08-29T23:01:49.319" v="1611" actId="1076"/>
          <ac:picMkLst>
            <pc:docMk/>
            <pc:sldMk cId="1863212311" sldId="348"/>
            <ac:picMk id="18" creationId="{4B232547-E6E2-4324-66DD-959FCCCB2A14}"/>
          </ac:picMkLst>
        </pc:picChg>
        <pc:picChg chg="mod">
          <ac:chgData name="Kory Thacher (APPS / POWERSHELL)" userId="995eb0f2-f21c-467c-a947-4f8fc26d0f2e" providerId="ADAL" clId="{D6AE3920-5CE7-415D-B2E3-8920D07BE963}" dt="2022-08-29T23:02:31.929" v="1614" actId="14100"/>
          <ac:picMkLst>
            <pc:docMk/>
            <pc:sldMk cId="1863212311" sldId="348"/>
            <ac:picMk id="22" creationId="{98DD611D-67B6-D23B-F6A0-B580A961F663}"/>
          </ac:picMkLst>
        </pc:picChg>
      </pc:sldChg>
      <pc:sldChg chg="modSp add del mod">
        <pc:chgData name="Kory Thacher (APPS / POWERSHELL)" userId="995eb0f2-f21c-467c-a947-4f8fc26d0f2e" providerId="ADAL" clId="{D6AE3920-5CE7-415D-B2E3-8920D07BE963}" dt="2022-09-08T17:12:54.186" v="1727" actId="47"/>
        <pc:sldMkLst>
          <pc:docMk/>
          <pc:sldMk cId="3379792218" sldId="349"/>
        </pc:sldMkLst>
        <pc:graphicFrameChg chg="mod">
          <ac:chgData name="Kory Thacher (APPS / POWERSHELL)" userId="995eb0f2-f21c-467c-a947-4f8fc26d0f2e" providerId="ADAL" clId="{D6AE3920-5CE7-415D-B2E3-8920D07BE963}" dt="2022-09-08T17:11:35.414" v="1726" actId="1076"/>
          <ac:graphicFrameMkLst>
            <pc:docMk/>
            <pc:sldMk cId="3379792218" sldId="349"/>
            <ac:graphicFrameMk id="16" creationId="{FF836BF8-B54F-B2BD-BAAA-3FD591F0543E}"/>
          </ac:graphicFrameMkLst>
        </pc:graphicFrameChg>
        <pc:picChg chg="mod">
          <ac:chgData name="Kory Thacher (APPS / POWERSHELL)" userId="995eb0f2-f21c-467c-a947-4f8fc26d0f2e" providerId="ADAL" clId="{D6AE3920-5CE7-415D-B2E3-8920D07BE963}" dt="2022-09-08T17:11:35.414" v="1726" actId="1076"/>
          <ac:picMkLst>
            <pc:docMk/>
            <pc:sldMk cId="3379792218" sldId="349"/>
            <ac:picMk id="18" creationId="{4B232547-E6E2-4324-66DD-959FCCCB2A14}"/>
          </ac:picMkLst>
        </pc:picChg>
        <pc:picChg chg="mod">
          <ac:chgData name="Kory Thacher (APPS / POWERSHELL)" userId="995eb0f2-f21c-467c-a947-4f8fc26d0f2e" providerId="ADAL" clId="{D6AE3920-5CE7-415D-B2E3-8920D07BE963}" dt="2022-09-08T17:11:35.414" v="1726" actId="1076"/>
          <ac:picMkLst>
            <pc:docMk/>
            <pc:sldMk cId="3379792218" sldId="349"/>
            <ac:picMk id="22" creationId="{98DD611D-67B6-D23B-F6A0-B580A961F663}"/>
          </ac:picMkLst>
        </pc:picChg>
      </pc:sldChg>
      <pc:sldChg chg="addSp delSp modSp add del mod">
        <pc:chgData name="Kory Thacher (APPS / POWERSHELL)" userId="995eb0f2-f21c-467c-a947-4f8fc26d0f2e" providerId="ADAL" clId="{D6AE3920-5CE7-415D-B2E3-8920D07BE963}" dt="2022-09-08T17:08:34.556" v="1713" actId="47"/>
        <pc:sldMkLst>
          <pc:docMk/>
          <pc:sldMk cId="4028834167" sldId="349"/>
        </pc:sldMkLst>
        <pc:spChg chg="del">
          <ac:chgData name="Kory Thacher (APPS / POWERSHELL)" userId="995eb0f2-f21c-467c-a947-4f8fc26d0f2e" providerId="ADAL" clId="{D6AE3920-5CE7-415D-B2E3-8920D07BE963}" dt="2022-09-08T17:07:47.269" v="1703" actId="478"/>
          <ac:spMkLst>
            <pc:docMk/>
            <pc:sldMk cId="4028834167" sldId="349"/>
            <ac:spMk id="3" creationId="{5405213B-1598-4D59-AF62-FA9D8114A525}"/>
          </ac:spMkLst>
        </pc:spChg>
        <pc:spChg chg="add del mod">
          <ac:chgData name="Kory Thacher (APPS / POWERSHELL)" userId="995eb0f2-f21c-467c-a947-4f8fc26d0f2e" providerId="ADAL" clId="{D6AE3920-5CE7-415D-B2E3-8920D07BE963}" dt="2022-09-08T17:07:50.344" v="1704" actId="478"/>
          <ac:spMkLst>
            <pc:docMk/>
            <pc:sldMk cId="4028834167" sldId="349"/>
            <ac:spMk id="4" creationId="{DE38D42E-BD76-42E5-EF7F-50915B2155F2}"/>
          </ac:spMkLst>
        </pc:spChg>
        <pc:graphicFrameChg chg="mod">
          <ac:chgData name="Kory Thacher (APPS / POWERSHELL)" userId="995eb0f2-f21c-467c-a947-4f8fc26d0f2e" providerId="ADAL" clId="{D6AE3920-5CE7-415D-B2E3-8920D07BE963}" dt="2022-09-08T17:08:00.752" v="1708" actId="1076"/>
          <ac:graphicFrameMkLst>
            <pc:docMk/>
            <pc:sldMk cId="4028834167" sldId="349"/>
            <ac:graphicFrameMk id="16" creationId="{FF836BF8-B54F-B2BD-BAAA-3FD591F0543E}"/>
          </ac:graphicFrameMkLst>
        </pc:graphicFrameChg>
        <pc:picChg chg="mod">
          <ac:chgData name="Kory Thacher (APPS / POWERSHELL)" userId="995eb0f2-f21c-467c-a947-4f8fc26d0f2e" providerId="ADAL" clId="{D6AE3920-5CE7-415D-B2E3-8920D07BE963}" dt="2022-09-08T17:07:53.543" v="1706" actId="14100"/>
          <ac:picMkLst>
            <pc:docMk/>
            <pc:sldMk cId="4028834167" sldId="349"/>
            <ac:picMk id="18" creationId="{4B232547-E6E2-4324-66DD-959FCCCB2A14}"/>
          </ac:picMkLst>
        </pc:picChg>
        <pc:picChg chg="mod">
          <ac:chgData name="Kory Thacher (APPS / POWERSHELL)" userId="995eb0f2-f21c-467c-a947-4f8fc26d0f2e" providerId="ADAL" clId="{D6AE3920-5CE7-415D-B2E3-8920D07BE963}" dt="2022-09-08T17:08:31.674" v="1712" actId="14100"/>
          <ac:picMkLst>
            <pc:docMk/>
            <pc:sldMk cId="4028834167" sldId="349"/>
            <ac:picMk id="22" creationId="{98DD611D-67B6-D23B-F6A0-B580A961F663}"/>
          </ac:picMkLst>
        </pc:picChg>
      </pc:sldChg>
      <pc:sldChg chg="addSp delSp modSp add mod">
        <pc:chgData name="Kory Thacher (APPS / POWERSHELL)" userId="995eb0f2-f21c-467c-a947-4f8fc26d0f2e" providerId="ADAL" clId="{D6AE3920-5CE7-415D-B2E3-8920D07BE963}" dt="2022-09-08T17:29:49.385" v="1790" actId="14100"/>
        <pc:sldMkLst>
          <pc:docMk/>
          <pc:sldMk cId="278370411" sldId="351"/>
        </pc:sldMkLst>
        <pc:graphicFrameChg chg="mod modGraphic">
          <ac:chgData name="Kory Thacher (APPS / POWERSHELL)" userId="995eb0f2-f21c-467c-a947-4f8fc26d0f2e" providerId="ADAL" clId="{D6AE3920-5CE7-415D-B2E3-8920D07BE963}" dt="2022-09-08T17:29:49.385" v="1790" actId="14100"/>
          <ac:graphicFrameMkLst>
            <pc:docMk/>
            <pc:sldMk cId="278370411" sldId="351"/>
            <ac:graphicFrameMk id="16" creationId="{FF836BF8-B54F-B2BD-BAAA-3FD591F0543E}"/>
          </ac:graphicFrameMkLst>
        </pc:graphicFrameChg>
        <pc:picChg chg="mod">
          <ac:chgData name="Kory Thacher (APPS / POWERSHELL)" userId="995eb0f2-f21c-467c-a947-4f8fc26d0f2e" providerId="ADAL" clId="{D6AE3920-5CE7-415D-B2E3-8920D07BE963}" dt="2022-09-08T17:20:11.673" v="1778" actId="1076"/>
          <ac:picMkLst>
            <pc:docMk/>
            <pc:sldMk cId="278370411" sldId="351"/>
            <ac:picMk id="18" creationId="{4B232547-E6E2-4324-66DD-959FCCCB2A14}"/>
          </ac:picMkLst>
        </pc:picChg>
        <pc:picChg chg="mod modCrop">
          <ac:chgData name="Kory Thacher (APPS / POWERSHELL)" userId="995eb0f2-f21c-467c-a947-4f8fc26d0f2e" providerId="ADAL" clId="{D6AE3920-5CE7-415D-B2E3-8920D07BE963}" dt="2022-09-08T17:20:14.611" v="1779" actId="14100"/>
          <ac:picMkLst>
            <pc:docMk/>
            <pc:sldMk cId="278370411" sldId="351"/>
            <ac:picMk id="22" creationId="{98DD611D-67B6-D23B-F6A0-B580A961F663}"/>
          </ac:picMkLst>
        </pc:picChg>
        <pc:picChg chg="add del mod">
          <ac:chgData name="Kory Thacher (APPS / POWERSHELL)" userId="995eb0f2-f21c-467c-a947-4f8fc26d0f2e" providerId="ADAL" clId="{D6AE3920-5CE7-415D-B2E3-8920D07BE963}" dt="2022-09-08T17:15:15.184" v="1747" actId="478"/>
          <ac:picMkLst>
            <pc:docMk/>
            <pc:sldMk cId="278370411" sldId="351"/>
            <ac:picMk id="118786" creationId="{764E7256-825E-C25B-4F04-53F2C65E4C59}"/>
          </ac:picMkLst>
        </pc:picChg>
        <pc:picChg chg="add del mod">
          <ac:chgData name="Kory Thacher (APPS / POWERSHELL)" userId="995eb0f2-f21c-467c-a947-4f8fc26d0f2e" providerId="ADAL" clId="{D6AE3920-5CE7-415D-B2E3-8920D07BE963}" dt="2022-09-08T17:15:37.337" v="1749" actId="478"/>
          <ac:picMkLst>
            <pc:docMk/>
            <pc:sldMk cId="278370411" sldId="351"/>
            <ac:picMk id="118788" creationId="{6B423ABC-06F9-F69B-B89D-04CE2018E85E}"/>
          </ac:picMkLst>
        </pc:picChg>
        <pc:picChg chg="add mod">
          <ac:chgData name="Kory Thacher (APPS / POWERSHELL)" userId="995eb0f2-f21c-467c-a947-4f8fc26d0f2e" providerId="ADAL" clId="{D6AE3920-5CE7-415D-B2E3-8920D07BE963}" dt="2022-09-08T17:17:31.273" v="1775" actId="1076"/>
          <ac:picMkLst>
            <pc:docMk/>
            <pc:sldMk cId="278370411" sldId="351"/>
            <ac:picMk id="118790" creationId="{B25F607A-94C1-0DA5-92B0-856BF30C8E0F}"/>
          </ac:picMkLst>
        </pc:picChg>
      </pc:sldChg>
      <pc:sldChg chg="modSp add del mod">
        <pc:chgData name="Kory Thacher (APPS / POWERSHELL)" userId="995eb0f2-f21c-467c-a947-4f8fc26d0f2e" providerId="ADAL" clId="{D6AE3920-5CE7-415D-B2E3-8920D07BE963}" dt="2022-09-08T17:13:42.804" v="1735" actId="47"/>
        <pc:sldMkLst>
          <pc:docMk/>
          <pc:sldMk cId="3665906199" sldId="351"/>
        </pc:sldMkLst>
        <pc:graphicFrameChg chg="mod">
          <ac:chgData name="Kory Thacher (APPS / POWERSHELL)" userId="995eb0f2-f21c-467c-a947-4f8fc26d0f2e" providerId="ADAL" clId="{D6AE3920-5CE7-415D-B2E3-8920D07BE963}" dt="2022-09-08T17:13:39.526" v="1734" actId="1076"/>
          <ac:graphicFrameMkLst>
            <pc:docMk/>
            <pc:sldMk cId="3665906199" sldId="351"/>
            <ac:graphicFrameMk id="16" creationId="{FF836BF8-B54F-B2BD-BAAA-3FD591F0543E}"/>
          </ac:graphicFrameMkLst>
        </pc:graphicFrameChg>
        <pc:picChg chg="mod modCrop">
          <ac:chgData name="Kory Thacher (APPS / POWERSHELL)" userId="995eb0f2-f21c-467c-a947-4f8fc26d0f2e" providerId="ADAL" clId="{D6AE3920-5CE7-415D-B2E3-8920D07BE963}" dt="2022-09-08T17:13:33.249" v="1733" actId="14100"/>
          <ac:picMkLst>
            <pc:docMk/>
            <pc:sldMk cId="3665906199" sldId="351"/>
            <ac:picMk id="22" creationId="{98DD611D-67B6-D23B-F6A0-B580A961F663}"/>
          </ac:picMkLst>
        </pc:picChg>
      </pc:sldChg>
      <pc:sldChg chg="del">
        <pc:chgData name="Kory Thacher (APPS / POWERSHELL)" userId="995eb0f2-f21c-467c-a947-4f8fc26d0f2e" providerId="ADAL" clId="{D6AE3920-5CE7-415D-B2E3-8920D07BE963}" dt="2022-09-08T17:31:20.973" v="1791" actId="47"/>
        <pc:sldMkLst>
          <pc:docMk/>
          <pc:sldMk cId="2659430560" sldId="352"/>
        </pc:sldMkLst>
      </pc:sldChg>
      <pc:sldChg chg="addSp delSp modSp add del mod">
        <pc:chgData name="Kory Thacher (APPS / POWERSHELL)" userId="995eb0f2-f21c-467c-a947-4f8fc26d0f2e" providerId="ADAL" clId="{D6AE3920-5CE7-415D-B2E3-8920D07BE963}" dt="2022-09-08T17:31:20.973" v="1791" actId="47"/>
        <pc:sldMkLst>
          <pc:docMk/>
          <pc:sldMk cId="690764133" sldId="353"/>
        </pc:sldMkLst>
        <pc:picChg chg="add mod">
          <ac:chgData name="Kory Thacher (APPS / POWERSHELL)" userId="995eb0f2-f21c-467c-a947-4f8fc26d0f2e" providerId="ADAL" clId="{D6AE3920-5CE7-415D-B2E3-8920D07BE963}" dt="2022-09-08T17:25:25.964" v="1783" actId="1076"/>
          <ac:picMkLst>
            <pc:docMk/>
            <pc:sldMk cId="690764133" sldId="353"/>
            <ac:picMk id="2" creationId="{18B872B9-2719-03DB-7314-A319C002396B}"/>
          </ac:picMkLst>
        </pc:picChg>
        <pc:picChg chg="add mod">
          <ac:chgData name="Kory Thacher (APPS / POWERSHELL)" userId="995eb0f2-f21c-467c-a947-4f8fc26d0f2e" providerId="ADAL" clId="{D6AE3920-5CE7-415D-B2E3-8920D07BE963}" dt="2022-09-08T17:25:42.223" v="1788" actId="1076"/>
          <ac:picMkLst>
            <pc:docMk/>
            <pc:sldMk cId="690764133" sldId="353"/>
            <ac:picMk id="4" creationId="{22490FCA-A953-B8BC-0D3C-DEADA62C9777}"/>
          </ac:picMkLst>
        </pc:picChg>
        <pc:picChg chg="del">
          <ac:chgData name="Kory Thacher (APPS / POWERSHELL)" userId="995eb0f2-f21c-467c-a947-4f8fc26d0f2e" providerId="ADAL" clId="{D6AE3920-5CE7-415D-B2E3-8920D07BE963}" dt="2022-09-08T17:25:34.242" v="1785" actId="478"/>
          <ac:picMkLst>
            <pc:docMk/>
            <pc:sldMk cId="690764133" sldId="353"/>
            <ac:picMk id="18" creationId="{4B232547-E6E2-4324-66DD-959FCCCB2A14}"/>
          </ac:picMkLst>
        </pc:picChg>
        <pc:picChg chg="del">
          <ac:chgData name="Kory Thacher (APPS / POWERSHELL)" userId="995eb0f2-f21c-467c-a947-4f8fc26d0f2e" providerId="ADAL" clId="{D6AE3920-5CE7-415D-B2E3-8920D07BE963}" dt="2022-09-08T17:25:23.138" v="1782" actId="478"/>
          <ac:picMkLst>
            <pc:docMk/>
            <pc:sldMk cId="690764133" sldId="353"/>
            <ac:picMk id="22" creationId="{98DD611D-67B6-D23B-F6A0-B580A961F663}"/>
          </ac:picMkLst>
        </pc:picChg>
      </pc:sldChg>
      <pc:sldChg chg="del">
        <pc:chgData name="Kory Thacher (APPS / POWERSHELL)" userId="995eb0f2-f21c-467c-a947-4f8fc26d0f2e" providerId="ADAL" clId="{D6AE3920-5CE7-415D-B2E3-8920D07BE963}" dt="2022-09-08T18:30:51.602" v="2260" actId="47"/>
        <pc:sldMkLst>
          <pc:docMk/>
          <pc:sldMk cId="1421064815" sldId="353"/>
        </pc:sldMkLst>
      </pc:sldChg>
      <pc:sldChg chg="del">
        <pc:chgData name="Kory Thacher (APPS / POWERSHELL)" userId="995eb0f2-f21c-467c-a947-4f8fc26d0f2e" providerId="ADAL" clId="{D6AE3920-5CE7-415D-B2E3-8920D07BE963}" dt="2022-09-08T18:30:51.602" v="2260" actId="47"/>
        <pc:sldMkLst>
          <pc:docMk/>
          <pc:sldMk cId="1693141952" sldId="354"/>
        </pc:sldMkLst>
      </pc:sldChg>
      <pc:sldChg chg="modSp add del mod">
        <pc:chgData name="Kory Thacher (APPS / POWERSHELL)" userId="995eb0f2-f21c-467c-a947-4f8fc26d0f2e" providerId="ADAL" clId="{D6AE3920-5CE7-415D-B2E3-8920D07BE963}" dt="2022-09-08T17:55:39.972" v="1801" actId="47"/>
        <pc:sldMkLst>
          <pc:docMk/>
          <pc:sldMk cId="1035763509" sldId="355"/>
        </pc:sldMkLst>
        <pc:spChg chg="mod">
          <ac:chgData name="Kory Thacher (APPS / POWERSHELL)" userId="995eb0f2-f21c-467c-a947-4f8fc26d0f2e" providerId="ADAL" clId="{D6AE3920-5CE7-415D-B2E3-8920D07BE963}" dt="2022-09-08T17:55:31.815" v="1800" actId="15"/>
          <ac:spMkLst>
            <pc:docMk/>
            <pc:sldMk cId="1035763509" sldId="355"/>
            <ac:spMk id="2" creationId="{FEB8E374-6BA3-401E-B7D7-83B29886091D}"/>
          </ac:spMkLst>
        </pc:spChg>
      </pc:sldChg>
      <pc:sldChg chg="add del mod ord modShow">
        <pc:chgData name="Kory Thacher (APPS / POWERSHELL)" userId="995eb0f2-f21c-467c-a947-4f8fc26d0f2e" providerId="ADAL" clId="{D6AE3920-5CE7-415D-B2E3-8920D07BE963}" dt="2022-09-08T18:31:15.129" v="2263" actId="47"/>
        <pc:sldMkLst>
          <pc:docMk/>
          <pc:sldMk cId="2360009846" sldId="355"/>
        </pc:sldMkLst>
      </pc:sldChg>
      <pc:sldChg chg="addSp delSp modSp add mod ord modAnim modShow addCm modCm">
        <pc:chgData name="Kory Thacher (APPS / POWERSHELL)" userId="995eb0f2-f21c-467c-a947-4f8fc26d0f2e" providerId="ADAL" clId="{D6AE3920-5CE7-415D-B2E3-8920D07BE963}" dt="2022-09-08T18:24:38.621" v="2259"/>
        <pc:sldMkLst>
          <pc:docMk/>
          <pc:sldMk cId="226636752" sldId="356"/>
        </pc:sldMkLst>
        <pc:spChg chg="del mod">
          <ac:chgData name="Kory Thacher (APPS / POWERSHELL)" userId="995eb0f2-f21c-467c-a947-4f8fc26d0f2e" providerId="ADAL" clId="{D6AE3920-5CE7-415D-B2E3-8920D07BE963}" dt="2022-09-08T17:57:34.093" v="2054" actId="12084"/>
          <ac:spMkLst>
            <pc:docMk/>
            <pc:sldMk cId="226636752" sldId="356"/>
            <ac:spMk id="2" creationId="{FEB8E374-6BA3-401E-B7D7-83B29886091D}"/>
          </ac:spMkLst>
        </pc:spChg>
        <pc:spChg chg="add mod">
          <ac:chgData name="Kory Thacher (APPS / POWERSHELL)" userId="995eb0f2-f21c-467c-a947-4f8fc26d0f2e" providerId="ADAL" clId="{D6AE3920-5CE7-415D-B2E3-8920D07BE963}" dt="2022-09-08T18:00:42.854" v="2098" actId="207"/>
          <ac:spMkLst>
            <pc:docMk/>
            <pc:sldMk cId="226636752" sldId="356"/>
            <ac:spMk id="5" creationId="{FD7354B6-3906-3D80-F86C-D564C25C41A1}"/>
          </ac:spMkLst>
        </pc:spChg>
        <pc:spChg chg="add mod">
          <ac:chgData name="Kory Thacher (APPS / POWERSHELL)" userId="995eb0f2-f21c-467c-a947-4f8fc26d0f2e" providerId="ADAL" clId="{D6AE3920-5CE7-415D-B2E3-8920D07BE963}" dt="2022-09-08T18:00:48.470" v="2100" actId="207"/>
          <ac:spMkLst>
            <pc:docMk/>
            <pc:sldMk cId="226636752" sldId="356"/>
            <ac:spMk id="6" creationId="{4E4B5C31-5231-5A77-5FAB-FA1764835E24}"/>
          </ac:spMkLst>
        </pc:spChg>
        <pc:spChg chg="add mod">
          <ac:chgData name="Kory Thacher (APPS / POWERSHELL)" userId="995eb0f2-f21c-467c-a947-4f8fc26d0f2e" providerId="ADAL" clId="{D6AE3920-5CE7-415D-B2E3-8920D07BE963}" dt="2022-09-08T18:16:02.354" v="2149" actId="1076"/>
          <ac:spMkLst>
            <pc:docMk/>
            <pc:sldMk cId="226636752" sldId="356"/>
            <ac:spMk id="7" creationId="{ACA7D85E-CC97-CCBD-8508-96C031FB2257}"/>
          </ac:spMkLst>
        </pc:spChg>
        <pc:spChg chg="add mod">
          <ac:chgData name="Kory Thacher (APPS / POWERSHELL)" userId="995eb0f2-f21c-467c-a947-4f8fc26d0f2e" providerId="ADAL" clId="{D6AE3920-5CE7-415D-B2E3-8920D07BE963}" dt="2022-09-08T18:00:22.190" v="2095" actId="207"/>
          <ac:spMkLst>
            <pc:docMk/>
            <pc:sldMk cId="226636752" sldId="356"/>
            <ac:spMk id="9" creationId="{4EFFF632-5D46-2410-0CC6-3229D09ADBEF}"/>
          </ac:spMkLst>
        </pc:spChg>
        <pc:graphicFrameChg chg="add mod modGraphic">
          <ac:chgData name="Kory Thacher (APPS / POWERSHELL)" userId="995eb0f2-f21c-467c-a947-4f8fc26d0f2e" providerId="ADAL" clId="{D6AE3920-5CE7-415D-B2E3-8920D07BE963}" dt="2022-09-08T18:24:38.621" v="2259"/>
          <ac:graphicFrameMkLst>
            <pc:docMk/>
            <pc:sldMk cId="226636752" sldId="356"/>
            <ac:graphicFrameMk id="4" creationId="{A730E632-3DA9-0870-073A-5157F4271EFC}"/>
          </ac:graphicFrameMkLst>
        </pc:graphicFrameChg>
      </pc:sldChg>
      <pc:sldChg chg="delSp add del mod delAnim">
        <pc:chgData name="Kory Thacher (APPS / POWERSHELL)" userId="995eb0f2-f21c-467c-a947-4f8fc26d0f2e" providerId="ADAL" clId="{D6AE3920-5CE7-415D-B2E3-8920D07BE963}" dt="2022-09-08T18:30:51.602" v="2260" actId="47"/>
        <pc:sldMkLst>
          <pc:docMk/>
          <pc:sldMk cId="3056999160" sldId="357"/>
        </pc:sldMkLst>
        <pc:spChg chg="del">
          <ac:chgData name="Kory Thacher (APPS / POWERSHELL)" userId="995eb0f2-f21c-467c-a947-4f8fc26d0f2e" providerId="ADAL" clId="{D6AE3920-5CE7-415D-B2E3-8920D07BE963}" dt="2022-09-08T18:01:46.507" v="2105" actId="478"/>
          <ac:spMkLst>
            <pc:docMk/>
            <pc:sldMk cId="3056999160" sldId="357"/>
            <ac:spMk id="5" creationId="{FD7354B6-3906-3D80-F86C-D564C25C41A1}"/>
          </ac:spMkLst>
        </pc:spChg>
        <pc:spChg chg="del">
          <ac:chgData name="Kory Thacher (APPS / POWERSHELL)" userId="995eb0f2-f21c-467c-a947-4f8fc26d0f2e" providerId="ADAL" clId="{D6AE3920-5CE7-415D-B2E3-8920D07BE963}" dt="2022-09-08T18:01:48.648" v="2107" actId="478"/>
          <ac:spMkLst>
            <pc:docMk/>
            <pc:sldMk cId="3056999160" sldId="357"/>
            <ac:spMk id="6" creationId="{4E4B5C31-5231-5A77-5FAB-FA1764835E24}"/>
          </ac:spMkLst>
        </pc:spChg>
        <pc:spChg chg="del">
          <ac:chgData name="Kory Thacher (APPS / POWERSHELL)" userId="995eb0f2-f21c-467c-a947-4f8fc26d0f2e" providerId="ADAL" clId="{D6AE3920-5CE7-415D-B2E3-8920D07BE963}" dt="2022-09-08T18:01:49.320" v="2108" actId="478"/>
          <ac:spMkLst>
            <pc:docMk/>
            <pc:sldMk cId="3056999160" sldId="357"/>
            <ac:spMk id="7" creationId="{ACA7D85E-CC97-CCBD-8508-96C031FB2257}"/>
          </ac:spMkLst>
        </pc:spChg>
        <pc:spChg chg="del">
          <ac:chgData name="Kory Thacher (APPS / POWERSHELL)" userId="995eb0f2-f21c-467c-a947-4f8fc26d0f2e" providerId="ADAL" clId="{D6AE3920-5CE7-415D-B2E3-8920D07BE963}" dt="2022-09-08T18:01:47.265" v="2106" actId="478"/>
          <ac:spMkLst>
            <pc:docMk/>
            <pc:sldMk cId="3056999160" sldId="357"/>
            <ac:spMk id="9" creationId="{4EFFF632-5D46-2410-0CC6-3229D09ADBEF}"/>
          </ac:spMkLst>
        </pc:spChg>
      </pc:sldChg>
      <pc:sldChg chg="modSp add del mod">
        <pc:chgData name="Kory Thacher (APPS / POWERSHELL)" userId="995eb0f2-f21c-467c-a947-4f8fc26d0f2e" providerId="ADAL" clId="{D6AE3920-5CE7-415D-B2E3-8920D07BE963}" dt="2022-09-08T18:06:53.368" v="2133" actId="47"/>
        <pc:sldMkLst>
          <pc:docMk/>
          <pc:sldMk cId="592676044" sldId="358"/>
        </pc:sldMkLst>
        <pc:spChg chg="mod">
          <ac:chgData name="Kory Thacher (APPS / POWERSHELL)" userId="995eb0f2-f21c-467c-a947-4f8fc26d0f2e" providerId="ADAL" clId="{D6AE3920-5CE7-415D-B2E3-8920D07BE963}" dt="2022-09-08T18:03:37.787" v="2119" actId="14100"/>
          <ac:spMkLst>
            <pc:docMk/>
            <pc:sldMk cId="592676044" sldId="358"/>
            <ac:spMk id="5" creationId="{FD7354B6-3906-3D80-F86C-D564C25C41A1}"/>
          </ac:spMkLst>
        </pc:spChg>
        <pc:spChg chg="mod">
          <ac:chgData name="Kory Thacher (APPS / POWERSHELL)" userId="995eb0f2-f21c-467c-a947-4f8fc26d0f2e" providerId="ADAL" clId="{D6AE3920-5CE7-415D-B2E3-8920D07BE963}" dt="2022-09-08T18:03:54.266" v="2122" actId="1076"/>
          <ac:spMkLst>
            <pc:docMk/>
            <pc:sldMk cId="592676044" sldId="358"/>
            <ac:spMk id="6" creationId="{4E4B5C31-5231-5A77-5FAB-FA1764835E24}"/>
          </ac:spMkLst>
        </pc:spChg>
        <pc:spChg chg="mod">
          <ac:chgData name="Kory Thacher (APPS / POWERSHELL)" userId="995eb0f2-f21c-467c-a947-4f8fc26d0f2e" providerId="ADAL" clId="{D6AE3920-5CE7-415D-B2E3-8920D07BE963}" dt="2022-09-08T18:03:30.584" v="2118" actId="1582"/>
          <ac:spMkLst>
            <pc:docMk/>
            <pc:sldMk cId="592676044" sldId="358"/>
            <ac:spMk id="7" creationId="{ACA7D85E-CC97-CCBD-8508-96C031FB2257}"/>
          </ac:spMkLst>
        </pc:spChg>
        <pc:spChg chg="mod">
          <ac:chgData name="Kory Thacher (APPS / POWERSHELL)" userId="995eb0f2-f21c-467c-a947-4f8fc26d0f2e" providerId="ADAL" clId="{D6AE3920-5CE7-415D-B2E3-8920D07BE963}" dt="2022-09-08T18:03:22.138" v="2116" actId="14100"/>
          <ac:spMkLst>
            <pc:docMk/>
            <pc:sldMk cId="592676044" sldId="358"/>
            <ac:spMk id="9" creationId="{4EFFF632-5D46-2410-0CC6-3229D09ADBEF}"/>
          </ac:spMkLst>
        </pc:spChg>
      </pc:sldChg>
      <pc:sldChg chg="modSp add mod ord modShow addCm modCm">
        <pc:chgData name="Kory Thacher (APPS / POWERSHELL)" userId="995eb0f2-f21c-467c-a947-4f8fc26d0f2e" providerId="ADAL" clId="{D6AE3920-5CE7-415D-B2E3-8920D07BE963}" dt="2022-09-08T18:24:27.966" v="2256"/>
        <pc:sldMkLst>
          <pc:docMk/>
          <pc:sldMk cId="2220934050" sldId="359"/>
        </pc:sldMkLst>
        <pc:spChg chg="mod">
          <ac:chgData name="Kory Thacher (APPS / POWERSHELL)" userId="995eb0f2-f21c-467c-a947-4f8fc26d0f2e" providerId="ADAL" clId="{D6AE3920-5CE7-415D-B2E3-8920D07BE963}" dt="2022-09-08T18:04:22.438" v="2125" actId="207"/>
          <ac:spMkLst>
            <pc:docMk/>
            <pc:sldMk cId="2220934050" sldId="359"/>
            <ac:spMk id="5" creationId="{FD7354B6-3906-3D80-F86C-D564C25C41A1}"/>
          </ac:spMkLst>
        </pc:spChg>
        <pc:spChg chg="mod">
          <ac:chgData name="Kory Thacher (APPS / POWERSHELL)" userId="995eb0f2-f21c-467c-a947-4f8fc26d0f2e" providerId="ADAL" clId="{D6AE3920-5CE7-415D-B2E3-8920D07BE963}" dt="2022-09-08T18:04:30.177" v="2127" actId="207"/>
          <ac:spMkLst>
            <pc:docMk/>
            <pc:sldMk cId="2220934050" sldId="359"/>
            <ac:spMk id="6" creationId="{4E4B5C31-5231-5A77-5FAB-FA1764835E24}"/>
          </ac:spMkLst>
        </pc:spChg>
        <pc:spChg chg="mod">
          <ac:chgData name="Kory Thacher (APPS / POWERSHELL)" userId="995eb0f2-f21c-467c-a947-4f8fc26d0f2e" providerId="ADAL" clId="{D6AE3920-5CE7-415D-B2E3-8920D07BE963}" dt="2022-09-08T18:05:18.617" v="2129" actId="208"/>
          <ac:spMkLst>
            <pc:docMk/>
            <pc:sldMk cId="2220934050" sldId="359"/>
            <ac:spMk id="7" creationId="{ACA7D85E-CC97-CCBD-8508-96C031FB2257}"/>
          </ac:spMkLst>
        </pc:spChg>
        <pc:spChg chg="mod">
          <ac:chgData name="Kory Thacher (APPS / POWERSHELL)" userId="995eb0f2-f21c-467c-a947-4f8fc26d0f2e" providerId="ADAL" clId="{D6AE3920-5CE7-415D-B2E3-8920D07BE963}" dt="2022-09-08T18:04:19.559" v="2124" actId="207"/>
          <ac:spMkLst>
            <pc:docMk/>
            <pc:sldMk cId="2220934050" sldId="359"/>
            <ac:spMk id="9" creationId="{4EFFF632-5D46-2410-0CC6-3229D09ADBEF}"/>
          </ac:spMkLst>
        </pc:spChg>
        <pc:graphicFrameChg chg="mod modGraphic">
          <ac:chgData name="Kory Thacher (APPS / POWERSHELL)" userId="995eb0f2-f21c-467c-a947-4f8fc26d0f2e" providerId="ADAL" clId="{D6AE3920-5CE7-415D-B2E3-8920D07BE963}" dt="2022-09-08T18:24:27.966" v="2256"/>
          <ac:graphicFrameMkLst>
            <pc:docMk/>
            <pc:sldMk cId="2220934050" sldId="359"/>
            <ac:graphicFrameMk id="4" creationId="{A730E632-3DA9-0870-073A-5157F4271EFC}"/>
          </ac:graphicFrameMkLst>
        </pc:graphicFrameChg>
      </pc:sldChg>
      <pc:sldChg chg="modSp add del mod ord addCm modCm">
        <pc:chgData name="Kory Thacher (APPS / POWERSHELL)" userId="995eb0f2-f21c-467c-a947-4f8fc26d0f2e" providerId="ADAL" clId="{D6AE3920-5CE7-415D-B2E3-8920D07BE963}" dt="2022-09-08T18:24:11.513" v="2251" actId="47"/>
        <pc:sldMkLst>
          <pc:docMk/>
          <pc:sldMk cId="1941619545" sldId="360"/>
        </pc:sldMkLst>
        <pc:spChg chg="mod">
          <ac:chgData name="Kory Thacher (APPS / POWERSHELL)" userId="995eb0f2-f21c-467c-a947-4f8fc26d0f2e" providerId="ADAL" clId="{D6AE3920-5CE7-415D-B2E3-8920D07BE963}" dt="2022-09-08T18:09:24.458" v="2146" actId="1582"/>
          <ac:spMkLst>
            <pc:docMk/>
            <pc:sldMk cId="1941619545" sldId="360"/>
            <ac:spMk id="5" creationId="{FD7354B6-3906-3D80-F86C-D564C25C41A1}"/>
          </ac:spMkLst>
        </pc:spChg>
        <pc:spChg chg="mod">
          <ac:chgData name="Kory Thacher (APPS / POWERSHELL)" userId="995eb0f2-f21c-467c-a947-4f8fc26d0f2e" providerId="ADAL" clId="{D6AE3920-5CE7-415D-B2E3-8920D07BE963}" dt="2022-09-08T18:09:24.458" v="2146" actId="1582"/>
          <ac:spMkLst>
            <pc:docMk/>
            <pc:sldMk cId="1941619545" sldId="360"/>
            <ac:spMk id="6" creationId="{4E4B5C31-5231-5A77-5FAB-FA1764835E24}"/>
          </ac:spMkLst>
        </pc:spChg>
        <pc:spChg chg="mod">
          <ac:chgData name="Kory Thacher (APPS / POWERSHELL)" userId="995eb0f2-f21c-467c-a947-4f8fc26d0f2e" providerId="ADAL" clId="{D6AE3920-5CE7-415D-B2E3-8920D07BE963}" dt="2022-09-08T18:09:24.458" v="2146" actId="1582"/>
          <ac:spMkLst>
            <pc:docMk/>
            <pc:sldMk cId="1941619545" sldId="360"/>
            <ac:spMk id="7" creationId="{ACA7D85E-CC97-CCBD-8508-96C031FB2257}"/>
          </ac:spMkLst>
        </pc:spChg>
        <pc:spChg chg="mod">
          <ac:chgData name="Kory Thacher (APPS / POWERSHELL)" userId="995eb0f2-f21c-467c-a947-4f8fc26d0f2e" providerId="ADAL" clId="{D6AE3920-5CE7-415D-B2E3-8920D07BE963}" dt="2022-09-08T18:09:24.458" v="2146" actId="1582"/>
          <ac:spMkLst>
            <pc:docMk/>
            <pc:sldMk cId="1941619545" sldId="360"/>
            <ac:spMk id="9" creationId="{4EFFF632-5D46-2410-0CC6-3229D09ADBEF}"/>
          </ac:spMkLst>
        </pc:spChg>
      </pc:sldChg>
      <pc:sldChg chg="modSp add">
        <pc:chgData name="Kory Thacher (APPS / POWERSHELL)" userId="995eb0f2-f21c-467c-a947-4f8fc26d0f2e" providerId="ADAL" clId="{D6AE3920-5CE7-415D-B2E3-8920D07BE963}" dt="2022-09-08T18:23:45.122" v="2250" actId="20577"/>
        <pc:sldMkLst>
          <pc:docMk/>
          <pc:sldMk cId="1128012927" sldId="361"/>
        </pc:sldMkLst>
        <pc:graphicFrameChg chg="mod">
          <ac:chgData name="Kory Thacher (APPS / POWERSHELL)" userId="995eb0f2-f21c-467c-a947-4f8fc26d0f2e" providerId="ADAL" clId="{D6AE3920-5CE7-415D-B2E3-8920D07BE963}" dt="2022-09-08T18:23:45.122" v="2250" actId="20577"/>
          <ac:graphicFrameMkLst>
            <pc:docMk/>
            <pc:sldMk cId="1128012927" sldId="361"/>
            <ac:graphicFrameMk id="4" creationId="{A730E632-3DA9-0870-073A-5157F4271EFC}"/>
          </ac:graphicFrameMkLst>
        </pc:graphicFrameChg>
      </pc:sldChg>
      <pc:sldChg chg="modSp add del mod setBg modShow modNotesTx">
        <pc:chgData name="Kory Thacher (APPS / POWERSHELL)" userId="995eb0f2-f21c-467c-a947-4f8fc26d0f2e" providerId="ADAL" clId="{D6AE3920-5CE7-415D-B2E3-8920D07BE963}" dt="2022-09-12T21:07:51.047" v="2623" actId="47"/>
        <pc:sldMkLst>
          <pc:docMk/>
          <pc:sldMk cId="2802056876" sldId="362"/>
        </pc:sldMkLst>
        <pc:spChg chg="mod">
          <ac:chgData name="Kory Thacher (APPS / POWERSHELL)" userId="995eb0f2-f21c-467c-a947-4f8fc26d0f2e" providerId="ADAL" clId="{D6AE3920-5CE7-415D-B2E3-8920D07BE963}" dt="2022-09-08T18:53:17.051" v="2577" actId="20577"/>
          <ac:spMkLst>
            <pc:docMk/>
            <pc:sldMk cId="2802056876" sldId="362"/>
            <ac:spMk id="2" creationId="{B084D8B2-652C-4468-AAAB-C4E446740847}"/>
          </ac:spMkLst>
        </pc:spChg>
        <pc:picChg chg="mod">
          <ac:chgData name="Kory Thacher (APPS / POWERSHELL)" userId="995eb0f2-f21c-467c-a947-4f8fc26d0f2e" providerId="ADAL" clId="{D6AE3920-5CE7-415D-B2E3-8920D07BE963}" dt="2022-09-08T18:53:18.899" v="2578" actId="1076"/>
          <ac:picMkLst>
            <pc:docMk/>
            <pc:sldMk cId="2802056876" sldId="362"/>
            <ac:picMk id="4" creationId="{B7A5E83C-5839-45EF-9989-D9378093A418}"/>
          </ac:picMkLst>
        </pc:picChg>
      </pc:sldChg>
      <pc:sldChg chg="addSp delSp modSp add del mod modShow">
        <pc:chgData name="Kory Thacher (APPS / POWERSHELL)" userId="995eb0f2-f21c-467c-a947-4f8fc26d0f2e" providerId="ADAL" clId="{D6AE3920-5CE7-415D-B2E3-8920D07BE963}" dt="2022-09-12T21:14:39.593" v="2649" actId="47"/>
        <pc:sldMkLst>
          <pc:docMk/>
          <pc:sldMk cId="481959669" sldId="363"/>
        </pc:sldMkLst>
        <pc:spChg chg="del mod">
          <ac:chgData name="Kory Thacher (APPS / POWERSHELL)" userId="995eb0f2-f21c-467c-a947-4f8fc26d0f2e" providerId="ADAL" clId="{D6AE3920-5CE7-415D-B2E3-8920D07BE963}" dt="2022-09-08T18:53:53.947" v="2582" actId="12084"/>
          <ac:spMkLst>
            <pc:docMk/>
            <pc:sldMk cId="481959669" sldId="363"/>
            <ac:spMk id="2" creationId="{B084D8B2-652C-4468-AAAB-C4E446740847}"/>
          </ac:spMkLst>
        </pc:spChg>
        <pc:graphicFrameChg chg="add mod">
          <ac:chgData name="Kory Thacher (APPS / POWERSHELL)" userId="995eb0f2-f21c-467c-a947-4f8fc26d0f2e" providerId="ADAL" clId="{D6AE3920-5CE7-415D-B2E3-8920D07BE963}" dt="2022-09-08T18:57:51.139" v="2610" actId="255"/>
          <ac:graphicFrameMkLst>
            <pc:docMk/>
            <pc:sldMk cId="481959669" sldId="363"/>
            <ac:graphicFrameMk id="5" creationId="{0FC85094-162E-B0F1-506A-D4D85D132C0E}"/>
          </ac:graphicFrameMkLst>
        </pc:graphicFrameChg>
      </pc:sldChg>
      <pc:sldChg chg="modSp add del mod modShow">
        <pc:chgData name="Kory Thacher (APPS / POWERSHELL)" userId="995eb0f2-f21c-467c-a947-4f8fc26d0f2e" providerId="ADAL" clId="{D6AE3920-5CE7-415D-B2E3-8920D07BE963}" dt="2022-09-12T21:07:39.914" v="2621" actId="47"/>
        <pc:sldMkLst>
          <pc:docMk/>
          <pc:sldMk cId="541687112" sldId="364"/>
        </pc:sldMkLst>
        <pc:graphicFrameChg chg="mod">
          <ac:chgData name="Kory Thacher (APPS / POWERSHELL)" userId="995eb0f2-f21c-467c-a947-4f8fc26d0f2e" providerId="ADAL" clId="{D6AE3920-5CE7-415D-B2E3-8920D07BE963}" dt="2022-09-08T18:55:28.219" v="2600" actId="13782"/>
          <ac:graphicFrameMkLst>
            <pc:docMk/>
            <pc:sldMk cId="541687112" sldId="364"/>
            <ac:graphicFrameMk id="5" creationId="{0FC85094-162E-B0F1-506A-D4D85D132C0E}"/>
          </ac:graphicFrameMkLst>
        </pc:graphicFrameChg>
        <pc:picChg chg="mod">
          <ac:chgData name="Kory Thacher (APPS / POWERSHELL)" userId="995eb0f2-f21c-467c-a947-4f8fc26d0f2e" providerId="ADAL" clId="{D6AE3920-5CE7-415D-B2E3-8920D07BE963}" dt="2022-09-08T18:55:14.326" v="2599" actId="1076"/>
          <ac:picMkLst>
            <pc:docMk/>
            <pc:sldMk cId="541687112" sldId="364"/>
            <ac:picMk id="4" creationId="{B7A5E83C-5839-45EF-9989-D9378093A418}"/>
          </ac:picMkLst>
        </pc:picChg>
      </pc:sldChg>
      <pc:sldChg chg="addSp delSp modSp add mod">
        <pc:chgData name="Kory Thacher (APPS / POWERSHELL)" userId="995eb0f2-f21c-467c-a947-4f8fc26d0f2e" providerId="ADAL" clId="{D6AE3920-5CE7-415D-B2E3-8920D07BE963}" dt="2022-09-12T21:14:21.440" v="2648" actId="1076"/>
        <pc:sldMkLst>
          <pc:docMk/>
          <pc:sldMk cId="1149347324" sldId="364"/>
        </pc:sldMkLst>
        <pc:picChg chg="del">
          <ac:chgData name="Kory Thacher (APPS / POWERSHELL)" userId="995eb0f2-f21c-467c-a947-4f8fc26d0f2e" providerId="ADAL" clId="{D6AE3920-5CE7-415D-B2E3-8920D07BE963}" dt="2022-09-12T21:09:52.654" v="2625" actId="478"/>
          <ac:picMkLst>
            <pc:docMk/>
            <pc:sldMk cId="1149347324" sldId="364"/>
            <ac:picMk id="4" creationId="{B7A5E83C-5839-45EF-9989-D9378093A418}"/>
          </ac:picMkLst>
        </pc:picChg>
        <pc:picChg chg="add del mod">
          <ac:chgData name="Kory Thacher (APPS / POWERSHELL)" userId="995eb0f2-f21c-467c-a947-4f8fc26d0f2e" providerId="ADAL" clId="{D6AE3920-5CE7-415D-B2E3-8920D07BE963}" dt="2022-09-12T21:12:35.131" v="2634" actId="478"/>
          <ac:picMkLst>
            <pc:docMk/>
            <pc:sldMk cId="1149347324" sldId="364"/>
            <ac:picMk id="6" creationId="{5A89988B-D166-576B-755F-507EE994606F}"/>
          </ac:picMkLst>
        </pc:picChg>
        <pc:picChg chg="add del mod">
          <ac:chgData name="Kory Thacher (APPS / POWERSHELL)" userId="995eb0f2-f21c-467c-a947-4f8fc26d0f2e" providerId="ADAL" clId="{D6AE3920-5CE7-415D-B2E3-8920D07BE963}" dt="2022-09-12T21:11:53.859" v="2633" actId="478"/>
          <ac:picMkLst>
            <pc:docMk/>
            <pc:sldMk cId="1149347324" sldId="364"/>
            <ac:picMk id="8" creationId="{C9B82F01-BFE9-5BC0-0FA7-FA2B3F2AA218}"/>
          </ac:picMkLst>
        </pc:picChg>
        <pc:picChg chg="add del mod">
          <ac:chgData name="Kory Thacher (APPS / POWERSHELL)" userId="995eb0f2-f21c-467c-a947-4f8fc26d0f2e" providerId="ADAL" clId="{D6AE3920-5CE7-415D-B2E3-8920D07BE963}" dt="2022-09-12T21:13:59.219" v="2644" actId="478"/>
          <ac:picMkLst>
            <pc:docMk/>
            <pc:sldMk cId="1149347324" sldId="364"/>
            <ac:picMk id="10" creationId="{69836DB0-13CA-8296-4BD4-B3123AD4A354}"/>
          </ac:picMkLst>
        </pc:picChg>
        <pc:picChg chg="add mod">
          <ac:chgData name="Kory Thacher (APPS / POWERSHELL)" userId="995eb0f2-f21c-467c-a947-4f8fc26d0f2e" providerId="ADAL" clId="{D6AE3920-5CE7-415D-B2E3-8920D07BE963}" dt="2022-09-12T21:14:21.440" v="2648" actId="1076"/>
          <ac:picMkLst>
            <pc:docMk/>
            <pc:sldMk cId="1149347324" sldId="364"/>
            <ac:picMk id="12" creationId="{B45A19BF-C625-115B-7EB1-3ABCC62E02CC}"/>
          </ac:picMkLst>
        </pc:picChg>
      </pc:sldChg>
      <pc:sldChg chg="modSp mod modShow">
        <pc:chgData name="Kory Thacher (APPS / POWERSHELL)" userId="995eb0f2-f21c-467c-a947-4f8fc26d0f2e" providerId="ADAL" clId="{D6AE3920-5CE7-415D-B2E3-8920D07BE963}" dt="2022-09-13T22:28:12.478" v="3215" actId="729"/>
        <pc:sldMkLst>
          <pc:docMk/>
          <pc:sldMk cId="890579405" sldId="365"/>
        </pc:sldMkLst>
        <pc:graphicFrameChg chg="modGraphic">
          <ac:chgData name="Kory Thacher (APPS / POWERSHELL)" userId="995eb0f2-f21c-467c-a947-4f8fc26d0f2e" providerId="ADAL" clId="{D6AE3920-5CE7-415D-B2E3-8920D07BE963}" dt="2022-09-12T21:38:31.454" v="2864" actId="14734"/>
          <ac:graphicFrameMkLst>
            <pc:docMk/>
            <pc:sldMk cId="890579405" sldId="365"/>
            <ac:graphicFrameMk id="32" creationId="{8C19BFBA-5CA7-48D2-87DA-8887B57D2B56}"/>
          </ac:graphicFrameMkLst>
        </pc:graphicFrameChg>
      </pc:sldChg>
      <pc:sldChg chg="modSp add del mod modShow">
        <pc:chgData name="Kory Thacher (APPS / POWERSHELL)" userId="995eb0f2-f21c-467c-a947-4f8fc26d0f2e" providerId="ADAL" clId="{D6AE3920-5CE7-415D-B2E3-8920D07BE963}" dt="2022-09-12T21:07:39.914" v="2621" actId="47"/>
        <pc:sldMkLst>
          <pc:docMk/>
          <pc:sldMk cId="4287746583" sldId="365"/>
        </pc:sldMkLst>
        <pc:graphicFrameChg chg="mod">
          <ac:chgData name="Kory Thacher (APPS / POWERSHELL)" userId="995eb0f2-f21c-467c-a947-4f8fc26d0f2e" providerId="ADAL" clId="{D6AE3920-5CE7-415D-B2E3-8920D07BE963}" dt="2022-09-08T18:55:38.029" v="2602" actId="13782"/>
          <ac:graphicFrameMkLst>
            <pc:docMk/>
            <pc:sldMk cId="4287746583" sldId="365"/>
            <ac:graphicFrameMk id="5" creationId="{0FC85094-162E-B0F1-506A-D4D85D132C0E}"/>
          </ac:graphicFrameMkLst>
        </pc:graphicFrameChg>
      </pc:sldChg>
      <pc:sldChg chg="modSp add del mod modShow">
        <pc:chgData name="Kory Thacher (APPS / POWERSHELL)" userId="995eb0f2-f21c-467c-a947-4f8fc26d0f2e" providerId="ADAL" clId="{D6AE3920-5CE7-415D-B2E3-8920D07BE963}" dt="2022-09-12T21:07:39.914" v="2621" actId="47"/>
        <pc:sldMkLst>
          <pc:docMk/>
          <pc:sldMk cId="541490625" sldId="366"/>
        </pc:sldMkLst>
        <pc:graphicFrameChg chg="mod">
          <ac:chgData name="Kory Thacher (APPS / POWERSHELL)" userId="995eb0f2-f21c-467c-a947-4f8fc26d0f2e" providerId="ADAL" clId="{D6AE3920-5CE7-415D-B2E3-8920D07BE963}" dt="2022-09-12T21:07:07.086" v="2620" actId="11530"/>
          <ac:graphicFrameMkLst>
            <pc:docMk/>
            <pc:sldMk cId="541490625" sldId="366"/>
            <ac:graphicFrameMk id="5" creationId="{0FC85094-162E-B0F1-506A-D4D85D132C0E}"/>
          </ac:graphicFrameMkLst>
        </pc:graphicFrameChg>
      </pc:sldChg>
      <pc:sldChg chg="addSp delSp modSp del mod modNotesTx">
        <pc:chgData name="Kory Thacher (APPS / POWERSHELL)" userId="995eb0f2-f21c-467c-a947-4f8fc26d0f2e" providerId="ADAL" clId="{D6AE3920-5CE7-415D-B2E3-8920D07BE963}" dt="2022-09-13T22:28:07.410" v="3214" actId="47"/>
        <pc:sldMkLst>
          <pc:docMk/>
          <pc:sldMk cId="3830402276" sldId="366"/>
        </pc:sldMkLst>
        <pc:spChg chg="add del">
          <ac:chgData name="Kory Thacher (APPS / POWERSHELL)" userId="995eb0f2-f21c-467c-a947-4f8fc26d0f2e" providerId="ADAL" clId="{D6AE3920-5CE7-415D-B2E3-8920D07BE963}" dt="2022-09-12T22:33:26.700" v="3064" actId="478"/>
          <ac:spMkLst>
            <pc:docMk/>
            <pc:sldMk cId="3830402276" sldId="366"/>
            <ac:spMk id="11" creationId="{5EDC8E91-20D9-4F9F-C21F-3485FF1BF89F}"/>
          </ac:spMkLst>
        </pc:spChg>
        <pc:graphicFrameChg chg="mod modGraphic">
          <ac:chgData name="Kory Thacher (APPS / POWERSHELL)" userId="995eb0f2-f21c-467c-a947-4f8fc26d0f2e" providerId="ADAL" clId="{D6AE3920-5CE7-415D-B2E3-8920D07BE963}" dt="2022-09-12T22:01:11.888" v="2995" actId="20577"/>
          <ac:graphicFrameMkLst>
            <pc:docMk/>
            <pc:sldMk cId="3830402276" sldId="366"/>
            <ac:graphicFrameMk id="25" creationId="{074DEF24-AAA4-5F2D-358F-97762FDD55B0}"/>
          </ac:graphicFrameMkLst>
        </pc:graphicFrameChg>
        <pc:graphicFrameChg chg="mod modGraphic">
          <ac:chgData name="Kory Thacher (APPS / POWERSHELL)" userId="995eb0f2-f21c-467c-a947-4f8fc26d0f2e" providerId="ADAL" clId="{D6AE3920-5CE7-415D-B2E3-8920D07BE963}" dt="2022-09-12T22:26:30.722" v="3061" actId="20577"/>
          <ac:graphicFrameMkLst>
            <pc:docMk/>
            <pc:sldMk cId="3830402276" sldId="366"/>
            <ac:graphicFrameMk id="27" creationId="{5B127789-99A5-52E7-2DA8-73710B4D4462}"/>
          </ac:graphicFrameMkLst>
        </pc:graphicFrameChg>
        <pc:picChg chg="add mod">
          <ac:chgData name="Kory Thacher (APPS / POWERSHELL)" userId="995eb0f2-f21c-467c-a947-4f8fc26d0f2e" providerId="ADAL" clId="{D6AE3920-5CE7-415D-B2E3-8920D07BE963}" dt="2022-09-12T22:36:12.054" v="3085" actId="1076"/>
          <ac:picMkLst>
            <pc:docMk/>
            <pc:sldMk cId="3830402276" sldId="366"/>
            <ac:picMk id="13" creationId="{85D05D76-E67F-E748-0843-47947E28793C}"/>
          </ac:picMkLst>
        </pc:picChg>
        <pc:picChg chg="mod">
          <ac:chgData name="Kory Thacher (APPS / POWERSHELL)" userId="995eb0f2-f21c-467c-a947-4f8fc26d0f2e" providerId="ADAL" clId="{D6AE3920-5CE7-415D-B2E3-8920D07BE963}" dt="2022-09-12T22:36:33.277" v="3087" actId="1076"/>
          <ac:picMkLst>
            <pc:docMk/>
            <pc:sldMk cId="3830402276" sldId="366"/>
            <ac:picMk id="50" creationId="{34E05A42-3AAC-B22C-977A-132169DBCABC}"/>
          </ac:picMkLst>
        </pc:picChg>
      </pc:sldChg>
      <pc:sldChg chg="add del">
        <pc:chgData name="Kory Thacher (APPS / POWERSHELL)" userId="995eb0f2-f21c-467c-a947-4f8fc26d0f2e" providerId="ADAL" clId="{D6AE3920-5CE7-415D-B2E3-8920D07BE963}" dt="2022-09-12T21:26:09.150" v="2651" actId="47"/>
        <pc:sldMkLst>
          <pc:docMk/>
          <pc:sldMk cId="764772272" sldId="367"/>
        </pc:sldMkLst>
      </pc:sldChg>
      <pc:sldChg chg="delSp modSp add del mod">
        <pc:chgData name="Kory Thacher (APPS / POWERSHELL)" userId="995eb0f2-f21c-467c-a947-4f8fc26d0f2e" providerId="ADAL" clId="{D6AE3920-5CE7-415D-B2E3-8920D07BE963}" dt="2022-09-13T22:28:07.410" v="3214" actId="47"/>
        <pc:sldMkLst>
          <pc:docMk/>
          <pc:sldMk cId="2759651038" sldId="367"/>
        </pc:sldMkLst>
        <pc:graphicFrameChg chg="del">
          <ac:chgData name="Kory Thacher (APPS / POWERSHELL)" userId="995eb0f2-f21c-467c-a947-4f8fc26d0f2e" providerId="ADAL" clId="{D6AE3920-5CE7-415D-B2E3-8920D07BE963}" dt="2022-09-12T21:35:47.550" v="2728" actId="478"/>
          <ac:graphicFrameMkLst>
            <pc:docMk/>
            <pc:sldMk cId="2759651038" sldId="367"/>
            <ac:graphicFrameMk id="25" creationId="{074DEF24-AAA4-5F2D-358F-97762FDD55B0}"/>
          </ac:graphicFrameMkLst>
        </pc:graphicFrameChg>
        <pc:graphicFrameChg chg="mod modGraphic">
          <ac:chgData name="Kory Thacher (APPS / POWERSHELL)" userId="995eb0f2-f21c-467c-a947-4f8fc26d0f2e" providerId="ADAL" clId="{D6AE3920-5CE7-415D-B2E3-8920D07BE963}" dt="2022-09-12T22:21:57.122" v="3049" actId="20577"/>
          <ac:graphicFrameMkLst>
            <pc:docMk/>
            <pc:sldMk cId="2759651038" sldId="367"/>
            <ac:graphicFrameMk id="27" creationId="{5B127789-99A5-52E7-2DA8-73710B4D4462}"/>
          </ac:graphicFrameMkLst>
        </pc:graphicFrameChg>
      </pc:sldChg>
      <pc:sldChg chg="modSp add del">
        <pc:chgData name="Kory Thacher (APPS / POWERSHELL)" userId="995eb0f2-f21c-467c-a947-4f8fc26d0f2e" providerId="ADAL" clId="{D6AE3920-5CE7-415D-B2E3-8920D07BE963}" dt="2022-09-08T18:57:14.837" v="2607" actId="47"/>
        <pc:sldMkLst>
          <pc:docMk/>
          <pc:sldMk cId="3051942340" sldId="367"/>
        </pc:sldMkLst>
        <pc:graphicFrameChg chg="mod">
          <ac:chgData name="Kory Thacher (APPS / POWERSHELL)" userId="995eb0f2-f21c-467c-a947-4f8fc26d0f2e" providerId="ADAL" clId="{D6AE3920-5CE7-415D-B2E3-8920D07BE963}" dt="2022-09-08T18:56:51.042" v="2606" actId="13782"/>
          <ac:graphicFrameMkLst>
            <pc:docMk/>
            <pc:sldMk cId="3051942340" sldId="367"/>
            <ac:graphicFrameMk id="5" creationId="{0FC85094-162E-B0F1-506A-D4D85D132C0E}"/>
          </ac:graphicFrameMkLst>
        </pc:graphicFrameChg>
      </pc:sldChg>
      <pc:sldChg chg="modSp add del mod">
        <pc:chgData name="Kory Thacher (APPS / POWERSHELL)" userId="995eb0f2-f21c-467c-a947-4f8fc26d0f2e" providerId="ADAL" clId="{D6AE3920-5CE7-415D-B2E3-8920D07BE963}" dt="2022-09-12T22:26:36.848" v="3062" actId="47"/>
        <pc:sldMkLst>
          <pc:docMk/>
          <pc:sldMk cId="711973993" sldId="368"/>
        </pc:sldMkLst>
        <pc:graphicFrameChg chg="mod modGraphic">
          <ac:chgData name="Kory Thacher (APPS / POWERSHELL)" userId="995eb0f2-f21c-467c-a947-4f8fc26d0f2e" providerId="ADAL" clId="{D6AE3920-5CE7-415D-B2E3-8920D07BE963}" dt="2022-09-12T22:18:04.313" v="3041" actId="20577"/>
          <ac:graphicFrameMkLst>
            <pc:docMk/>
            <pc:sldMk cId="711973993" sldId="368"/>
            <ac:graphicFrameMk id="25" creationId="{074DEF24-AAA4-5F2D-358F-97762FDD55B0}"/>
          </ac:graphicFrameMkLst>
        </pc:graphicFrameChg>
        <pc:graphicFrameChg chg="mod modGraphic">
          <ac:chgData name="Kory Thacher (APPS / POWERSHELL)" userId="995eb0f2-f21c-467c-a947-4f8fc26d0f2e" providerId="ADAL" clId="{D6AE3920-5CE7-415D-B2E3-8920D07BE963}" dt="2022-09-12T22:06:44.394" v="3029" actId="798"/>
          <ac:graphicFrameMkLst>
            <pc:docMk/>
            <pc:sldMk cId="711973993" sldId="368"/>
            <ac:graphicFrameMk id="27" creationId="{5B127789-99A5-52E7-2DA8-73710B4D4462}"/>
          </ac:graphicFrameMkLst>
        </pc:graphicFrameChg>
      </pc:sldChg>
      <pc:sldChg chg="modSp mod modNotesTx">
        <pc:chgData name="Kory Thacher (APPS / POWERSHELL)" userId="995eb0f2-f21c-467c-a947-4f8fc26d0f2e" providerId="ADAL" clId="{D6AE3920-5CE7-415D-B2E3-8920D07BE963}" dt="2022-09-26T21:04:41.676" v="4626" actId="113"/>
        <pc:sldMkLst>
          <pc:docMk/>
          <pc:sldMk cId="1192450783" sldId="368"/>
        </pc:sldMkLst>
        <pc:spChg chg="mod">
          <ac:chgData name="Kory Thacher (APPS / POWERSHELL)" userId="995eb0f2-f21c-467c-a947-4f8fc26d0f2e" providerId="ADAL" clId="{D6AE3920-5CE7-415D-B2E3-8920D07BE963}" dt="2022-09-13T22:28:51.726" v="3258" actId="20577"/>
          <ac:spMkLst>
            <pc:docMk/>
            <pc:sldMk cId="1192450783" sldId="368"/>
            <ac:spMk id="3" creationId="{276763AC-E01B-45D0-806A-1F2948DFF0A8}"/>
          </ac:spMkLst>
        </pc:spChg>
        <pc:picChg chg="mod">
          <ac:chgData name="Kory Thacher (APPS / POWERSHELL)" userId="995eb0f2-f21c-467c-a947-4f8fc26d0f2e" providerId="ADAL" clId="{D6AE3920-5CE7-415D-B2E3-8920D07BE963}" dt="2022-09-13T22:14:02.829" v="3144" actId="1076"/>
          <ac:picMkLst>
            <pc:docMk/>
            <pc:sldMk cId="1192450783" sldId="368"/>
            <ac:picMk id="17" creationId="{507158EE-29D2-A43B-589C-53CDC147F044}"/>
          </ac:picMkLst>
        </pc:picChg>
        <pc:picChg chg="mod modCrop">
          <ac:chgData name="Kory Thacher (APPS / POWERSHELL)" userId="995eb0f2-f21c-467c-a947-4f8fc26d0f2e" providerId="ADAL" clId="{D6AE3920-5CE7-415D-B2E3-8920D07BE963}" dt="2022-09-13T22:27:07.793" v="3212" actId="732"/>
          <ac:picMkLst>
            <pc:docMk/>
            <pc:sldMk cId="1192450783" sldId="368"/>
            <ac:picMk id="19" creationId="{232ADB15-BAC6-0C70-247F-BC45FA4861D7}"/>
          </ac:picMkLst>
        </pc:picChg>
      </pc:sldChg>
      <pc:sldChg chg="modSp add del mod addCm delCm">
        <pc:chgData name="Kory Thacher (APPS / POWERSHELL)" userId="995eb0f2-f21c-467c-a947-4f8fc26d0f2e" providerId="ADAL" clId="{D6AE3920-5CE7-415D-B2E3-8920D07BE963}" dt="2022-09-12T22:41:07.029" v="3141" actId="47"/>
        <pc:sldMkLst>
          <pc:docMk/>
          <pc:sldMk cId="2528547398" sldId="368"/>
        </pc:sldMkLst>
        <pc:graphicFrameChg chg="mod modGraphic">
          <ac:chgData name="Kory Thacher (APPS / POWERSHELL)" userId="995eb0f2-f21c-467c-a947-4f8fc26d0f2e" providerId="ADAL" clId="{D6AE3920-5CE7-415D-B2E3-8920D07BE963}" dt="2022-09-12T22:40:36.740" v="3123" actId="20577"/>
          <ac:graphicFrameMkLst>
            <pc:docMk/>
            <pc:sldMk cId="2528547398" sldId="368"/>
            <ac:graphicFrameMk id="25" creationId="{074DEF24-AAA4-5F2D-358F-97762FDD55B0}"/>
          </ac:graphicFrameMkLst>
        </pc:graphicFrameChg>
        <pc:graphicFrameChg chg="mod modGraphic">
          <ac:chgData name="Kory Thacher (APPS / POWERSHELL)" userId="995eb0f2-f21c-467c-a947-4f8fc26d0f2e" providerId="ADAL" clId="{D6AE3920-5CE7-415D-B2E3-8920D07BE963}" dt="2022-09-12T22:41:01.766" v="3140" actId="14100"/>
          <ac:graphicFrameMkLst>
            <pc:docMk/>
            <pc:sldMk cId="2528547398" sldId="368"/>
            <ac:graphicFrameMk id="27" creationId="{5B127789-99A5-52E7-2DA8-73710B4D4462}"/>
          </ac:graphicFrameMkLst>
        </pc:graphicFrameChg>
        <pc:picChg chg="mod">
          <ac:chgData name="Kory Thacher (APPS / POWERSHELL)" userId="995eb0f2-f21c-467c-a947-4f8fc26d0f2e" providerId="ADAL" clId="{D6AE3920-5CE7-415D-B2E3-8920D07BE963}" dt="2022-09-12T22:38:53.154" v="3093" actId="1076"/>
          <ac:picMkLst>
            <pc:docMk/>
            <pc:sldMk cId="2528547398" sldId="368"/>
            <ac:picMk id="40" creationId="{2A93F27D-76E3-F0D2-7B42-4186C1A108B4}"/>
          </ac:picMkLst>
        </pc:picChg>
        <pc:picChg chg="mod">
          <ac:chgData name="Kory Thacher (APPS / POWERSHELL)" userId="995eb0f2-f21c-467c-a947-4f8fc26d0f2e" providerId="ADAL" clId="{D6AE3920-5CE7-415D-B2E3-8920D07BE963}" dt="2022-09-12T22:40:50.048" v="3136" actId="1076"/>
          <ac:picMkLst>
            <pc:docMk/>
            <pc:sldMk cId="2528547398" sldId="368"/>
            <ac:picMk id="56" creationId="{500C456D-AA18-F9F0-44E9-D9D176591F58}"/>
          </ac:picMkLst>
        </pc:picChg>
        <pc:picChg chg="mod">
          <ac:chgData name="Kory Thacher (APPS / POWERSHELL)" userId="995eb0f2-f21c-467c-a947-4f8fc26d0f2e" providerId="ADAL" clId="{D6AE3920-5CE7-415D-B2E3-8920D07BE963}" dt="2022-09-12T22:40:48.193" v="3135" actId="1076"/>
          <ac:picMkLst>
            <pc:docMk/>
            <pc:sldMk cId="2528547398" sldId="368"/>
            <ac:picMk id="60" creationId="{3F1EDD50-AAB1-D049-992E-0808A1477D63}"/>
          </ac:picMkLst>
        </pc:picChg>
      </pc:sldChg>
      <pc:sldChg chg="modSp add del mod">
        <pc:chgData name="Kory Thacher (APPS / POWERSHELL)" userId="995eb0f2-f21c-467c-a947-4f8fc26d0f2e" providerId="ADAL" clId="{D6AE3920-5CE7-415D-B2E3-8920D07BE963}" dt="2022-09-12T22:38:06.201" v="3088" actId="47"/>
        <pc:sldMkLst>
          <pc:docMk/>
          <pc:sldMk cId="3088650000" sldId="368"/>
        </pc:sldMkLst>
        <pc:graphicFrameChg chg="mod modGraphic">
          <ac:chgData name="Kory Thacher (APPS / POWERSHELL)" userId="995eb0f2-f21c-467c-a947-4f8fc26d0f2e" providerId="ADAL" clId="{D6AE3920-5CE7-415D-B2E3-8920D07BE963}" dt="2022-09-12T22:33:40.449" v="3067" actId="14100"/>
          <ac:graphicFrameMkLst>
            <pc:docMk/>
            <pc:sldMk cId="3088650000" sldId="368"/>
            <ac:graphicFrameMk id="25" creationId="{074DEF24-AAA4-5F2D-358F-97762FDD55B0}"/>
          </ac:graphicFrameMkLst>
        </pc:graphicFrameChg>
        <pc:graphicFrameChg chg="modGraphic">
          <ac:chgData name="Kory Thacher (APPS / POWERSHELL)" userId="995eb0f2-f21c-467c-a947-4f8fc26d0f2e" providerId="ADAL" clId="{D6AE3920-5CE7-415D-B2E3-8920D07BE963}" dt="2022-09-12T22:33:36.022" v="3066" actId="14100"/>
          <ac:graphicFrameMkLst>
            <pc:docMk/>
            <pc:sldMk cId="3088650000" sldId="368"/>
            <ac:graphicFrameMk id="27" creationId="{5B127789-99A5-52E7-2DA8-73710B4D4462}"/>
          </ac:graphicFrameMkLst>
        </pc:graphicFrameChg>
        <pc:picChg chg="mod">
          <ac:chgData name="Kory Thacher (APPS / POWERSHELL)" userId="995eb0f2-f21c-467c-a947-4f8fc26d0f2e" providerId="ADAL" clId="{D6AE3920-5CE7-415D-B2E3-8920D07BE963}" dt="2022-09-12T22:33:45.557" v="3068" actId="1076"/>
          <ac:picMkLst>
            <pc:docMk/>
            <pc:sldMk cId="3088650000" sldId="368"/>
            <ac:picMk id="29" creationId="{3CE8AFAF-39B9-4A4C-11B5-5F2E7CD2C2C8}"/>
          </ac:picMkLst>
        </pc:picChg>
        <pc:picChg chg="mod">
          <ac:chgData name="Kory Thacher (APPS / POWERSHELL)" userId="995eb0f2-f21c-467c-a947-4f8fc26d0f2e" providerId="ADAL" clId="{D6AE3920-5CE7-415D-B2E3-8920D07BE963}" dt="2022-09-12T22:34:01.247" v="3075" actId="1076"/>
          <ac:picMkLst>
            <pc:docMk/>
            <pc:sldMk cId="3088650000" sldId="368"/>
            <ac:picMk id="38" creationId="{A57AACF4-C4E3-C2D8-7529-5109ABD017DF}"/>
          </ac:picMkLst>
        </pc:picChg>
        <pc:picChg chg="mod">
          <ac:chgData name="Kory Thacher (APPS / POWERSHELL)" userId="995eb0f2-f21c-467c-a947-4f8fc26d0f2e" providerId="ADAL" clId="{D6AE3920-5CE7-415D-B2E3-8920D07BE963}" dt="2022-09-12T22:34:16.842" v="3078" actId="14100"/>
          <ac:picMkLst>
            <pc:docMk/>
            <pc:sldMk cId="3088650000" sldId="368"/>
            <ac:picMk id="40" creationId="{2A93F27D-76E3-F0D2-7B42-4186C1A108B4}"/>
          </ac:picMkLst>
        </pc:picChg>
        <pc:picChg chg="mod">
          <ac:chgData name="Kory Thacher (APPS / POWERSHELL)" userId="995eb0f2-f21c-467c-a947-4f8fc26d0f2e" providerId="ADAL" clId="{D6AE3920-5CE7-415D-B2E3-8920D07BE963}" dt="2022-09-12T22:34:06.128" v="3077" actId="1076"/>
          <ac:picMkLst>
            <pc:docMk/>
            <pc:sldMk cId="3088650000" sldId="368"/>
            <ac:picMk id="44" creationId="{75B07656-43FC-AC22-203E-2EF6B29FBFF6}"/>
          </ac:picMkLst>
        </pc:picChg>
        <pc:picChg chg="mod">
          <ac:chgData name="Kory Thacher (APPS / POWERSHELL)" userId="995eb0f2-f21c-467c-a947-4f8fc26d0f2e" providerId="ADAL" clId="{D6AE3920-5CE7-415D-B2E3-8920D07BE963}" dt="2022-09-12T22:34:04.586" v="3076" actId="1076"/>
          <ac:picMkLst>
            <pc:docMk/>
            <pc:sldMk cId="3088650000" sldId="368"/>
            <ac:picMk id="46" creationId="{0BA72394-B2BB-D2F0-8271-C6AD1A9A606F}"/>
          </ac:picMkLst>
        </pc:picChg>
        <pc:picChg chg="mod">
          <ac:chgData name="Kory Thacher (APPS / POWERSHELL)" userId="995eb0f2-f21c-467c-a947-4f8fc26d0f2e" providerId="ADAL" clId="{D6AE3920-5CE7-415D-B2E3-8920D07BE963}" dt="2022-09-12T22:33:57.371" v="3073" actId="1076"/>
          <ac:picMkLst>
            <pc:docMk/>
            <pc:sldMk cId="3088650000" sldId="368"/>
            <ac:picMk id="48" creationId="{AE0E618C-916A-0D9C-9213-4D6F414FAB4D}"/>
          </ac:picMkLst>
        </pc:picChg>
        <pc:picChg chg="mod">
          <ac:chgData name="Kory Thacher (APPS / POWERSHELL)" userId="995eb0f2-f21c-467c-a947-4f8fc26d0f2e" providerId="ADAL" clId="{D6AE3920-5CE7-415D-B2E3-8920D07BE963}" dt="2022-09-12T22:34:30.841" v="3080" actId="1076"/>
          <ac:picMkLst>
            <pc:docMk/>
            <pc:sldMk cId="3088650000" sldId="368"/>
            <ac:picMk id="50" creationId="{34E05A42-3AAC-B22C-977A-132169DBCABC}"/>
          </ac:picMkLst>
        </pc:picChg>
        <pc:picChg chg="mod">
          <ac:chgData name="Kory Thacher (APPS / POWERSHELL)" userId="995eb0f2-f21c-467c-a947-4f8fc26d0f2e" providerId="ADAL" clId="{D6AE3920-5CE7-415D-B2E3-8920D07BE963}" dt="2022-09-12T22:33:46.660" v="3069" actId="1076"/>
          <ac:picMkLst>
            <pc:docMk/>
            <pc:sldMk cId="3088650000" sldId="368"/>
            <ac:picMk id="52" creationId="{CC73AEDD-178F-630A-70CB-42BF1FEBFDCA}"/>
          </ac:picMkLst>
        </pc:picChg>
        <pc:picChg chg="mod">
          <ac:chgData name="Kory Thacher (APPS / POWERSHELL)" userId="995eb0f2-f21c-467c-a947-4f8fc26d0f2e" providerId="ADAL" clId="{D6AE3920-5CE7-415D-B2E3-8920D07BE963}" dt="2022-09-12T22:33:48.301" v="3070" actId="1076"/>
          <ac:picMkLst>
            <pc:docMk/>
            <pc:sldMk cId="3088650000" sldId="368"/>
            <ac:picMk id="54" creationId="{E652D727-716B-A973-4160-D60E83DC7B42}"/>
          </ac:picMkLst>
        </pc:picChg>
        <pc:picChg chg="mod">
          <ac:chgData name="Kory Thacher (APPS / POWERSHELL)" userId="995eb0f2-f21c-467c-a947-4f8fc26d0f2e" providerId="ADAL" clId="{D6AE3920-5CE7-415D-B2E3-8920D07BE963}" dt="2022-09-12T22:33:50.344" v="3071" actId="1076"/>
          <ac:picMkLst>
            <pc:docMk/>
            <pc:sldMk cId="3088650000" sldId="368"/>
            <ac:picMk id="58" creationId="{91AB342D-4C03-2F35-943C-B6EA29435589}"/>
          </ac:picMkLst>
        </pc:picChg>
        <pc:picChg chg="mod">
          <ac:chgData name="Kory Thacher (APPS / POWERSHELL)" userId="995eb0f2-f21c-467c-a947-4f8fc26d0f2e" providerId="ADAL" clId="{D6AE3920-5CE7-415D-B2E3-8920D07BE963}" dt="2022-09-12T22:33:59.188" v="3074" actId="1076"/>
          <ac:picMkLst>
            <pc:docMk/>
            <pc:sldMk cId="3088650000" sldId="368"/>
            <ac:picMk id="60" creationId="{3F1EDD50-AAB1-D049-992E-0808A1477D63}"/>
          </ac:picMkLst>
        </pc:picChg>
      </pc:sldChg>
      <pc:sldChg chg="add mod modShow">
        <pc:chgData name="Kory Thacher (APPS / POWERSHELL)" userId="995eb0f2-f21c-467c-a947-4f8fc26d0f2e" providerId="ADAL" clId="{D6AE3920-5CE7-415D-B2E3-8920D07BE963}" dt="2022-09-13T22:30:48.397" v="3262" actId="729"/>
        <pc:sldMkLst>
          <pc:docMk/>
          <pc:sldMk cId="857291869" sldId="369"/>
        </pc:sldMkLst>
      </pc:sldChg>
      <pc:sldChg chg="modSp add del mod">
        <pc:chgData name="Kory Thacher (APPS / POWERSHELL)" userId="995eb0f2-f21c-467c-a947-4f8fc26d0f2e" providerId="ADAL" clId="{D6AE3920-5CE7-415D-B2E3-8920D07BE963}" dt="2022-09-13T22:27:57.035" v="3213" actId="47"/>
        <pc:sldMkLst>
          <pc:docMk/>
          <pc:sldMk cId="3939932457" sldId="369"/>
        </pc:sldMkLst>
        <pc:picChg chg="mod modCrop">
          <ac:chgData name="Kory Thacher (APPS / POWERSHELL)" userId="995eb0f2-f21c-467c-a947-4f8fc26d0f2e" providerId="ADAL" clId="{D6AE3920-5CE7-415D-B2E3-8920D07BE963}" dt="2022-09-13T22:15:06.560" v="3155" actId="14100"/>
          <ac:picMkLst>
            <pc:docMk/>
            <pc:sldMk cId="3939932457" sldId="369"/>
            <ac:picMk id="17" creationId="{507158EE-29D2-A43B-589C-53CDC147F044}"/>
          </ac:picMkLst>
        </pc:picChg>
      </pc:sldChg>
      <pc:sldChg chg="addSp modSp add del mod">
        <pc:chgData name="Kory Thacher (APPS / POWERSHELL)" userId="995eb0f2-f21c-467c-a947-4f8fc26d0f2e" providerId="ADAL" clId="{D6AE3920-5CE7-415D-B2E3-8920D07BE963}" dt="2022-09-13T22:27:57.035" v="3213" actId="47"/>
        <pc:sldMkLst>
          <pc:docMk/>
          <pc:sldMk cId="307921835" sldId="370"/>
        </pc:sldMkLst>
        <pc:spChg chg="add mod">
          <ac:chgData name="Kory Thacher (APPS / POWERSHELL)" userId="995eb0f2-f21c-467c-a947-4f8fc26d0f2e" providerId="ADAL" clId="{D6AE3920-5CE7-415D-B2E3-8920D07BE963}" dt="2022-09-13T22:18:02.807" v="3181" actId="14100"/>
          <ac:spMkLst>
            <pc:docMk/>
            <pc:sldMk cId="307921835" sldId="370"/>
            <ac:spMk id="2" creationId="{28268DBA-BF9D-2D43-99CE-F366B5FE7B21}"/>
          </ac:spMkLst>
        </pc:spChg>
      </pc:sldChg>
      <pc:sldChg chg="addSp delSp modSp add del mod modShow">
        <pc:chgData name="Kory Thacher (APPS / POWERSHELL)" userId="995eb0f2-f21c-467c-a947-4f8fc26d0f2e" providerId="ADAL" clId="{D6AE3920-5CE7-415D-B2E3-8920D07BE963}" dt="2022-09-26T22:10:33.547" v="5825" actId="47"/>
        <pc:sldMkLst>
          <pc:docMk/>
          <pc:sldMk cId="2999091721" sldId="370"/>
        </pc:sldMkLst>
        <pc:spChg chg="mod">
          <ac:chgData name="Kory Thacher (APPS / POWERSHELL)" userId="995eb0f2-f21c-467c-a947-4f8fc26d0f2e" providerId="ADAL" clId="{D6AE3920-5CE7-415D-B2E3-8920D07BE963}" dt="2022-09-13T22:31:19.142" v="3280" actId="20577"/>
          <ac:spMkLst>
            <pc:docMk/>
            <pc:sldMk cId="2999091721" sldId="370"/>
            <ac:spMk id="3" creationId="{276763AC-E01B-45D0-806A-1F2948DFF0A8}"/>
          </ac:spMkLst>
        </pc:spChg>
        <pc:graphicFrameChg chg="add mod modGraphic">
          <ac:chgData name="Kory Thacher (APPS / POWERSHELL)" userId="995eb0f2-f21c-467c-a947-4f8fc26d0f2e" providerId="ADAL" clId="{D6AE3920-5CE7-415D-B2E3-8920D07BE963}" dt="2022-09-13T22:49:59.540" v="4284"/>
          <ac:graphicFrameMkLst>
            <pc:docMk/>
            <pc:sldMk cId="2999091721" sldId="370"/>
            <ac:graphicFrameMk id="2" creationId="{25280BB3-37B9-ECD9-74DE-77B0B013816C}"/>
          </ac:graphicFrameMkLst>
        </pc:graphicFrameChg>
        <pc:picChg chg="del">
          <ac:chgData name="Kory Thacher (APPS / POWERSHELL)" userId="995eb0f2-f21c-467c-a947-4f8fc26d0f2e" providerId="ADAL" clId="{D6AE3920-5CE7-415D-B2E3-8920D07BE963}" dt="2022-09-13T22:33:39.584" v="3281" actId="478"/>
          <ac:picMkLst>
            <pc:docMk/>
            <pc:sldMk cId="2999091721" sldId="370"/>
            <ac:picMk id="19" creationId="{232ADB15-BAC6-0C70-247F-BC45FA4861D7}"/>
          </ac:picMkLst>
        </pc:picChg>
      </pc:sldChg>
      <pc:sldChg chg="addSp delSp modSp add del mod ord modShow">
        <pc:chgData name="Kory Thacher (APPS / POWERSHELL)" userId="995eb0f2-f21c-467c-a947-4f8fc26d0f2e" providerId="ADAL" clId="{D6AE3920-5CE7-415D-B2E3-8920D07BE963}" dt="2022-09-26T22:11:36.225" v="5828" actId="47"/>
        <pc:sldMkLst>
          <pc:docMk/>
          <pc:sldMk cId="1292271749" sldId="371"/>
        </pc:sldMkLst>
        <pc:spChg chg="mod">
          <ac:chgData name="Kory Thacher (APPS / POWERSHELL)" userId="995eb0f2-f21c-467c-a947-4f8fc26d0f2e" providerId="ADAL" clId="{D6AE3920-5CE7-415D-B2E3-8920D07BE963}" dt="2022-09-13T22:53:36.038" v="4418" actId="20577"/>
          <ac:spMkLst>
            <pc:docMk/>
            <pc:sldMk cId="1292271749" sldId="371"/>
            <ac:spMk id="3" creationId="{276763AC-E01B-45D0-806A-1F2948DFF0A8}"/>
          </ac:spMkLst>
        </pc:spChg>
        <pc:spChg chg="add mod">
          <ac:chgData name="Kory Thacher (APPS / POWERSHELL)" userId="995eb0f2-f21c-467c-a947-4f8fc26d0f2e" providerId="ADAL" clId="{D6AE3920-5CE7-415D-B2E3-8920D07BE963}" dt="2022-09-13T22:52:00.020" v="4383"/>
          <ac:spMkLst>
            <pc:docMk/>
            <pc:sldMk cId="1292271749" sldId="371"/>
            <ac:spMk id="15" creationId="{FEB257D0-6902-1547-559F-C3CCB047159B}"/>
          </ac:spMkLst>
        </pc:spChg>
        <pc:spChg chg="add mod">
          <ac:chgData name="Kory Thacher (APPS / POWERSHELL)" userId="995eb0f2-f21c-467c-a947-4f8fc26d0f2e" providerId="ADAL" clId="{D6AE3920-5CE7-415D-B2E3-8920D07BE963}" dt="2022-09-13T22:52:00.020" v="4383"/>
          <ac:spMkLst>
            <pc:docMk/>
            <pc:sldMk cId="1292271749" sldId="371"/>
            <ac:spMk id="16" creationId="{619F5E8F-867C-762E-E78E-D44C981A0044}"/>
          </ac:spMkLst>
        </pc:spChg>
        <pc:spChg chg="add mod">
          <ac:chgData name="Kory Thacher (APPS / POWERSHELL)" userId="995eb0f2-f21c-467c-a947-4f8fc26d0f2e" providerId="ADAL" clId="{D6AE3920-5CE7-415D-B2E3-8920D07BE963}" dt="2022-09-13T22:52:00.020" v="4383"/>
          <ac:spMkLst>
            <pc:docMk/>
            <pc:sldMk cId="1292271749" sldId="371"/>
            <ac:spMk id="17" creationId="{BD7D5D41-AA6F-7F7B-963D-CCC52322BFF8}"/>
          </ac:spMkLst>
        </pc:spChg>
        <pc:spChg chg="add mod">
          <ac:chgData name="Kory Thacher (APPS / POWERSHELL)" userId="995eb0f2-f21c-467c-a947-4f8fc26d0f2e" providerId="ADAL" clId="{D6AE3920-5CE7-415D-B2E3-8920D07BE963}" dt="2022-09-13T22:52:00.020" v="4383"/>
          <ac:spMkLst>
            <pc:docMk/>
            <pc:sldMk cId="1292271749" sldId="371"/>
            <ac:spMk id="18" creationId="{014CE8AE-91AD-687F-7B85-88C947EAC680}"/>
          </ac:spMkLst>
        </pc:spChg>
        <pc:spChg chg="add mod">
          <ac:chgData name="Kory Thacher (APPS / POWERSHELL)" userId="995eb0f2-f21c-467c-a947-4f8fc26d0f2e" providerId="ADAL" clId="{D6AE3920-5CE7-415D-B2E3-8920D07BE963}" dt="2022-09-13T22:52:00.020" v="4383"/>
          <ac:spMkLst>
            <pc:docMk/>
            <pc:sldMk cId="1292271749" sldId="371"/>
            <ac:spMk id="19" creationId="{16D6412F-57C3-D9F0-1888-CAC1970B77FC}"/>
          </ac:spMkLst>
        </pc:spChg>
        <pc:spChg chg="add mod">
          <ac:chgData name="Kory Thacher (APPS / POWERSHELL)" userId="995eb0f2-f21c-467c-a947-4f8fc26d0f2e" providerId="ADAL" clId="{D6AE3920-5CE7-415D-B2E3-8920D07BE963}" dt="2022-09-13T22:52:00.020" v="4383"/>
          <ac:spMkLst>
            <pc:docMk/>
            <pc:sldMk cId="1292271749" sldId="371"/>
            <ac:spMk id="20" creationId="{79CC529C-31CA-74A8-6A90-664E713656BE}"/>
          </ac:spMkLst>
        </pc:spChg>
        <pc:spChg chg="add mod">
          <ac:chgData name="Kory Thacher (APPS / POWERSHELL)" userId="995eb0f2-f21c-467c-a947-4f8fc26d0f2e" providerId="ADAL" clId="{D6AE3920-5CE7-415D-B2E3-8920D07BE963}" dt="2022-09-13T22:52:00.020" v="4383"/>
          <ac:spMkLst>
            <pc:docMk/>
            <pc:sldMk cId="1292271749" sldId="371"/>
            <ac:spMk id="21" creationId="{ABE2D931-10E5-5572-8C52-79853FF7DDE7}"/>
          </ac:spMkLst>
        </pc:spChg>
        <pc:spChg chg="add mod">
          <ac:chgData name="Kory Thacher (APPS / POWERSHELL)" userId="995eb0f2-f21c-467c-a947-4f8fc26d0f2e" providerId="ADAL" clId="{D6AE3920-5CE7-415D-B2E3-8920D07BE963}" dt="2022-09-13T22:52:00.020" v="4383"/>
          <ac:spMkLst>
            <pc:docMk/>
            <pc:sldMk cId="1292271749" sldId="371"/>
            <ac:spMk id="22" creationId="{658BAA2A-760D-C672-2B8B-FCCE85F4FF59}"/>
          </ac:spMkLst>
        </pc:spChg>
        <pc:spChg chg="add mod">
          <ac:chgData name="Kory Thacher (APPS / POWERSHELL)" userId="995eb0f2-f21c-467c-a947-4f8fc26d0f2e" providerId="ADAL" clId="{D6AE3920-5CE7-415D-B2E3-8920D07BE963}" dt="2022-09-13T22:52:00.020" v="4383"/>
          <ac:spMkLst>
            <pc:docMk/>
            <pc:sldMk cId="1292271749" sldId="371"/>
            <ac:spMk id="23" creationId="{58177D86-5D3A-C760-31AF-45522E5B61F5}"/>
          </ac:spMkLst>
        </pc:spChg>
        <pc:spChg chg="add mod">
          <ac:chgData name="Kory Thacher (APPS / POWERSHELL)" userId="995eb0f2-f21c-467c-a947-4f8fc26d0f2e" providerId="ADAL" clId="{D6AE3920-5CE7-415D-B2E3-8920D07BE963}" dt="2022-09-13T22:52:00.020" v="4383"/>
          <ac:spMkLst>
            <pc:docMk/>
            <pc:sldMk cId="1292271749" sldId="371"/>
            <ac:spMk id="24" creationId="{CF30087A-545C-81FB-5327-57475B662037}"/>
          </ac:spMkLst>
        </pc:spChg>
        <pc:spChg chg="add mod">
          <ac:chgData name="Kory Thacher (APPS / POWERSHELL)" userId="995eb0f2-f21c-467c-a947-4f8fc26d0f2e" providerId="ADAL" clId="{D6AE3920-5CE7-415D-B2E3-8920D07BE963}" dt="2022-09-13T22:52:00.020" v="4383"/>
          <ac:spMkLst>
            <pc:docMk/>
            <pc:sldMk cId="1292271749" sldId="371"/>
            <ac:spMk id="25" creationId="{403F3BD4-8410-2B8C-470B-D778F5D50E27}"/>
          </ac:spMkLst>
        </pc:spChg>
        <pc:spChg chg="add mod">
          <ac:chgData name="Kory Thacher (APPS / POWERSHELL)" userId="995eb0f2-f21c-467c-a947-4f8fc26d0f2e" providerId="ADAL" clId="{D6AE3920-5CE7-415D-B2E3-8920D07BE963}" dt="2022-09-13T22:52:00.020" v="4383"/>
          <ac:spMkLst>
            <pc:docMk/>
            <pc:sldMk cId="1292271749" sldId="371"/>
            <ac:spMk id="26" creationId="{18003C04-1878-5CC8-77DF-B0A94768D11D}"/>
          </ac:spMkLst>
        </pc:spChg>
        <pc:spChg chg="add mod">
          <ac:chgData name="Kory Thacher (APPS / POWERSHELL)" userId="995eb0f2-f21c-467c-a947-4f8fc26d0f2e" providerId="ADAL" clId="{D6AE3920-5CE7-415D-B2E3-8920D07BE963}" dt="2022-09-13T22:52:00.020" v="4383"/>
          <ac:spMkLst>
            <pc:docMk/>
            <pc:sldMk cId="1292271749" sldId="371"/>
            <ac:spMk id="27" creationId="{83A2F4A0-0E54-C221-B547-AF69E7BB058E}"/>
          </ac:spMkLst>
        </pc:spChg>
        <pc:spChg chg="add mod">
          <ac:chgData name="Kory Thacher (APPS / POWERSHELL)" userId="995eb0f2-f21c-467c-a947-4f8fc26d0f2e" providerId="ADAL" clId="{D6AE3920-5CE7-415D-B2E3-8920D07BE963}" dt="2022-09-13T22:52:00.020" v="4383"/>
          <ac:spMkLst>
            <pc:docMk/>
            <pc:sldMk cId="1292271749" sldId="371"/>
            <ac:spMk id="28" creationId="{FF3507BB-BBB5-A185-0E38-CED58D112D57}"/>
          </ac:spMkLst>
        </pc:spChg>
        <pc:spChg chg="add mod">
          <ac:chgData name="Kory Thacher (APPS / POWERSHELL)" userId="995eb0f2-f21c-467c-a947-4f8fc26d0f2e" providerId="ADAL" clId="{D6AE3920-5CE7-415D-B2E3-8920D07BE963}" dt="2022-09-13T22:52:00.020" v="4383"/>
          <ac:spMkLst>
            <pc:docMk/>
            <pc:sldMk cId="1292271749" sldId="371"/>
            <ac:spMk id="29" creationId="{3371717C-905E-0284-BF64-CD42DE80B6B5}"/>
          </ac:spMkLst>
        </pc:spChg>
        <pc:spChg chg="add mod">
          <ac:chgData name="Kory Thacher (APPS / POWERSHELL)" userId="995eb0f2-f21c-467c-a947-4f8fc26d0f2e" providerId="ADAL" clId="{D6AE3920-5CE7-415D-B2E3-8920D07BE963}" dt="2022-09-13T22:52:00.020" v="4383"/>
          <ac:spMkLst>
            <pc:docMk/>
            <pc:sldMk cId="1292271749" sldId="371"/>
            <ac:spMk id="30" creationId="{447B0ADE-E488-47B5-E2D6-67318C69FB27}"/>
          </ac:spMkLst>
        </pc:spChg>
        <pc:spChg chg="add mod">
          <ac:chgData name="Kory Thacher (APPS / POWERSHELL)" userId="995eb0f2-f21c-467c-a947-4f8fc26d0f2e" providerId="ADAL" clId="{D6AE3920-5CE7-415D-B2E3-8920D07BE963}" dt="2022-09-13T22:52:00.020" v="4383"/>
          <ac:spMkLst>
            <pc:docMk/>
            <pc:sldMk cId="1292271749" sldId="371"/>
            <ac:spMk id="31" creationId="{89C302AD-D104-DC1F-C833-5707F1497809}"/>
          </ac:spMkLst>
        </pc:spChg>
        <pc:spChg chg="add mod">
          <ac:chgData name="Kory Thacher (APPS / POWERSHELL)" userId="995eb0f2-f21c-467c-a947-4f8fc26d0f2e" providerId="ADAL" clId="{D6AE3920-5CE7-415D-B2E3-8920D07BE963}" dt="2022-09-13T22:52:00.020" v="4383"/>
          <ac:spMkLst>
            <pc:docMk/>
            <pc:sldMk cId="1292271749" sldId="371"/>
            <ac:spMk id="32" creationId="{96188478-83D0-CD15-BEC0-A48A1391043C}"/>
          </ac:spMkLst>
        </pc:spChg>
        <pc:spChg chg="add mod">
          <ac:chgData name="Kory Thacher (APPS / POWERSHELL)" userId="995eb0f2-f21c-467c-a947-4f8fc26d0f2e" providerId="ADAL" clId="{D6AE3920-5CE7-415D-B2E3-8920D07BE963}" dt="2022-09-13T22:52:00.020" v="4383"/>
          <ac:spMkLst>
            <pc:docMk/>
            <pc:sldMk cId="1292271749" sldId="371"/>
            <ac:spMk id="33" creationId="{C6AF511A-B857-696F-19A0-8B3B19C7E76B}"/>
          </ac:spMkLst>
        </pc:spChg>
        <pc:spChg chg="add mod">
          <ac:chgData name="Kory Thacher (APPS / POWERSHELL)" userId="995eb0f2-f21c-467c-a947-4f8fc26d0f2e" providerId="ADAL" clId="{D6AE3920-5CE7-415D-B2E3-8920D07BE963}" dt="2022-09-13T22:52:00.020" v="4383"/>
          <ac:spMkLst>
            <pc:docMk/>
            <pc:sldMk cId="1292271749" sldId="371"/>
            <ac:spMk id="34" creationId="{CDC94B29-4D5B-622A-045F-6D65EB01488C}"/>
          </ac:spMkLst>
        </pc:spChg>
        <pc:grpChg chg="add mod">
          <ac:chgData name="Kory Thacher (APPS / POWERSHELL)" userId="995eb0f2-f21c-467c-a947-4f8fc26d0f2e" providerId="ADAL" clId="{D6AE3920-5CE7-415D-B2E3-8920D07BE963}" dt="2022-09-13T22:52:00.020" v="4383"/>
          <ac:grpSpMkLst>
            <pc:docMk/>
            <pc:sldMk cId="1292271749" sldId="371"/>
            <ac:grpSpMk id="5" creationId="{1EF9F4BD-1490-6055-8CAB-49A30B26C6D4}"/>
          </ac:grpSpMkLst>
        </pc:grpChg>
        <pc:grpChg chg="add mod">
          <ac:chgData name="Kory Thacher (APPS / POWERSHELL)" userId="995eb0f2-f21c-467c-a947-4f8fc26d0f2e" providerId="ADAL" clId="{D6AE3920-5CE7-415D-B2E3-8920D07BE963}" dt="2022-09-13T22:52:00.020" v="4383"/>
          <ac:grpSpMkLst>
            <pc:docMk/>
            <pc:sldMk cId="1292271749" sldId="371"/>
            <ac:grpSpMk id="6" creationId="{9CA18A6F-4144-2A1B-2F1A-4416A6E4FA34}"/>
          </ac:grpSpMkLst>
        </pc:grpChg>
        <pc:grpChg chg="add mod">
          <ac:chgData name="Kory Thacher (APPS / POWERSHELL)" userId="995eb0f2-f21c-467c-a947-4f8fc26d0f2e" providerId="ADAL" clId="{D6AE3920-5CE7-415D-B2E3-8920D07BE963}" dt="2022-09-13T22:52:00.020" v="4383"/>
          <ac:grpSpMkLst>
            <pc:docMk/>
            <pc:sldMk cId="1292271749" sldId="371"/>
            <ac:grpSpMk id="7" creationId="{2F1B10F3-B634-CAFC-1885-823B2A77D104}"/>
          </ac:grpSpMkLst>
        </pc:grpChg>
        <pc:grpChg chg="add mod">
          <ac:chgData name="Kory Thacher (APPS / POWERSHELL)" userId="995eb0f2-f21c-467c-a947-4f8fc26d0f2e" providerId="ADAL" clId="{D6AE3920-5CE7-415D-B2E3-8920D07BE963}" dt="2022-09-13T22:52:00.020" v="4383"/>
          <ac:grpSpMkLst>
            <pc:docMk/>
            <pc:sldMk cId="1292271749" sldId="371"/>
            <ac:grpSpMk id="8" creationId="{892DBA44-D03B-F06D-069D-4B0039D8C125}"/>
          </ac:grpSpMkLst>
        </pc:grpChg>
        <pc:grpChg chg="add mod">
          <ac:chgData name="Kory Thacher (APPS / POWERSHELL)" userId="995eb0f2-f21c-467c-a947-4f8fc26d0f2e" providerId="ADAL" clId="{D6AE3920-5CE7-415D-B2E3-8920D07BE963}" dt="2022-09-13T22:52:00.020" v="4383"/>
          <ac:grpSpMkLst>
            <pc:docMk/>
            <pc:sldMk cId="1292271749" sldId="371"/>
            <ac:grpSpMk id="9" creationId="{D7130817-782E-5CA6-06EF-54C39252E119}"/>
          </ac:grpSpMkLst>
        </pc:grpChg>
        <pc:grpChg chg="add mod">
          <ac:chgData name="Kory Thacher (APPS / POWERSHELL)" userId="995eb0f2-f21c-467c-a947-4f8fc26d0f2e" providerId="ADAL" clId="{D6AE3920-5CE7-415D-B2E3-8920D07BE963}" dt="2022-09-13T22:52:00.020" v="4383"/>
          <ac:grpSpMkLst>
            <pc:docMk/>
            <pc:sldMk cId="1292271749" sldId="371"/>
            <ac:grpSpMk id="10" creationId="{5A038A45-D095-EF49-7671-631C23B27FAB}"/>
          </ac:grpSpMkLst>
        </pc:grpChg>
        <pc:grpChg chg="add mod">
          <ac:chgData name="Kory Thacher (APPS / POWERSHELL)" userId="995eb0f2-f21c-467c-a947-4f8fc26d0f2e" providerId="ADAL" clId="{D6AE3920-5CE7-415D-B2E3-8920D07BE963}" dt="2022-09-13T22:52:00.020" v="4383"/>
          <ac:grpSpMkLst>
            <pc:docMk/>
            <pc:sldMk cId="1292271749" sldId="371"/>
            <ac:grpSpMk id="11" creationId="{7F0EF5BA-57FA-1FB6-4387-62870F9FBE82}"/>
          </ac:grpSpMkLst>
        </pc:grpChg>
        <pc:grpChg chg="add mod">
          <ac:chgData name="Kory Thacher (APPS / POWERSHELL)" userId="995eb0f2-f21c-467c-a947-4f8fc26d0f2e" providerId="ADAL" clId="{D6AE3920-5CE7-415D-B2E3-8920D07BE963}" dt="2022-09-13T22:52:00.020" v="4383"/>
          <ac:grpSpMkLst>
            <pc:docMk/>
            <pc:sldMk cId="1292271749" sldId="371"/>
            <ac:grpSpMk id="12" creationId="{AE808897-60BF-E15E-D89B-B61CA1AAB4E3}"/>
          </ac:grpSpMkLst>
        </pc:grpChg>
        <pc:grpChg chg="add mod">
          <ac:chgData name="Kory Thacher (APPS / POWERSHELL)" userId="995eb0f2-f21c-467c-a947-4f8fc26d0f2e" providerId="ADAL" clId="{D6AE3920-5CE7-415D-B2E3-8920D07BE963}" dt="2022-09-13T22:52:00.020" v="4383"/>
          <ac:grpSpMkLst>
            <pc:docMk/>
            <pc:sldMk cId="1292271749" sldId="371"/>
            <ac:grpSpMk id="13" creationId="{26DA1997-40D4-3CBB-F787-7A0B53371CE7}"/>
          </ac:grpSpMkLst>
        </pc:grpChg>
        <pc:grpChg chg="add mod">
          <ac:chgData name="Kory Thacher (APPS / POWERSHELL)" userId="995eb0f2-f21c-467c-a947-4f8fc26d0f2e" providerId="ADAL" clId="{D6AE3920-5CE7-415D-B2E3-8920D07BE963}" dt="2022-09-13T22:52:00.020" v="4383"/>
          <ac:grpSpMkLst>
            <pc:docMk/>
            <pc:sldMk cId="1292271749" sldId="371"/>
            <ac:grpSpMk id="14" creationId="{80E94ED9-8051-FDCB-7C35-E941B8018E44}"/>
          </ac:grpSpMkLst>
        </pc:grpChg>
        <pc:graphicFrameChg chg="mod">
          <ac:chgData name="Kory Thacher (APPS / POWERSHELL)" userId="995eb0f2-f21c-467c-a947-4f8fc26d0f2e" providerId="ADAL" clId="{D6AE3920-5CE7-415D-B2E3-8920D07BE963}" dt="2022-09-26T21:30:25.220" v="5234" actId="14100"/>
          <ac:graphicFrameMkLst>
            <pc:docMk/>
            <pc:sldMk cId="1292271749" sldId="371"/>
            <ac:graphicFrameMk id="2" creationId="{25280BB3-37B9-ECD9-74DE-77B0B013816C}"/>
          </ac:graphicFrameMkLst>
        </pc:graphicFrameChg>
        <pc:graphicFrameChg chg="add del mod">
          <ac:chgData name="Kory Thacher (APPS / POWERSHELL)" userId="995eb0f2-f21c-467c-a947-4f8fc26d0f2e" providerId="ADAL" clId="{D6AE3920-5CE7-415D-B2E3-8920D07BE963}" dt="2022-09-26T21:21:30.544" v="4783" actId="478"/>
          <ac:graphicFrameMkLst>
            <pc:docMk/>
            <pc:sldMk cId="1292271749" sldId="371"/>
            <ac:graphicFrameMk id="4" creationId="{CFCFF05D-D739-637B-3BB9-6BF4C5A55F8A}"/>
          </ac:graphicFrameMkLst>
        </pc:graphicFrameChg>
        <pc:graphicFrameChg chg="add del mod">
          <ac:chgData name="Kory Thacher (APPS / POWERSHELL)" userId="995eb0f2-f21c-467c-a947-4f8fc26d0f2e" providerId="ADAL" clId="{D6AE3920-5CE7-415D-B2E3-8920D07BE963}" dt="2022-09-26T21:21:32.902" v="4784" actId="478"/>
          <ac:graphicFrameMkLst>
            <pc:docMk/>
            <pc:sldMk cId="1292271749" sldId="371"/>
            <ac:graphicFrameMk id="35" creationId="{3A25717A-3FDF-8D56-0E18-E97B87DA8CE2}"/>
          </ac:graphicFrameMkLst>
        </pc:graphicFrameChg>
      </pc:sldChg>
      <pc:sldChg chg="addSp modSp add del mod">
        <pc:chgData name="Kory Thacher (APPS / POWERSHELL)" userId="995eb0f2-f21c-467c-a947-4f8fc26d0f2e" providerId="ADAL" clId="{D6AE3920-5CE7-415D-B2E3-8920D07BE963}" dt="2022-09-13T22:27:57.035" v="3213" actId="47"/>
        <pc:sldMkLst>
          <pc:docMk/>
          <pc:sldMk cId="1371504404" sldId="371"/>
        </pc:sldMkLst>
        <pc:spChg chg="add mod">
          <ac:chgData name="Kory Thacher (APPS / POWERSHELL)" userId="995eb0f2-f21c-467c-a947-4f8fc26d0f2e" providerId="ADAL" clId="{D6AE3920-5CE7-415D-B2E3-8920D07BE963}" dt="2022-09-13T22:18:33.634" v="3194" actId="1076"/>
          <ac:spMkLst>
            <pc:docMk/>
            <pc:sldMk cId="1371504404" sldId="371"/>
            <ac:spMk id="2" creationId="{A7F25C56-CD1E-9279-667A-CAB208178B9E}"/>
          </ac:spMkLst>
        </pc:spChg>
      </pc:sldChg>
      <pc:sldChg chg="addSp delSp modSp add del mod modShow">
        <pc:chgData name="Kory Thacher (APPS / POWERSHELL)" userId="995eb0f2-f21c-467c-a947-4f8fc26d0f2e" providerId="ADAL" clId="{D6AE3920-5CE7-415D-B2E3-8920D07BE963}" dt="2022-09-26T22:10:33.547" v="5825" actId="47"/>
        <pc:sldMkLst>
          <pc:docMk/>
          <pc:sldMk cId="1761979091" sldId="372"/>
        </pc:sldMkLst>
        <pc:graphicFrameChg chg="mod">
          <ac:chgData name="Kory Thacher (APPS / POWERSHELL)" userId="995eb0f2-f21c-467c-a947-4f8fc26d0f2e" providerId="ADAL" clId="{D6AE3920-5CE7-415D-B2E3-8920D07BE963}" dt="2022-09-13T22:59:39.647" v="4621" actId="20577"/>
          <ac:graphicFrameMkLst>
            <pc:docMk/>
            <pc:sldMk cId="1761979091" sldId="372"/>
            <ac:graphicFrameMk id="2" creationId="{25280BB3-37B9-ECD9-74DE-77B0B013816C}"/>
          </ac:graphicFrameMkLst>
        </pc:graphicFrameChg>
        <pc:graphicFrameChg chg="add del mod">
          <ac:chgData name="Kory Thacher (APPS / POWERSHELL)" userId="995eb0f2-f21c-467c-a947-4f8fc26d0f2e" providerId="ADAL" clId="{D6AE3920-5CE7-415D-B2E3-8920D07BE963}" dt="2022-09-13T22:58:50.900" v="4617" actId="478"/>
          <ac:graphicFrameMkLst>
            <pc:docMk/>
            <pc:sldMk cId="1761979091" sldId="372"/>
            <ac:graphicFrameMk id="4" creationId="{7E85550A-66F6-371D-F2B2-6B972F207BDD}"/>
          </ac:graphicFrameMkLst>
        </pc:graphicFrameChg>
        <pc:picChg chg="add mod">
          <ac:chgData name="Kory Thacher (APPS / POWERSHELL)" userId="995eb0f2-f21c-467c-a947-4f8fc26d0f2e" providerId="ADAL" clId="{D6AE3920-5CE7-415D-B2E3-8920D07BE963}" dt="2022-09-26T21:43:32.586" v="5236" actId="1076"/>
          <ac:picMkLst>
            <pc:docMk/>
            <pc:sldMk cId="1761979091" sldId="372"/>
            <ac:picMk id="5" creationId="{88542CB3-0AA3-D45C-345D-CA5183F150EB}"/>
          </ac:picMkLst>
        </pc:picChg>
      </pc:sldChg>
      <pc:sldChg chg="add del">
        <pc:chgData name="Kory Thacher (APPS / POWERSHELL)" userId="995eb0f2-f21c-467c-a947-4f8fc26d0f2e" providerId="ADAL" clId="{D6AE3920-5CE7-415D-B2E3-8920D07BE963}" dt="2022-09-26T22:17:07.570" v="6629" actId="47"/>
        <pc:sldMkLst>
          <pc:docMk/>
          <pc:sldMk cId="3034238744" sldId="373"/>
        </pc:sldMkLst>
      </pc:sldChg>
      <pc:sldChg chg="modSp mod modNotesTx">
        <pc:chgData name="Kory Thacher (APPS / POWERSHELL)" userId="995eb0f2-f21c-467c-a947-4f8fc26d0f2e" providerId="ADAL" clId="{D6AE3920-5CE7-415D-B2E3-8920D07BE963}" dt="2022-09-26T22:16:46.757" v="6627" actId="20577"/>
        <pc:sldMkLst>
          <pc:docMk/>
          <pc:sldMk cId="399634550" sldId="374"/>
        </pc:sldMkLst>
        <pc:spChg chg="mod">
          <ac:chgData name="Kory Thacher (APPS / POWERSHELL)" userId="995eb0f2-f21c-467c-a947-4f8fc26d0f2e" providerId="ADAL" clId="{D6AE3920-5CE7-415D-B2E3-8920D07BE963}" dt="2022-09-26T22:16:46.757" v="6627" actId="20577"/>
          <ac:spMkLst>
            <pc:docMk/>
            <pc:sldMk cId="399634550" sldId="374"/>
            <ac:spMk id="3" creationId="{276763AC-E01B-45D0-806A-1F2948DFF0A8}"/>
          </ac:spMkLst>
        </pc:spChg>
        <pc:graphicFrameChg chg="mod">
          <ac:chgData name="Kory Thacher (APPS / POWERSHELL)" userId="995eb0f2-f21c-467c-a947-4f8fc26d0f2e" providerId="ADAL" clId="{D6AE3920-5CE7-415D-B2E3-8920D07BE963}" dt="2022-09-26T22:12:19.102" v="5864" actId="113"/>
          <ac:graphicFrameMkLst>
            <pc:docMk/>
            <pc:sldMk cId="399634550" sldId="374"/>
            <ac:graphicFrameMk id="2" creationId="{25280BB3-37B9-ECD9-74DE-77B0B013816C}"/>
          </ac:graphicFrameMkLst>
        </pc:graphicFrameChg>
      </pc:sldChg>
      <pc:sldChg chg="addSp modSp add del mod">
        <pc:chgData name="Kory Thacher (APPS / POWERSHELL)" userId="995eb0f2-f21c-467c-a947-4f8fc26d0f2e" providerId="ADAL" clId="{D6AE3920-5CE7-415D-B2E3-8920D07BE963}" dt="2022-09-26T22:10:33.547" v="5825" actId="47"/>
        <pc:sldMkLst>
          <pc:docMk/>
          <pc:sldMk cId="1126814906" sldId="375"/>
        </pc:sldMkLst>
        <pc:graphicFrameChg chg="mod">
          <ac:chgData name="Kory Thacher (APPS / POWERSHELL)" userId="995eb0f2-f21c-467c-a947-4f8fc26d0f2e" providerId="ADAL" clId="{D6AE3920-5CE7-415D-B2E3-8920D07BE963}" dt="2022-09-26T21:50:44.708" v="5503" actId="14100"/>
          <ac:graphicFrameMkLst>
            <pc:docMk/>
            <pc:sldMk cId="1126814906" sldId="375"/>
            <ac:graphicFrameMk id="2" creationId="{25280BB3-37B9-ECD9-74DE-77B0B013816C}"/>
          </ac:graphicFrameMkLst>
        </pc:graphicFrameChg>
        <pc:picChg chg="add mod modCrop">
          <ac:chgData name="Kory Thacher (APPS / POWERSHELL)" userId="995eb0f2-f21c-467c-a947-4f8fc26d0f2e" providerId="ADAL" clId="{D6AE3920-5CE7-415D-B2E3-8920D07BE963}" dt="2022-09-26T21:51:15.281" v="5509" actId="1076"/>
          <ac:picMkLst>
            <pc:docMk/>
            <pc:sldMk cId="1126814906" sldId="375"/>
            <ac:picMk id="4" creationId="{EBAE6D1F-D52F-8EFB-9F6F-5C09A6DD81CE}"/>
          </ac:picMkLst>
        </pc:picChg>
      </pc:sldChg>
      <pc:sldChg chg="modSp add del mod">
        <pc:chgData name="Kory Thacher (APPS / POWERSHELL)" userId="995eb0f2-f21c-467c-a947-4f8fc26d0f2e" providerId="ADAL" clId="{D6AE3920-5CE7-415D-B2E3-8920D07BE963}" dt="2022-09-26T22:10:33.547" v="5825" actId="47"/>
        <pc:sldMkLst>
          <pc:docMk/>
          <pc:sldMk cId="1874194974" sldId="376"/>
        </pc:sldMkLst>
        <pc:graphicFrameChg chg="mod">
          <ac:chgData name="Kory Thacher (APPS / POWERSHELL)" userId="995eb0f2-f21c-467c-a947-4f8fc26d0f2e" providerId="ADAL" clId="{D6AE3920-5CE7-415D-B2E3-8920D07BE963}" dt="2022-09-26T21:52:32.077" v="5514" actId="20577"/>
          <ac:graphicFrameMkLst>
            <pc:docMk/>
            <pc:sldMk cId="1874194974" sldId="376"/>
            <ac:graphicFrameMk id="2" creationId="{25280BB3-37B9-ECD9-74DE-77B0B013816C}"/>
          </ac:graphicFrameMkLst>
        </pc:graphicFrameChg>
        <pc:picChg chg="mod">
          <ac:chgData name="Kory Thacher (APPS / POWERSHELL)" userId="995eb0f2-f21c-467c-a947-4f8fc26d0f2e" providerId="ADAL" clId="{D6AE3920-5CE7-415D-B2E3-8920D07BE963}" dt="2022-09-26T21:52:38.754" v="5515" actId="1076"/>
          <ac:picMkLst>
            <pc:docMk/>
            <pc:sldMk cId="1874194974" sldId="376"/>
            <ac:picMk id="4" creationId="{EBAE6D1F-D52F-8EFB-9F6F-5C09A6DD81CE}"/>
          </ac:picMkLst>
        </pc:picChg>
      </pc:sldChg>
      <pc:sldChg chg="addSp delSp modSp add mod modShow modNotesTx">
        <pc:chgData name="Kory Thacher (APPS / POWERSHELL)" userId="995eb0f2-f21c-467c-a947-4f8fc26d0f2e" providerId="ADAL" clId="{D6AE3920-5CE7-415D-B2E3-8920D07BE963}" dt="2022-09-26T22:16:54.063" v="6628" actId="729"/>
        <pc:sldMkLst>
          <pc:docMk/>
          <pc:sldMk cId="215398212" sldId="377"/>
        </pc:sldMkLst>
        <pc:graphicFrameChg chg="mod modGraphic">
          <ac:chgData name="Kory Thacher (APPS / POWERSHELL)" userId="995eb0f2-f21c-467c-a947-4f8fc26d0f2e" providerId="ADAL" clId="{D6AE3920-5CE7-415D-B2E3-8920D07BE963}" dt="2022-09-26T21:59:12.678" v="5810" actId="20577"/>
          <ac:graphicFrameMkLst>
            <pc:docMk/>
            <pc:sldMk cId="215398212" sldId="377"/>
            <ac:graphicFrameMk id="2" creationId="{25280BB3-37B9-ECD9-74DE-77B0B013816C}"/>
          </ac:graphicFrameMkLst>
        </pc:graphicFrameChg>
        <pc:picChg chg="del mod">
          <ac:chgData name="Kory Thacher (APPS / POWERSHELL)" userId="995eb0f2-f21c-467c-a947-4f8fc26d0f2e" providerId="ADAL" clId="{D6AE3920-5CE7-415D-B2E3-8920D07BE963}" dt="2022-09-26T22:09:14.460" v="5812" actId="478"/>
          <ac:picMkLst>
            <pc:docMk/>
            <pc:sldMk cId="215398212" sldId="377"/>
            <ac:picMk id="4" creationId="{EBAE6D1F-D52F-8EFB-9F6F-5C09A6DD81CE}"/>
          </ac:picMkLst>
        </pc:picChg>
        <pc:picChg chg="add del mod">
          <ac:chgData name="Kory Thacher (APPS / POWERSHELL)" userId="995eb0f2-f21c-467c-a947-4f8fc26d0f2e" providerId="ADAL" clId="{D6AE3920-5CE7-415D-B2E3-8920D07BE963}" dt="2022-09-26T22:09:31.396" v="5816" actId="478"/>
          <ac:picMkLst>
            <pc:docMk/>
            <pc:sldMk cId="215398212" sldId="377"/>
            <ac:picMk id="6" creationId="{65BEB42C-28E5-8169-305B-7B3B1DC56B3E}"/>
          </ac:picMkLst>
        </pc:picChg>
        <pc:picChg chg="add mod">
          <ac:chgData name="Kory Thacher (APPS / POWERSHELL)" userId="995eb0f2-f21c-467c-a947-4f8fc26d0f2e" providerId="ADAL" clId="{D6AE3920-5CE7-415D-B2E3-8920D07BE963}" dt="2022-09-26T22:10:00.822" v="5822" actId="1440"/>
          <ac:picMkLst>
            <pc:docMk/>
            <pc:sldMk cId="215398212" sldId="377"/>
            <ac:picMk id="8" creationId="{D4D09CC7-8526-0FDD-98F8-E339D66EF1D5}"/>
          </ac:picMkLst>
        </pc:picChg>
      </pc:sldChg>
      <pc:sldChg chg="add del">
        <pc:chgData name="Kory Thacher (APPS / POWERSHELL)" userId="995eb0f2-f21c-467c-a947-4f8fc26d0f2e" providerId="ADAL" clId="{D6AE3920-5CE7-415D-B2E3-8920D07BE963}" dt="2022-09-26T21:53:39.561" v="5519" actId="47"/>
        <pc:sldMkLst>
          <pc:docMk/>
          <pc:sldMk cId="251021549" sldId="378"/>
        </pc:sldMkLst>
      </pc:sldChg>
    </pc:docChg>
  </pc:docChgLst>
  <pc:docChgLst>
    <pc:chgData name="Tony Radkiewicz" userId="9832534a-7e4f-4058-9c41-7f4a5b855c95" providerId="ADAL" clId="{CC590D0D-F3F9-4300-B40A-CB186A11F7C7}"/>
    <pc:docChg chg="undo custSel addSld delSld modSld modSection">
      <pc:chgData name="Tony Radkiewicz" userId="9832534a-7e4f-4058-9c41-7f4a5b855c95" providerId="ADAL" clId="{CC590D0D-F3F9-4300-B40A-CB186A11F7C7}" dt="2022-12-12T22:21:05.242" v="1541" actId="1076"/>
      <pc:docMkLst>
        <pc:docMk/>
      </pc:docMkLst>
      <pc:sldChg chg="modSp mod">
        <pc:chgData name="Tony Radkiewicz" userId="9832534a-7e4f-4058-9c41-7f4a5b855c95" providerId="ADAL" clId="{CC590D0D-F3F9-4300-B40A-CB186A11F7C7}" dt="2022-12-12T20:21:55.740" v="1412" actId="1076"/>
        <pc:sldMkLst>
          <pc:docMk/>
          <pc:sldMk cId="1895228649" sldId="276"/>
        </pc:sldMkLst>
        <pc:picChg chg="mod">
          <ac:chgData name="Tony Radkiewicz" userId="9832534a-7e4f-4058-9c41-7f4a5b855c95" providerId="ADAL" clId="{CC590D0D-F3F9-4300-B40A-CB186A11F7C7}" dt="2022-12-12T20:21:55.740" v="1412" actId="1076"/>
          <ac:picMkLst>
            <pc:docMk/>
            <pc:sldMk cId="1895228649" sldId="276"/>
            <ac:picMk id="7" creationId="{723E510E-ED01-A15E-D2CB-94D380EB0824}"/>
          </ac:picMkLst>
        </pc:picChg>
      </pc:sldChg>
      <pc:sldChg chg="modSp del mod">
        <pc:chgData name="Tony Radkiewicz" userId="9832534a-7e4f-4058-9c41-7f4a5b855c95" providerId="ADAL" clId="{CC590D0D-F3F9-4300-B40A-CB186A11F7C7}" dt="2022-11-03T18:18:56.843" v="163" actId="2696"/>
        <pc:sldMkLst>
          <pc:docMk/>
          <pc:sldMk cId="669144298" sldId="288"/>
        </pc:sldMkLst>
        <pc:spChg chg="mod">
          <ac:chgData name="Tony Radkiewicz" userId="9832534a-7e4f-4058-9c41-7f4a5b855c95" providerId="ADAL" clId="{CC590D0D-F3F9-4300-B40A-CB186A11F7C7}" dt="2022-11-03T17:14:43.801" v="8" actId="20577"/>
          <ac:spMkLst>
            <pc:docMk/>
            <pc:sldMk cId="669144298" sldId="288"/>
            <ac:spMk id="13" creationId="{656CC01F-87E8-421C-9E91-56BFC84B030C}"/>
          </ac:spMkLst>
        </pc:spChg>
      </pc:sldChg>
      <pc:sldChg chg="modSp mod">
        <pc:chgData name="Tony Radkiewicz" userId="9832534a-7e4f-4058-9c41-7f4a5b855c95" providerId="ADAL" clId="{CC590D0D-F3F9-4300-B40A-CB186A11F7C7}" dt="2022-11-03T18:26:42.498" v="244" actId="1076"/>
        <pc:sldMkLst>
          <pc:docMk/>
          <pc:sldMk cId="922116737" sldId="289"/>
        </pc:sldMkLst>
        <pc:spChg chg="mod">
          <ac:chgData name="Tony Radkiewicz" userId="9832534a-7e4f-4058-9c41-7f4a5b855c95" providerId="ADAL" clId="{CC590D0D-F3F9-4300-B40A-CB186A11F7C7}" dt="2022-11-03T18:26:42.498" v="244" actId="1076"/>
          <ac:spMkLst>
            <pc:docMk/>
            <pc:sldMk cId="922116737" sldId="289"/>
            <ac:spMk id="7" creationId="{91CCF221-F767-49B9-9CD9-076467D04D53}"/>
          </ac:spMkLst>
        </pc:spChg>
        <pc:graphicFrameChg chg="mod">
          <ac:chgData name="Tony Radkiewicz" userId="9832534a-7e4f-4058-9c41-7f4a5b855c95" providerId="ADAL" clId="{CC590D0D-F3F9-4300-B40A-CB186A11F7C7}" dt="2022-11-03T18:23:04.164" v="236" actId="20577"/>
          <ac:graphicFrameMkLst>
            <pc:docMk/>
            <pc:sldMk cId="922116737" sldId="289"/>
            <ac:graphicFrameMk id="6" creationId="{FCA1D9CC-C608-A338-3D9F-9625B499C82B}"/>
          </ac:graphicFrameMkLst>
        </pc:graphicFrameChg>
      </pc:sldChg>
      <pc:sldChg chg="addSp delSp modSp mod delCm">
        <pc:chgData name="Tony Radkiewicz" userId="9832534a-7e4f-4058-9c41-7f4a5b855c95" providerId="ADAL" clId="{CC590D0D-F3F9-4300-B40A-CB186A11F7C7}" dt="2022-12-01T21:52:05.763" v="1099" actId="14100"/>
        <pc:sldMkLst>
          <pc:docMk/>
          <pc:sldMk cId="1677061110" sldId="300"/>
        </pc:sldMkLst>
        <pc:spChg chg="del mod">
          <ac:chgData name="Tony Radkiewicz" userId="9832534a-7e4f-4058-9c41-7f4a5b855c95" providerId="ADAL" clId="{CC590D0D-F3F9-4300-B40A-CB186A11F7C7}" dt="2022-12-01T21:38:18.079" v="1058" actId="478"/>
          <ac:spMkLst>
            <pc:docMk/>
            <pc:sldMk cId="1677061110" sldId="300"/>
            <ac:spMk id="4" creationId="{1EF2D4DB-93BE-433A-8B00-2424E408820C}"/>
          </ac:spMkLst>
        </pc:spChg>
        <pc:spChg chg="add del mod">
          <ac:chgData name="Tony Radkiewicz" userId="9832534a-7e4f-4058-9c41-7f4a5b855c95" providerId="ADAL" clId="{CC590D0D-F3F9-4300-B40A-CB186A11F7C7}" dt="2022-12-01T21:49:10.876" v="1060" actId="478"/>
          <ac:spMkLst>
            <pc:docMk/>
            <pc:sldMk cId="1677061110" sldId="300"/>
            <ac:spMk id="5" creationId="{485BC0D4-F037-B66E-C380-E2484398F0E4}"/>
          </ac:spMkLst>
        </pc:spChg>
        <pc:spChg chg="mod">
          <ac:chgData name="Tony Radkiewicz" userId="9832534a-7e4f-4058-9c41-7f4a5b855c95" providerId="ADAL" clId="{CC590D0D-F3F9-4300-B40A-CB186A11F7C7}" dt="2022-12-01T21:52:05.763" v="1099" actId="14100"/>
          <ac:spMkLst>
            <pc:docMk/>
            <pc:sldMk cId="1677061110" sldId="300"/>
            <ac:spMk id="7" creationId="{E9080E79-A422-49A2-A5EB-E1D1FF4B5A92}"/>
          </ac:spMkLst>
        </pc:spChg>
        <pc:spChg chg="del mod">
          <ac:chgData name="Tony Radkiewicz" userId="9832534a-7e4f-4058-9c41-7f4a5b855c95" providerId="ADAL" clId="{CC590D0D-F3F9-4300-B40A-CB186A11F7C7}" dt="2022-12-01T21:49:07.656" v="1059" actId="478"/>
          <ac:spMkLst>
            <pc:docMk/>
            <pc:sldMk cId="1677061110" sldId="300"/>
            <ac:spMk id="8" creationId="{35E4F327-7886-4CDA-9356-C8AE720EB88A}"/>
          </ac:spMkLst>
        </pc:spChg>
        <pc:picChg chg="mod">
          <ac:chgData name="Tony Radkiewicz" userId="9832534a-7e4f-4058-9c41-7f4a5b855c95" providerId="ADAL" clId="{CC590D0D-F3F9-4300-B40A-CB186A11F7C7}" dt="2022-12-01T21:36:44.089" v="1043" actId="1076"/>
          <ac:picMkLst>
            <pc:docMk/>
            <pc:sldMk cId="1677061110" sldId="300"/>
            <ac:picMk id="6" creationId="{335163B4-FA99-4FE7-9223-F28BE9B56C76}"/>
          </ac:picMkLst>
        </pc:picChg>
      </pc:sldChg>
      <pc:sldChg chg="addSp delSp modSp mod delCm">
        <pc:chgData name="Tony Radkiewicz" userId="9832534a-7e4f-4058-9c41-7f4a5b855c95" providerId="ADAL" clId="{CC590D0D-F3F9-4300-B40A-CB186A11F7C7}" dt="2022-12-01T21:53:24.924" v="1174" actId="1592"/>
        <pc:sldMkLst>
          <pc:docMk/>
          <pc:sldMk cId="2963838314" sldId="302"/>
        </pc:sldMkLst>
        <pc:spChg chg="del">
          <ac:chgData name="Tony Radkiewicz" userId="9832534a-7e4f-4058-9c41-7f4a5b855c95" providerId="ADAL" clId="{CC590D0D-F3F9-4300-B40A-CB186A11F7C7}" dt="2022-12-01T21:52:32.555" v="1102" actId="478"/>
          <ac:spMkLst>
            <pc:docMk/>
            <pc:sldMk cId="2963838314" sldId="302"/>
            <ac:spMk id="4" creationId="{39B6A21B-33EF-4210-B761-F429BD837B96}"/>
          </ac:spMkLst>
        </pc:spChg>
        <pc:spChg chg="add del mod">
          <ac:chgData name="Tony Radkiewicz" userId="9832534a-7e4f-4058-9c41-7f4a5b855c95" providerId="ADAL" clId="{CC590D0D-F3F9-4300-B40A-CB186A11F7C7}" dt="2022-12-01T21:52:17.988" v="1101" actId="478"/>
          <ac:spMkLst>
            <pc:docMk/>
            <pc:sldMk cId="2963838314" sldId="302"/>
            <ac:spMk id="5" creationId="{A3DC9FE1-64DA-6F9F-6FE9-E894E0573DDC}"/>
          </ac:spMkLst>
        </pc:spChg>
        <pc:spChg chg="del">
          <ac:chgData name="Tony Radkiewicz" userId="9832534a-7e4f-4058-9c41-7f4a5b855c95" providerId="ADAL" clId="{CC590D0D-F3F9-4300-B40A-CB186A11F7C7}" dt="2022-12-01T21:52:15.727" v="1100" actId="478"/>
          <ac:spMkLst>
            <pc:docMk/>
            <pc:sldMk cId="2963838314" sldId="302"/>
            <ac:spMk id="6" creationId="{C6C65A14-8889-4A3A-92EE-92882A193E0E}"/>
          </ac:spMkLst>
        </pc:spChg>
        <pc:spChg chg="mod">
          <ac:chgData name="Tony Radkiewicz" userId="9832534a-7e4f-4058-9c41-7f4a5b855c95" providerId="ADAL" clId="{CC590D0D-F3F9-4300-B40A-CB186A11F7C7}" dt="2022-12-01T21:53:11.126" v="1171" actId="1076"/>
          <ac:spMkLst>
            <pc:docMk/>
            <pc:sldMk cId="2963838314" sldId="302"/>
            <ac:spMk id="9" creationId="{699E44E3-2C84-47CE-8641-D08A3C53A6E4}"/>
          </ac:spMkLst>
        </pc:spChg>
        <pc:spChg chg="mod">
          <ac:chgData name="Tony Radkiewicz" userId="9832534a-7e4f-4058-9c41-7f4a5b855c95" providerId="ADAL" clId="{CC590D0D-F3F9-4300-B40A-CB186A11F7C7}" dt="2022-12-01T21:52:58.690" v="1167" actId="1076"/>
          <ac:spMkLst>
            <pc:docMk/>
            <pc:sldMk cId="2963838314" sldId="302"/>
            <ac:spMk id="10" creationId="{9CE68515-1E15-4161-B149-EF4E4A0BD6E7}"/>
          </ac:spMkLst>
        </pc:spChg>
        <pc:spChg chg="add del mod">
          <ac:chgData name="Tony Radkiewicz" userId="9832534a-7e4f-4058-9c41-7f4a5b855c95" providerId="ADAL" clId="{CC590D0D-F3F9-4300-B40A-CB186A11F7C7}" dt="2022-12-01T21:52:34.031" v="1103" actId="478"/>
          <ac:spMkLst>
            <pc:docMk/>
            <pc:sldMk cId="2963838314" sldId="302"/>
            <ac:spMk id="12" creationId="{A2AD9551-5A61-1153-E03C-F666AA5C549B}"/>
          </ac:spMkLst>
        </pc:spChg>
        <pc:picChg chg="del">
          <ac:chgData name="Tony Radkiewicz" userId="9832534a-7e4f-4058-9c41-7f4a5b855c95" providerId="ADAL" clId="{CC590D0D-F3F9-4300-B40A-CB186A11F7C7}" dt="2022-12-01T21:53:05.536" v="1169" actId="478"/>
          <ac:picMkLst>
            <pc:docMk/>
            <pc:sldMk cId="2963838314" sldId="302"/>
            <ac:picMk id="7" creationId="{95554C33-2324-4A96-B839-ADEB727D40C7}"/>
          </ac:picMkLst>
        </pc:picChg>
        <pc:picChg chg="mod">
          <ac:chgData name="Tony Radkiewicz" userId="9832534a-7e4f-4058-9c41-7f4a5b855c95" providerId="ADAL" clId="{CC590D0D-F3F9-4300-B40A-CB186A11F7C7}" dt="2022-12-01T21:53:13.550" v="1172" actId="1076"/>
          <ac:picMkLst>
            <pc:docMk/>
            <pc:sldMk cId="2963838314" sldId="302"/>
            <ac:picMk id="8" creationId="{413EB724-799C-4FCF-82B4-E0F63A78A812}"/>
          </ac:picMkLst>
        </pc:picChg>
      </pc:sldChg>
      <pc:sldChg chg="modSp">
        <pc:chgData name="Tony Radkiewicz" userId="9832534a-7e4f-4058-9c41-7f4a5b855c95" providerId="ADAL" clId="{CC590D0D-F3F9-4300-B40A-CB186A11F7C7}" dt="2022-12-05T21:30:30.352" v="1267" actId="20577"/>
        <pc:sldMkLst>
          <pc:docMk/>
          <pc:sldMk cId="283881700" sldId="304"/>
        </pc:sldMkLst>
        <pc:graphicFrameChg chg="mod">
          <ac:chgData name="Tony Radkiewicz" userId="9832534a-7e4f-4058-9c41-7f4a5b855c95" providerId="ADAL" clId="{CC590D0D-F3F9-4300-B40A-CB186A11F7C7}" dt="2022-12-05T21:30:30.352" v="1267" actId="20577"/>
          <ac:graphicFrameMkLst>
            <pc:docMk/>
            <pc:sldMk cId="283881700" sldId="304"/>
            <ac:graphicFrameMk id="10" creationId="{25FC2934-EBB8-4C70-B506-5EC4BC6FE603}"/>
          </ac:graphicFrameMkLst>
        </pc:graphicFrameChg>
      </pc:sldChg>
      <pc:sldChg chg="modSp mod modCm">
        <pc:chgData name="Tony Radkiewicz" userId="9832534a-7e4f-4058-9c41-7f4a5b855c95" providerId="ADAL" clId="{CC590D0D-F3F9-4300-B40A-CB186A11F7C7}" dt="2022-12-05T22:29:28.043" v="1377" actId="1076"/>
        <pc:sldMkLst>
          <pc:docMk/>
          <pc:sldMk cId="2651296270" sldId="306"/>
        </pc:sldMkLst>
        <pc:spChg chg="mod">
          <ac:chgData name="Tony Radkiewicz" userId="9832534a-7e4f-4058-9c41-7f4a5b855c95" providerId="ADAL" clId="{CC590D0D-F3F9-4300-B40A-CB186A11F7C7}" dt="2022-12-05T22:29:13.577" v="1375" actId="1076"/>
          <ac:spMkLst>
            <pc:docMk/>
            <pc:sldMk cId="2651296270" sldId="306"/>
            <ac:spMk id="6" creationId="{5D87067C-E2BD-4E28-AF11-16174B277618}"/>
          </ac:spMkLst>
        </pc:spChg>
        <pc:graphicFrameChg chg="mod">
          <ac:chgData name="Tony Radkiewicz" userId="9832534a-7e4f-4058-9c41-7f4a5b855c95" providerId="ADAL" clId="{CC590D0D-F3F9-4300-B40A-CB186A11F7C7}" dt="2022-12-05T22:29:28.043" v="1377" actId="1076"/>
          <ac:graphicFrameMkLst>
            <pc:docMk/>
            <pc:sldMk cId="2651296270" sldId="306"/>
            <ac:graphicFrameMk id="8" creationId="{EB77B92E-8D57-012E-DB33-F2F5E54706C5}"/>
          </ac:graphicFrameMkLst>
        </pc:graphicFrameChg>
      </pc:sldChg>
      <pc:sldChg chg="delSp mod">
        <pc:chgData name="Tony Radkiewicz" userId="9832534a-7e4f-4058-9c41-7f4a5b855c95" providerId="ADAL" clId="{CC590D0D-F3F9-4300-B40A-CB186A11F7C7}" dt="2022-12-08T23:00:01.106" v="1379" actId="478"/>
        <pc:sldMkLst>
          <pc:docMk/>
          <pc:sldMk cId="986258471" sldId="311"/>
        </pc:sldMkLst>
        <pc:spChg chg="del">
          <ac:chgData name="Tony Radkiewicz" userId="9832534a-7e4f-4058-9c41-7f4a5b855c95" providerId="ADAL" clId="{CC590D0D-F3F9-4300-B40A-CB186A11F7C7}" dt="2022-12-08T23:00:01.106" v="1379" actId="478"/>
          <ac:spMkLst>
            <pc:docMk/>
            <pc:sldMk cId="986258471" sldId="311"/>
            <ac:spMk id="16" creationId="{E06C4A42-BB62-4E41-AE5E-0C48CDDEBF59}"/>
          </ac:spMkLst>
        </pc:spChg>
      </pc:sldChg>
      <pc:sldChg chg="modCm">
        <pc:chgData name="Tony Radkiewicz" userId="9832534a-7e4f-4058-9c41-7f4a5b855c95" providerId="ADAL" clId="{CC590D0D-F3F9-4300-B40A-CB186A11F7C7}" dt="2022-12-05T22:38:03.758" v="1378" actId="5900"/>
        <pc:sldMkLst>
          <pc:docMk/>
          <pc:sldMk cId="2820221524" sldId="313"/>
        </pc:sldMkLst>
      </pc:sldChg>
      <pc:sldChg chg="mod modShow">
        <pc:chgData name="Tony Radkiewicz" userId="9832534a-7e4f-4058-9c41-7f4a5b855c95" providerId="ADAL" clId="{CC590D0D-F3F9-4300-B40A-CB186A11F7C7}" dt="2022-12-12T20:31:38.960" v="1422" actId="729"/>
        <pc:sldMkLst>
          <pc:docMk/>
          <pc:sldMk cId="4130409067" sldId="331"/>
        </pc:sldMkLst>
      </pc:sldChg>
      <pc:sldChg chg="modSp mod modShow">
        <pc:chgData name="Tony Radkiewicz" userId="9832534a-7e4f-4058-9c41-7f4a5b855c95" providerId="ADAL" clId="{CC590D0D-F3F9-4300-B40A-CB186A11F7C7}" dt="2022-12-12T22:00:11.783" v="1485" actId="14100"/>
        <pc:sldMkLst>
          <pc:docMk/>
          <pc:sldMk cId="4275759498" sldId="332"/>
        </pc:sldMkLst>
        <pc:picChg chg="mod">
          <ac:chgData name="Tony Radkiewicz" userId="9832534a-7e4f-4058-9c41-7f4a5b855c95" providerId="ADAL" clId="{CC590D0D-F3F9-4300-B40A-CB186A11F7C7}" dt="2022-12-12T22:00:11.783" v="1485" actId="14100"/>
          <ac:picMkLst>
            <pc:docMk/>
            <pc:sldMk cId="4275759498" sldId="332"/>
            <ac:picMk id="6" creationId="{78902143-94B8-84AC-E96B-A02FC28CE9BE}"/>
          </ac:picMkLst>
        </pc:picChg>
      </pc:sldChg>
      <pc:sldChg chg="modNotesTx">
        <pc:chgData name="Tony Radkiewicz" userId="9832534a-7e4f-4058-9c41-7f4a5b855c95" providerId="ADAL" clId="{CC590D0D-F3F9-4300-B40A-CB186A11F7C7}" dt="2022-12-12T20:44:31.742" v="1481" actId="20577"/>
        <pc:sldMkLst>
          <pc:docMk/>
          <pc:sldMk cId="1192450783" sldId="368"/>
        </pc:sldMkLst>
      </pc:sldChg>
      <pc:sldChg chg="modSp add del">
        <pc:chgData name="Tony Radkiewicz" userId="9832534a-7e4f-4058-9c41-7f4a5b855c95" providerId="ADAL" clId="{CC590D0D-F3F9-4300-B40A-CB186A11F7C7}" dt="2022-11-03T18:18:49.824" v="162" actId="2696"/>
        <pc:sldMkLst>
          <pc:docMk/>
          <pc:sldMk cId="2868269840" sldId="393"/>
        </pc:sldMkLst>
        <pc:graphicFrameChg chg="mod">
          <ac:chgData name="Tony Radkiewicz" userId="9832534a-7e4f-4058-9c41-7f4a5b855c95" providerId="ADAL" clId="{CC590D0D-F3F9-4300-B40A-CB186A11F7C7}" dt="2022-11-03T17:43:10.550" v="26" actId="20577"/>
          <ac:graphicFrameMkLst>
            <pc:docMk/>
            <pc:sldMk cId="2868269840" sldId="393"/>
            <ac:graphicFrameMk id="5" creationId="{5A8FE4A7-2147-08C1-0E85-5FCE0452886F}"/>
          </ac:graphicFrameMkLst>
        </pc:graphicFrameChg>
      </pc:sldChg>
      <pc:sldChg chg="addSp modSp add mod">
        <pc:chgData name="Tony Radkiewicz" userId="9832534a-7e4f-4058-9c41-7f4a5b855c95" providerId="ADAL" clId="{CC590D0D-F3F9-4300-B40A-CB186A11F7C7}" dt="2022-11-03T17:54:32.857" v="118" actId="14100"/>
        <pc:sldMkLst>
          <pc:docMk/>
          <pc:sldMk cId="1106497915" sldId="394"/>
        </pc:sldMkLst>
        <pc:spChg chg="mod">
          <ac:chgData name="Tony Radkiewicz" userId="9832534a-7e4f-4058-9c41-7f4a5b855c95" providerId="ADAL" clId="{CC590D0D-F3F9-4300-B40A-CB186A11F7C7}" dt="2022-11-03T17:52:10.136" v="76" actId="1076"/>
          <ac:spMkLst>
            <pc:docMk/>
            <pc:sldMk cId="1106497915" sldId="394"/>
            <ac:spMk id="13" creationId="{656CC01F-87E8-421C-9E91-56BFC84B030C}"/>
          </ac:spMkLst>
        </pc:spChg>
        <pc:graphicFrameChg chg="add mod modGraphic">
          <ac:chgData name="Tony Radkiewicz" userId="9832534a-7e4f-4058-9c41-7f4a5b855c95" providerId="ADAL" clId="{CC590D0D-F3F9-4300-B40A-CB186A11F7C7}" dt="2022-11-03T17:54:32.857" v="118" actId="14100"/>
          <ac:graphicFrameMkLst>
            <pc:docMk/>
            <pc:sldMk cId="1106497915" sldId="394"/>
            <ac:graphicFrameMk id="2" creationId="{F97B5B67-5FB9-26F8-F554-226E82C14655}"/>
          </ac:graphicFrameMkLst>
        </pc:graphicFrameChg>
        <pc:graphicFrameChg chg="mod">
          <ac:chgData name="Tony Radkiewicz" userId="9832534a-7e4f-4058-9c41-7f4a5b855c95" providerId="ADAL" clId="{CC590D0D-F3F9-4300-B40A-CB186A11F7C7}" dt="2022-11-03T17:50:00.587" v="46" actId="1076"/>
          <ac:graphicFrameMkLst>
            <pc:docMk/>
            <pc:sldMk cId="1106497915" sldId="394"/>
            <ac:graphicFrameMk id="5" creationId="{5A8FE4A7-2147-08C1-0E85-5FCE0452886F}"/>
          </ac:graphicFrameMkLst>
        </pc:graphicFrameChg>
      </pc:sldChg>
      <pc:sldChg chg="modSp add mod">
        <pc:chgData name="Tony Radkiewicz" userId="9832534a-7e4f-4058-9c41-7f4a5b855c95" providerId="ADAL" clId="{CC590D0D-F3F9-4300-B40A-CB186A11F7C7}" dt="2022-11-03T17:57:40.321" v="136" actId="13782"/>
        <pc:sldMkLst>
          <pc:docMk/>
          <pc:sldMk cId="2459676674" sldId="395"/>
        </pc:sldMkLst>
        <pc:graphicFrameChg chg="mod">
          <ac:chgData name="Tony Radkiewicz" userId="9832534a-7e4f-4058-9c41-7f4a5b855c95" providerId="ADAL" clId="{CC590D0D-F3F9-4300-B40A-CB186A11F7C7}" dt="2022-11-03T17:57:40.321" v="136" actId="13782"/>
          <ac:graphicFrameMkLst>
            <pc:docMk/>
            <pc:sldMk cId="2459676674" sldId="395"/>
            <ac:graphicFrameMk id="2" creationId="{F97B5B67-5FB9-26F8-F554-226E82C14655}"/>
          </ac:graphicFrameMkLst>
        </pc:graphicFrameChg>
        <pc:graphicFrameChg chg="mod modGraphic">
          <ac:chgData name="Tony Radkiewicz" userId="9832534a-7e4f-4058-9c41-7f4a5b855c95" providerId="ADAL" clId="{CC590D0D-F3F9-4300-B40A-CB186A11F7C7}" dt="2022-11-03T17:57:25.803" v="135" actId="13782"/>
          <ac:graphicFrameMkLst>
            <pc:docMk/>
            <pc:sldMk cId="2459676674" sldId="395"/>
            <ac:graphicFrameMk id="5" creationId="{5A8FE4A7-2147-08C1-0E85-5FCE0452886F}"/>
          </ac:graphicFrameMkLst>
        </pc:graphicFrameChg>
      </pc:sldChg>
      <pc:sldChg chg="modSp add mod">
        <pc:chgData name="Tony Radkiewicz" userId="9832534a-7e4f-4058-9c41-7f4a5b855c95" providerId="ADAL" clId="{CC590D0D-F3F9-4300-B40A-CB186A11F7C7}" dt="2022-11-03T18:17:28.938" v="161" actId="14100"/>
        <pc:sldMkLst>
          <pc:docMk/>
          <pc:sldMk cId="2239498325" sldId="398"/>
        </pc:sldMkLst>
        <pc:spChg chg="mod">
          <ac:chgData name="Tony Radkiewicz" userId="9832534a-7e4f-4058-9c41-7f4a5b855c95" providerId="ADAL" clId="{CC590D0D-F3F9-4300-B40A-CB186A11F7C7}" dt="2022-11-03T18:17:19.291" v="160" actId="14100"/>
          <ac:spMkLst>
            <pc:docMk/>
            <pc:sldMk cId="2239498325" sldId="398"/>
            <ac:spMk id="13" creationId="{656CC01F-87E8-421C-9E91-56BFC84B030C}"/>
          </ac:spMkLst>
        </pc:spChg>
        <pc:graphicFrameChg chg="mod">
          <ac:chgData name="Tony Radkiewicz" userId="9832534a-7e4f-4058-9c41-7f4a5b855c95" providerId="ADAL" clId="{CC590D0D-F3F9-4300-B40A-CB186A11F7C7}" dt="2022-11-03T18:17:28.938" v="161" actId="14100"/>
          <ac:graphicFrameMkLst>
            <pc:docMk/>
            <pc:sldMk cId="2239498325" sldId="398"/>
            <ac:graphicFrameMk id="5" creationId="{5A8FE4A7-2147-08C1-0E85-5FCE0452886F}"/>
          </ac:graphicFrameMkLst>
        </pc:graphicFrameChg>
      </pc:sldChg>
      <pc:sldChg chg="addSp modSp mod">
        <pc:chgData name="Tony Radkiewicz" userId="9832534a-7e4f-4058-9c41-7f4a5b855c95" providerId="ADAL" clId="{CC590D0D-F3F9-4300-B40A-CB186A11F7C7}" dt="2022-11-14T22:02:29.823" v="522" actId="255"/>
        <pc:sldMkLst>
          <pc:docMk/>
          <pc:sldMk cId="2176528977" sldId="403"/>
        </pc:sldMkLst>
        <pc:spChg chg="mod">
          <ac:chgData name="Tony Radkiewicz" userId="9832534a-7e4f-4058-9c41-7f4a5b855c95" providerId="ADAL" clId="{CC590D0D-F3F9-4300-B40A-CB186A11F7C7}" dt="2022-11-14T22:02:29.823" v="522" actId="255"/>
          <ac:spMkLst>
            <pc:docMk/>
            <pc:sldMk cId="2176528977" sldId="403"/>
            <ac:spMk id="6" creationId="{2A0549CE-2EE0-4B10-9C62-1F5857D11F46}"/>
          </ac:spMkLst>
        </pc:spChg>
        <pc:picChg chg="add mod">
          <ac:chgData name="Tony Radkiewicz" userId="9832534a-7e4f-4058-9c41-7f4a5b855c95" providerId="ADAL" clId="{CC590D0D-F3F9-4300-B40A-CB186A11F7C7}" dt="2022-11-14T21:51:51.568" v="494" actId="1076"/>
          <ac:picMkLst>
            <pc:docMk/>
            <pc:sldMk cId="2176528977" sldId="403"/>
            <ac:picMk id="4" creationId="{191E1749-8D2A-4B2A-47F2-45F99DCAF77A}"/>
          </ac:picMkLst>
        </pc:picChg>
      </pc:sldChg>
      <pc:sldChg chg="addSp modSp mod modNotesTx">
        <pc:chgData name="Tony Radkiewicz" userId="9832534a-7e4f-4058-9c41-7f4a5b855c95" providerId="ADAL" clId="{CC590D0D-F3F9-4300-B40A-CB186A11F7C7}" dt="2022-11-28T23:03:28.038" v="835" actId="6549"/>
        <pc:sldMkLst>
          <pc:docMk/>
          <pc:sldMk cId="433377335" sldId="404"/>
        </pc:sldMkLst>
        <pc:spChg chg="mod">
          <ac:chgData name="Tony Radkiewicz" userId="9832534a-7e4f-4058-9c41-7f4a5b855c95" providerId="ADAL" clId="{CC590D0D-F3F9-4300-B40A-CB186A11F7C7}" dt="2022-11-14T22:24:31.906" v="589" actId="20577"/>
          <ac:spMkLst>
            <pc:docMk/>
            <pc:sldMk cId="433377335" sldId="404"/>
            <ac:spMk id="6" creationId="{2A0549CE-2EE0-4B10-9C62-1F5857D11F46}"/>
          </ac:spMkLst>
        </pc:spChg>
        <pc:spChg chg="mod">
          <ac:chgData name="Tony Radkiewicz" userId="9832534a-7e4f-4058-9c41-7f4a5b855c95" providerId="ADAL" clId="{CC590D0D-F3F9-4300-B40A-CB186A11F7C7}" dt="2022-11-28T23:03:28.038" v="835" actId="6549"/>
          <ac:spMkLst>
            <pc:docMk/>
            <pc:sldMk cId="433377335" sldId="404"/>
            <ac:spMk id="7" creationId="{9303A972-FED5-45E8-854F-91FC6AC8682A}"/>
          </ac:spMkLst>
        </pc:spChg>
        <pc:picChg chg="add mod">
          <ac:chgData name="Tony Radkiewicz" userId="9832534a-7e4f-4058-9c41-7f4a5b855c95" providerId="ADAL" clId="{CC590D0D-F3F9-4300-B40A-CB186A11F7C7}" dt="2022-11-14T22:18:23.816" v="563" actId="14100"/>
          <ac:picMkLst>
            <pc:docMk/>
            <pc:sldMk cId="433377335" sldId="404"/>
            <ac:picMk id="4" creationId="{C73DD26B-46BC-17EB-6A18-166EDF2E24C0}"/>
          </ac:picMkLst>
        </pc:picChg>
        <pc:picChg chg="add mod">
          <ac:chgData name="Tony Radkiewicz" userId="9832534a-7e4f-4058-9c41-7f4a5b855c95" providerId="ADAL" clId="{CC590D0D-F3F9-4300-B40A-CB186A11F7C7}" dt="2022-11-14T22:18:46.660" v="565" actId="14100"/>
          <ac:picMkLst>
            <pc:docMk/>
            <pc:sldMk cId="433377335" sldId="404"/>
            <ac:picMk id="8" creationId="{5F0C172C-7E69-9CB5-23CA-6A5A69B6D1CA}"/>
          </ac:picMkLst>
        </pc:picChg>
      </pc:sldChg>
      <pc:sldChg chg="modSp mod modNotesTx">
        <pc:chgData name="Tony Radkiewicz" userId="9832534a-7e4f-4058-9c41-7f4a5b855c95" providerId="ADAL" clId="{CC590D0D-F3F9-4300-B40A-CB186A11F7C7}" dt="2022-11-14T20:52:31.882" v="421" actId="20577"/>
        <pc:sldMkLst>
          <pc:docMk/>
          <pc:sldMk cId="1939198057" sldId="407"/>
        </pc:sldMkLst>
        <pc:spChg chg="mod">
          <ac:chgData name="Tony Radkiewicz" userId="9832534a-7e4f-4058-9c41-7f4a5b855c95" providerId="ADAL" clId="{CC590D0D-F3F9-4300-B40A-CB186A11F7C7}" dt="2022-11-14T20:47:24.433" v="307" actId="6549"/>
          <ac:spMkLst>
            <pc:docMk/>
            <pc:sldMk cId="1939198057" sldId="407"/>
            <ac:spMk id="6" creationId="{2A0549CE-2EE0-4B10-9C62-1F5857D11F46}"/>
          </ac:spMkLst>
        </pc:spChg>
      </pc:sldChg>
      <pc:sldChg chg="addSp delSp modSp add del mod">
        <pc:chgData name="Tony Radkiewicz" userId="9832534a-7e4f-4058-9c41-7f4a5b855c95" providerId="ADAL" clId="{CC590D0D-F3F9-4300-B40A-CB186A11F7C7}" dt="2022-11-14T21:33:51.802" v="480" actId="2696"/>
        <pc:sldMkLst>
          <pc:docMk/>
          <pc:sldMk cId="1121777642" sldId="410"/>
        </pc:sldMkLst>
        <pc:spChg chg="add del mod">
          <ac:chgData name="Tony Radkiewicz" userId="9832534a-7e4f-4058-9c41-7f4a5b855c95" providerId="ADAL" clId="{CC590D0D-F3F9-4300-B40A-CB186A11F7C7}" dt="2022-11-14T21:19:52.872" v="430" actId="12084"/>
          <ac:spMkLst>
            <pc:docMk/>
            <pc:sldMk cId="1121777642" sldId="410"/>
            <ac:spMk id="5" creationId="{D4723360-CCC2-E811-FA5A-766F71FD3664}"/>
          </ac:spMkLst>
        </pc:spChg>
        <pc:spChg chg="mod">
          <ac:chgData name="Tony Radkiewicz" userId="9832534a-7e4f-4058-9c41-7f4a5b855c95" providerId="ADAL" clId="{CC590D0D-F3F9-4300-B40A-CB186A11F7C7}" dt="2022-11-14T21:23:50.785" v="477" actId="1076"/>
          <ac:spMkLst>
            <pc:docMk/>
            <pc:sldMk cId="1121777642" sldId="410"/>
            <ac:spMk id="6" creationId="{2A0549CE-2EE0-4B10-9C62-1F5857D11F46}"/>
          </ac:spMkLst>
        </pc:spChg>
        <pc:graphicFrameChg chg="mod">
          <ac:chgData name="Tony Radkiewicz" userId="9832534a-7e4f-4058-9c41-7f4a5b855c95" providerId="ADAL" clId="{CC590D0D-F3F9-4300-B40A-CB186A11F7C7}" dt="2022-11-14T21:23:11.160" v="454" actId="1076"/>
          <ac:graphicFrameMkLst>
            <pc:docMk/>
            <pc:sldMk cId="1121777642" sldId="410"/>
            <ac:graphicFrameMk id="2" creationId="{B7D65274-413A-1632-E69C-BBA7F2DF0F34}"/>
          </ac:graphicFrameMkLst>
        </pc:graphicFrameChg>
        <pc:graphicFrameChg chg="add mod">
          <ac:chgData name="Tony Radkiewicz" userId="9832534a-7e4f-4058-9c41-7f4a5b855c95" providerId="ADAL" clId="{CC590D0D-F3F9-4300-B40A-CB186A11F7C7}" dt="2022-11-14T21:28:41.949" v="479" actId="13782"/>
          <ac:graphicFrameMkLst>
            <pc:docMk/>
            <pc:sldMk cId="1121777642" sldId="410"/>
            <ac:graphicFrameMk id="7" creationId="{ADB6608F-9D5F-0B31-7FEF-E2D890D7A354}"/>
          </ac:graphicFrameMkLst>
        </pc:graphicFrameChg>
      </pc:sldChg>
      <pc:sldChg chg="add">
        <pc:chgData name="Tony Radkiewicz" userId="9832534a-7e4f-4058-9c41-7f4a5b855c95" providerId="ADAL" clId="{CC590D0D-F3F9-4300-B40A-CB186A11F7C7}" dt="2022-11-14T21:21:14.946" v="434" actId="2890"/>
        <pc:sldMkLst>
          <pc:docMk/>
          <pc:sldMk cId="118504711" sldId="411"/>
        </pc:sldMkLst>
      </pc:sldChg>
      <pc:sldChg chg="modSp add mod">
        <pc:chgData name="Tony Radkiewicz" userId="9832534a-7e4f-4058-9c41-7f4a5b855c95" providerId="ADAL" clId="{CC590D0D-F3F9-4300-B40A-CB186A11F7C7}" dt="2022-12-12T20:26:37.959" v="1417" actId="1076"/>
        <pc:sldMkLst>
          <pc:docMk/>
          <pc:sldMk cId="533226779" sldId="415"/>
        </pc:sldMkLst>
        <pc:graphicFrameChg chg="mod ord">
          <ac:chgData name="Tony Radkiewicz" userId="9832534a-7e4f-4058-9c41-7f4a5b855c95" providerId="ADAL" clId="{CC590D0D-F3F9-4300-B40A-CB186A11F7C7}" dt="2022-11-14T21:36:03.956" v="491" actId="14100"/>
          <ac:graphicFrameMkLst>
            <pc:docMk/>
            <pc:sldMk cId="533226779" sldId="415"/>
            <ac:graphicFrameMk id="2" creationId="{B7D65274-413A-1632-E69C-BBA7F2DF0F34}"/>
          </ac:graphicFrameMkLst>
        </pc:graphicFrameChg>
        <pc:graphicFrameChg chg="mod">
          <ac:chgData name="Tony Radkiewicz" userId="9832534a-7e4f-4058-9c41-7f4a5b855c95" providerId="ADAL" clId="{CC590D0D-F3F9-4300-B40A-CB186A11F7C7}" dt="2022-12-12T20:26:37.959" v="1417" actId="1076"/>
          <ac:graphicFrameMkLst>
            <pc:docMk/>
            <pc:sldMk cId="533226779" sldId="415"/>
            <ac:graphicFrameMk id="7" creationId="{ADB6608F-9D5F-0B31-7FEF-E2D890D7A354}"/>
          </ac:graphicFrameMkLst>
        </pc:graphicFrameChg>
      </pc:sldChg>
      <pc:sldChg chg="modSp mod">
        <pc:chgData name="Tony Radkiewicz" userId="9832534a-7e4f-4058-9c41-7f4a5b855c95" providerId="ADAL" clId="{CC590D0D-F3F9-4300-B40A-CB186A11F7C7}" dt="2022-11-14T22:09:34.731" v="560" actId="1076"/>
        <pc:sldMkLst>
          <pc:docMk/>
          <pc:sldMk cId="3038463798" sldId="416"/>
        </pc:sldMkLst>
        <pc:spChg chg="mod">
          <ac:chgData name="Tony Radkiewicz" userId="9832534a-7e4f-4058-9c41-7f4a5b855c95" providerId="ADAL" clId="{CC590D0D-F3F9-4300-B40A-CB186A11F7C7}" dt="2022-11-14T22:09:15.722" v="555" actId="14100"/>
          <ac:spMkLst>
            <pc:docMk/>
            <pc:sldMk cId="3038463798" sldId="416"/>
            <ac:spMk id="6" creationId="{2A0549CE-2EE0-4B10-9C62-1F5857D11F46}"/>
          </ac:spMkLst>
        </pc:spChg>
        <pc:graphicFrameChg chg="mod">
          <ac:chgData name="Tony Radkiewicz" userId="9832534a-7e4f-4058-9c41-7f4a5b855c95" providerId="ADAL" clId="{CC590D0D-F3F9-4300-B40A-CB186A11F7C7}" dt="2022-11-14T22:08:56.077" v="548" actId="1076"/>
          <ac:graphicFrameMkLst>
            <pc:docMk/>
            <pc:sldMk cId="3038463798" sldId="416"/>
            <ac:graphicFrameMk id="8" creationId="{795D17DE-EA0F-0749-C119-6FEB2AF5A6A1}"/>
          </ac:graphicFrameMkLst>
        </pc:graphicFrameChg>
        <pc:picChg chg="mod">
          <ac:chgData name="Tony Radkiewicz" userId="9832534a-7e4f-4058-9c41-7f4a5b855c95" providerId="ADAL" clId="{CC590D0D-F3F9-4300-B40A-CB186A11F7C7}" dt="2022-11-14T22:09:34.731" v="560" actId="1076"/>
          <ac:picMkLst>
            <pc:docMk/>
            <pc:sldMk cId="3038463798" sldId="416"/>
            <ac:picMk id="4" creationId="{191E1749-8D2A-4B2A-47F2-45F99DCAF77A}"/>
          </ac:picMkLst>
        </pc:picChg>
        <pc:picChg chg="mod">
          <ac:chgData name="Tony Radkiewicz" userId="9832534a-7e4f-4058-9c41-7f4a5b855c95" providerId="ADAL" clId="{CC590D0D-F3F9-4300-B40A-CB186A11F7C7}" dt="2022-11-14T22:09:05.230" v="549" actId="1076"/>
          <ac:picMkLst>
            <pc:docMk/>
            <pc:sldMk cId="3038463798" sldId="416"/>
            <ac:picMk id="5" creationId="{15632131-76F6-83E7-550A-CD42EF44BB5C}"/>
          </ac:picMkLst>
        </pc:picChg>
      </pc:sldChg>
      <pc:sldChg chg="modSp add mod">
        <pc:chgData name="Tony Radkiewicz" userId="9832534a-7e4f-4058-9c41-7f4a5b855c95" providerId="ADAL" clId="{CC590D0D-F3F9-4300-B40A-CB186A11F7C7}" dt="2022-11-28T22:29:22.135" v="686" actId="20577"/>
        <pc:sldMkLst>
          <pc:docMk/>
          <pc:sldMk cId="893985659" sldId="417"/>
        </pc:sldMkLst>
        <pc:spChg chg="mod">
          <ac:chgData name="Tony Radkiewicz" userId="9832534a-7e4f-4058-9c41-7f4a5b855c95" providerId="ADAL" clId="{CC590D0D-F3F9-4300-B40A-CB186A11F7C7}" dt="2022-11-28T22:29:22.135" v="686" actId="20577"/>
          <ac:spMkLst>
            <pc:docMk/>
            <pc:sldMk cId="893985659" sldId="417"/>
            <ac:spMk id="7" creationId="{91CCF221-F767-49B9-9CD9-076467D04D53}"/>
          </ac:spMkLst>
        </pc:spChg>
      </pc:sldChg>
      <pc:sldChg chg="modSp add mod">
        <pc:chgData name="Tony Radkiewicz" userId="9832534a-7e4f-4058-9c41-7f4a5b855c95" providerId="ADAL" clId="{CC590D0D-F3F9-4300-B40A-CB186A11F7C7}" dt="2022-11-28T22:32:13.439" v="717" actId="1076"/>
        <pc:sldMkLst>
          <pc:docMk/>
          <pc:sldMk cId="2240956272" sldId="419"/>
        </pc:sldMkLst>
        <pc:spChg chg="mod">
          <ac:chgData name="Tony Radkiewicz" userId="9832534a-7e4f-4058-9c41-7f4a5b855c95" providerId="ADAL" clId="{CC590D0D-F3F9-4300-B40A-CB186A11F7C7}" dt="2022-11-28T22:32:13.439" v="717" actId="1076"/>
          <ac:spMkLst>
            <pc:docMk/>
            <pc:sldMk cId="2240956272" sldId="419"/>
            <ac:spMk id="7" creationId="{91CCF221-F767-49B9-9CD9-076467D04D53}"/>
          </ac:spMkLst>
        </pc:spChg>
      </pc:sldChg>
      <pc:sldChg chg="modSp">
        <pc:chgData name="Tony Radkiewicz" userId="9832534a-7e4f-4058-9c41-7f4a5b855c95" providerId="ADAL" clId="{CC590D0D-F3F9-4300-B40A-CB186A11F7C7}" dt="2022-11-28T23:17:26.574" v="836" actId="255"/>
        <pc:sldMkLst>
          <pc:docMk/>
          <pc:sldMk cId="1059882547" sldId="422"/>
        </pc:sldMkLst>
        <pc:graphicFrameChg chg="mod">
          <ac:chgData name="Tony Radkiewicz" userId="9832534a-7e4f-4058-9c41-7f4a5b855c95" providerId="ADAL" clId="{CC590D0D-F3F9-4300-B40A-CB186A11F7C7}" dt="2022-11-28T23:17:26.574" v="836" actId="255"/>
          <ac:graphicFrameMkLst>
            <pc:docMk/>
            <pc:sldMk cId="1059882547" sldId="422"/>
            <ac:graphicFrameMk id="7" creationId="{ADB6608F-9D5F-0B31-7FEF-E2D890D7A354}"/>
          </ac:graphicFrameMkLst>
        </pc:graphicFrameChg>
      </pc:sldChg>
      <pc:sldChg chg="modSp add del mod">
        <pc:chgData name="Tony Radkiewicz" userId="9832534a-7e4f-4058-9c41-7f4a5b855c95" providerId="ADAL" clId="{CC590D0D-F3F9-4300-B40A-CB186A11F7C7}" dt="2022-11-28T23:28:12.644" v="858" actId="2696"/>
        <pc:sldMkLst>
          <pc:docMk/>
          <pc:sldMk cId="1024684633" sldId="424"/>
        </pc:sldMkLst>
        <pc:graphicFrameChg chg="mod">
          <ac:chgData name="Tony Radkiewicz" userId="9832534a-7e4f-4058-9c41-7f4a5b855c95" providerId="ADAL" clId="{CC590D0D-F3F9-4300-B40A-CB186A11F7C7}" dt="2022-11-28T23:28:02.777" v="857"/>
          <ac:graphicFrameMkLst>
            <pc:docMk/>
            <pc:sldMk cId="1024684633" sldId="424"/>
            <ac:graphicFrameMk id="7" creationId="{ADB6608F-9D5F-0B31-7FEF-E2D890D7A354}"/>
          </ac:graphicFrameMkLst>
        </pc:graphicFrameChg>
      </pc:sldChg>
      <pc:sldChg chg="modSp mod">
        <pc:chgData name="Tony Radkiewicz" userId="9832534a-7e4f-4058-9c41-7f4a5b855c95" providerId="ADAL" clId="{CC590D0D-F3F9-4300-B40A-CB186A11F7C7}" dt="2022-11-28T23:43:53.541" v="882" actId="20577"/>
        <pc:sldMkLst>
          <pc:docMk/>
          <pc:sldMk cId="1986130792" sldId="426"/>
        </pc:sldMkLst>
        <pc:spChg chg="mod">
          <ac:chgData name="Tony Radkiewicz" userId="9832534a-7e4f-4058-9c41-7f4a5b855c95" providerId="ADAL" clId="{CC590D0D-F3F9-4300-B40A-CB186A11F7C7}" dt="2022-11-28T23:43:53.541" v="882" actId="20577"/>
          <ac:spMkLst>
            <pc:docMk/>
            <pc:sldMk cId="1986130792" sldId="426"/>
            <ac:spMk id="6" creationId="{2A0549CE-2EE0-4B10-9C62-1F5857D11F46}"/>
          </ac:spMkLst>
        </pc:spChg>
      </pc:sldChg>
      <pc:sldChg chg="modSp mod">
        <pc:chgData name="Tony Radkiewicz" userId="9832534a-7e4f-4058-9c41-7f4a5b855c95" providerId="ADAL" clId="{CC590D0D-F3F9-4300-B40A-CB186A11F7C7}" dt="2022-11-28T23:51:13.985" v="942" actId="1076"/>
        <pc:sldMkLst>
          <pc:docMk/>
          <pc:sldMk cId="2344252334" sldId="427"/>
        </pc:sldMkLst>
        <pc:spChg chg="mod">
          <ac:chgData name="Tony Radkiewicz" userId="9832534a-7e4f-4058-9c41-7f4a5b855c95" providerId="ADAL" clId="{CC590D0D-F3F9-4300-B40A-CB186A11F7C7}" dt="2022-11-28T23:50:57.302" v="935" actId="1076"/>
          <ac:spMkLst>
            <pc:docMk/>
            <pc:sldMk cId="2344252334" sldId="427"/>
            <ac:spMk id="6" creationId="{2A0549CE-2EE0-4B10-9C62-1F5857D11F46}"/>
          </ac:spMkLst>
        </pc:spChg>
        <pc:graphicFrameChg chg="mod">
          <ac:chgData name="Tony Radkiewicz" userId="9832534a-7e4f-4058-9c41-7f4a5b855c95" providerId="ADAL" clId="{CC590D0D-F3F9-4300-B40A-CB186A11F7C7}" dt="2022-11-28T23:51:13.985" v="942" actId="1076"/>
          <ac:graphicFrameMkLst>
            <pc:docMk/>
            <pc:sldMk cId="2344252334" sldId="427"/>
            <ac:graphicFrameMk id="7" creationId="{ADB6608F-9D5F-0B31-7FEF-E2D890D7A354}"/>
          </ac:graphicFrameMkLst>
        </pc:graphicFrameChg>
      </pc:sldChg>
      <pc:sldChg chg="modSp add mod">
        <pc:chgData name="Tony Radkiewicz" userId="9832534a-7e4f-4058-9c41-7f4a5b855c95" providerId="ADAL" clId="{CC590D0D-F3F9-4300-B40A-CB186A11F7C7}" dt="2022-11-28T23:30:31.371" v="880" actId="1076"/>
        <pc:sldMkLst>
          <pc:docMk/>
          <pc:sldMk cId="1207957942" sldId="428"/>
        </pc:sldMkLst>
        <pc:graphicFrameChg chg="mod">
          <ac:chgData name="Tony Radkiewicz" userId="9832534a-7e4f-4058-9c41-7f4a5b855c95" providerId="ADAL" clId="{CC590D0D-F3F9-4300-B40A-CB186A11F7C7}" dt="2022-11-28T23:30:31.371" v="880" actId="1076"/>
          <ac:graphicFrameMkLst>
            <pc:docMk/>
            <pc:sldMk cId="1207957942" sldId="428"/>
            <ac:graphicFrameMk id="7" creationId="{ADB6608F-9D5F-0B31-7FEF-E2D890D7A354}"/>
          </ac:graphicFrameMkLst>
        </pc:graphicFrameChg>
      </pc:sldChg>
      <pc:sldChg chg="modSp mod">
        <pc:chgData name="Tony Radkiewicz" userId="9832534a-7e4f-4058-9c41-7f4a5b855c95" providerId="ADAL" clId="{CC590D0D-F3F9-4300-B40A-CB186A11F7C7}" dt="2022-12-12T20:27:35.871" v="1420" actId="1076"/>
        <pc:sldMkLst>
          <pc:docMk/>
          <pc:sldMk cId="4080793692" sldId="428"/>
        </pc:sldMkLst>
        <pc:spChg chg="mod">
          <ac:chgData name="Tony Radkiewicz" userId="9832534a-7e4f-4058-9c41-7f4a5b855c95" providerId="ADAL" clId="{CC590D0D-F3F9-4300-B40A-CB186A11F7C7}" dt="2022-11-28T23:46:30.002" v="907" actId="1076"/>
          <ac:spMkLst>
            <pc:docMk/>
            <pc:sldMk cId="4080793692" sldId="428"/>
            <ac:spMk id="6" creationId="{2A0549CE-2EE0-4B10-9C62-1F5857D11F46}"/>
          </ac:spMkLst>
        </pc:spChg>
        <pc:graphicFrameChg chg="mod modGraphic">
          <ac:chgData name="Tony Radkiewicz" userId="9832534a-7e4f-4058-9c41-7f4a5b855c95" providerId="ADAL" clId="{CC590D0D-F3F9-4300-B40A-CB186A11F7C7}" dt="2022-11-28T23:48:00.644" v="928" actId="14100"/>
          <ac:graphicFrameMkLst>
            <pc:docMk/>
            <pc:sldMk cId="4080793692" sldId="428"/>
            <ac:graphicFrameMk id="2" creationId="{B7D65274-413A-1632-E69C-BBA7F2DF0F34}"/>
          </ac:graphicFrameMkLst>
        </pc:graphicFrameChg>
        <pc:graphicFrameChg chg="mod">
          <ac:chgData name="Tony Radkiewicz" userId="9832534a-7e4f-4058-9c41-7f4a5b855c95" providerId="ADAL" clId="{CC590D0D-F3F9-4300-B40A-CB186A11F7C7}" dt="2022-12-12T20:27:35.871" v="1420" actId="1076"/>
          <ac:graphicFrameMkLst>
            <pc:docMk/>
            <pc:sldMk cId="4080793692" sldId="428"/>
            <ac:graphicFrameMk id="7" creationId="{ADB6608F-9D5F-0B31-7FEF-E2D890D7A354}"/>
          </ac:graphicFrameMkLst>
        </pc:graphicFrameChg>
      </pc:sldChg>
      <pc:sldChg chg="modSp mod">
        <pc:chgData name="Tony Radkiewicz" userId="9832534a-7e4f-4058-9c41-7f4a5b855c95" providerId="ADAL" clId="{CC590D0D-F3F9-4300-B40A-CB186A11F7C7}" dt="2022-11-29T00:01:26.494" v="979" actId="1076"/>
        <pc:sldMkLst>
          <pc:docMk/>
          <pc:sldMk cId="2014299987" sldId="429"/>
        </pc:sldMkLst>
        <pc:spChg chg="mod">
          <ac:chgData name="Tony Radkiewicz" userId="9832534a-7e4f-4058-9c41-7f4a5b855c95" providerId="ADAL" clId="{CC590D0D-F3F9-4300-B40A-CB186A11F7C7}" dt="2022-11-29T00:01:02.298" v="971" actId="14100"/>
          <ac:spMkLst>
            <pc:docMk/>
            <pc:sldMk cId="2014299987" sldId="429"/>
            <ac:spMk id="6" creationId="{2A0549CE-2EE0-4B10-9C62-1F5857D11F46}"/>
          </ac:spMkLst>
        </pc:spChg>
        <pc:graphicFrameChg chg="mod">
          <ac:chgData name="Tony Radkiewicz" userId="9832534a-7e4f-4058-9c41-7f4a5b855c95" providerId="ADAL" clId="{CC590D0D-F3F9-4300-B40A-CB186A11F7C7}" dt="2022-11-29T00:00:38.363" v="964" actId="14100"/>
          <ac:graphicFrameMkLst>
            <pc:docMk/>
            <pc:sldMk cId="2014299987" sldId="429"/>
            <ac:graphicFrameMk id="8" creationId="{795D17DE-EA0F-0749-C119-6FEB2AF5A6A1}"/>
          </ac:graphicFrameMkLst>
        </pc:graphicFrameChg>
        <pc:picChg chg="mod">
          <ac:chgData name="Tony Radkiewicz" userId="9832534a-7e4f-4058-9c41-7f4a5b855c95" providerId="ADAL" clId="{CC590D0D-F3F9-4300-B40A-CB186A11F7C7}" dt="2022-11-29T00:00:51.098" v="967" actId="1076"/>
          <ac:picMkLst>
            <pc:docMk/>
            <pc:sldMk cId="2014299987" sldId="429"/>
            <ac:picMk id="2" creationId="{793E31AB-D60E-FB15-719B-9427093EA806}"/>
          </ac:picMkLst>
        </pc:picChg>
        <pc:picChg chg="mod">
          <ac:chgData name="Tony Radkiewicz" userId="9832534a-7e4f-4058-9c41-7f4a5b855c95" providerId="ADAL" clId="{CC590D0D-F3F9-4300-B40A-CB186A11F7C7}" dt="2022-11-29T00:01:26.494" v="979" actId="1076"/>
          <ac:picMkLst>
            <pc:docMk/>
            <pc:sldMk cId="2014299987" sldId="429"/>
            <ac:picMk id="7" creationId="{77742739-B57D-44FC-5446-23B7835C2E43}"/>
          </ac:picMkLst>
        </pc:picChg>
      </pc:sldChg>
      <pc:sldChg chg="modSp mod">
        <pc:chgData name="Tony Radkiewicz" userId="9832534a-7e4f-4058-9c41-7f4a5b855c95" providerId="ADAL" clId="{CC590D0D-F3F9-4300-B40A-CB186A11F7C7}" dt="2022-12-01T23:05:06.948" v="1266" actId="20577"/>
        <pc:sldMkLst>
          <pc:docMk/>
          <pc:sldMk cId="2755451968" sldId="430"/>
        </pc:sldMkLst>
        <pc:spChg chg="mod">
          <ac:chgData name="Tony Radkiewicz" userId="9832534a-7e4f-4058-9c41-7f4a5b855c95" providerId="ADAL" clId="{CC590D0D-F3F9-4300-B40A-CB186A11F7C7}" dt="2022-12-01T23:05:06.948" v="1266" actId="20577"/>
          <ac:spMkLst>
            <pc:docMk/>
            <pc:sldMk cId="2755451968" sldId="430"/>
            <ac:spMk id="3" creationId="{EA4036C7-79DB-4182-9EC7-6CDB43C83CDE}"/>
          </ac:spMkLst>
        </pc:spChg>
        <pc:spChg chg="mod">
          <ac:chgData name="Tony Radkiewicz" userId="9832534a-7e4f-4058-9c41-7f4a5b855c95" providerId="ADAL" clId="{CC590D0D-F3F9-4300-B40A-CB186A11F7C7}" dt="2022-12-01T23:04:14.805" v="1209" actId="1076"/>
          <ac:spMkLst>
            <pc:docMk/>
            <pc:sldMk cId="2755451968" sldId="430"/>
            <ac:spMk id="10" creationId="{9CE68515-1E15-4161-B149-EF4E4A0BD6E7}"/>
          </ac:spMkLst>
        </pc:spChg>
        <pc:picChg chg="mod">
          <ac:chgData name="Tony Radkiewicz" userId="9832534a-7e4f-4058-9c41-7f4a5b855c95" providerId="ADAL" clId="{CC590D0D-F3F9-4300-B40A-CB186A11F7C7}" dt="2022-12-01T23:04:32.681" v="1218" actId="14100"/>
          <ac:picMkLst>
            <pc:docMk/>
            <pc:sldMk cId="2755451968" sldId="430"/>
            <ac:picMk id="4" creationId="{AA55C324-830A-F9A6-8566-DFED92BF8322}"/>
          </ac:picMkLst>
        </pc:picChg>
      </pc:sldChg>
      <pc:sldChg chg="modSp mod modCm">
        <pc:chgData name="Tony Radkiewicz" userId="9832534a-7e4f-4058-9c41-7f4a5b855c95" providerId="ADAL" clId="{CC590D0D-F3F9-4300-B40A-CB186A11F7C7}" dt="2022-12-05T21:51:29.647" v="1280" actId="1076"/>
        <pc:sldMkLst>
          <pc:docMk/>
          <pc:sldMk cId="4275487735" sldId="431"/>
        </pc:sldMkLst>
        <pc:graphicFrameChg chg="mod">
          <ac:chgData name="Tony Radkiewicz" userId="9832534a-7e4f-4058-9c41-7f4a5b855c95" providerId="ADAL" clId="{CC590D0D-F3F9-4300-B40A-CB186A11F7C7}" dt="2022-12-05T21:51:29.647" v="1280" actId="1076"/>
          <ac:graphicFrameMkLst>
            <pc:docMk/>
            <pc:sldMk cId="4275487735" sldId="431"/>
            <ac:graphicFrameMk id="10" creationId="{25FC2934-EBB8-4C70-B506-5EC4BC6FE603}"/>
          </ac:graphicFrameMkLst>
        </pc:graphicFrameChg>
      </pc:sldChg>
      <pc:sldChg chg="delSp modSp mod">
        <pc:chgData name="Tony Radkiewicz" userId="9832534a-7e4f-4058-9c41-7f4a5b855c95" providerId="ADAL" clId="{CC590D0D-F3F9-4300-B40A-CB186A11F7C7}" dt="2022-12-12T22:08:23.816" v="1488" actId="478"/>
        <pc:sldMkLst>
          <pc:docMk/>
          <pc:sldMk cId="4065708842" sldId="432"/>
        </pc:sldMkLst>
        <pc:spChg chg="mod">
          <ac:chgData name="Tony Radkiewicz" userId="9832534a-7e4f-4058-9c41-7f4a5b855c95" providerId="ADAL" clId="{CC590D0D-F3F9-4300-B40A-CB186A11F7C7}" dt="2022-12-05T22:13:21.999" v="1333" actId="14100"/>
          <ac:spMkLst>
            <pc:docMk/>
            <pc:sldMk cId="4065708842" sldId="432"/>
            <ac:spMk id="6" creationId="{C84BFD6C-319D-4665-A3EC-44969951DC1A}"/>
          </ac:spMkLst>
        </pc:spChg>
        <pc:spChg chg="mod">
          <ac:chgData name="Tony Radkiewicz" userId="9832534a-7e4f-4058-9c41-7f4a5b855c95" providerId="ADAL" clId="{CC590D0D-F3F9-4300-B40A-CB186A11F7C7}" dt="2022-12-05T22:14:13.404" v="1340" actId="14100"/>
          <ac:spMkLst>
            <pc:docMk/>
            <pc:sldMk cId="4065708842" sldId="432"/>
            <ac:spMk id="10" creationId="{5B151A20-8055-D110-D93D-79677BEA13AD}"/>
          </ac:spMkLst>
        </pc:spChg>
        <pc:graphicFrameChg chg="mod">
          <ac:chgData name="Tony Radkiewicz" userId="9832534a-7e4f-4058-9c41-7f4a5b855c95" providerId="ADAL" clId="{CC590D0D-F3F9-4300-B40A-CB186A11F7C7}" dt="2022-12-05T22:09:06.910" v="1294" actId="1076"/>
          <ac:graphicFrameMkLst>
            <pc:docMk/>
            <pc:sldMk cId="4065708842" sldId="432"/>
            <ac:graphicFrameMk id="9" creationId="{203A39C7-A3BE-E059-A062-5185B97B7FAE}"/>
          </ac:graphicFrameMkLst>
        </pc:graphicFrameChg>
        <pc:picChg chg="mod">
          <ac:chgData name="Tony Radkiewicz" userId="9832534a-7e4f-4058-9c41-7f4a5b855c95" providerId="ADAL" clId="{CC590D0D-F3F9-4300-B40A-CB186A11F7C7}" dt="2022-12-05T22:10:02.514" v="1317" actId="1076"/>
          <ac:picMkLst>
            <pc:docMk/>
            <pc:sldMk cId="4065708842" sldId="432"/>
            <ac:picMk id="4" creationId="{45CCB69D-FCD2-4E4D-A841-5E239E1E961C}"/>
          </ac:picMkLst>
        </pc:picChg>
        <pc:picChg chg="del mod">
          <ac:chgData name="Tony Radkiewicz" userId="9832534a-7e4f-4058-9c41-7f4a5b855c95" providerId="ADAL" clId="{CC590D0D-F3F9-4300-B40A-CB186A11F7C7}" dt="2022-12-12T22:08:23.816" v="1488" actId="478"/>
          <ac:picMkLst>
            <pc:docMk/>
            <pc:sldMk cId="4065708842" sldId="432"/>
            <ac:picMk id="5" creationId="{91844104-C8F4-86BC-8C82-78D2A2EDADE0}"/>
          </ac:picMkLst>
        </pc:picChg>
      </pc:sldChg>
      <pc:sldChg chg="modSp mod">
        <pc:chgData name="Tony Radkiewicz" userId="9832534a-7e4f-4058-9c41-7f4a5b855c95" providerId="ADAL" clId="{CC590D0D-F3F9-4300-B40A-CB186A11F7C7}" dt="2022-12-08T23:00:24.917" v="1383" actId="1076"/>
        <pc:sldMkLst>
          <pc:docMk/>
          <pc:sldMk cId="4153839355" sldId="433"/>
        </pc:sldMkLst>
        <pc:graphicFrameChg chg="mod">
          <ac:chgData name="Tony Radkiewicz" userId="9832534a-7e4f-4058-9c41-7f4a5b855c95" providerId="ADAL" clId="{CC590D0D-F3F9-4300-B40A-CB186A11F7C7}" dt="2022-12-08T23:00:24.917" v="1383" actId="1076"/>
          <ac:graphicFrameMkLst>
            <pc:docMk/>
            <pc:sldMk cId="4153839355" sldId="433"/>
            <ac:graphicFrameMk id="8" creationId="{EB77B92E-8D57-012E-DB33-F2F5E54706C5}"/>
          </ac:graphicFrameMkLst>
        </pc:graphicFrameChg>
      </pc:sldChg>
      <pc:sldChg chg="modSp mod">
        <pc:chgData name="Tony Radkiewicz" userId="9832534a-7e4f-4058-9c41-7f4a5b855c95" providerId="ADAL" clId="{CC590D0D-F3F9-4300-B40A-CB186A11F7C7}" dt="2022-12-08T23:00:50.940" v="1392" actId="1076"/>
        <pc:sldMkLst>
          <pc:docMk/>
          <pc:sldMk cId="3752082709" sldId="442"/>
        </pc:sldMkLst>
        <pc:spChg chg="mod">
          <ac:chgData name="Tony Radkiewicz" userId="9832534a-7e4f-4058-9c41-7f4a5b855c95" providerId="ADAL" clId="{CC590D0D-F3F9-4300-B40A-CB186A11F7C7}" dt="2022-12-08T23:00:50.940" v="1392" actId="1076"/>
          <ac:spMkLst>
            <pc:docMk/>
            <pc:sldMk cId="3752082709" sldId="442"/>
            <ac:spMk id="2" creationId="{99AA91F3-5C44-A388-007E-E201AAF936FF}"/>
          </ac:spMkLst>
        </pc:spChg>
        <pc:graphicFrameChg chg="mod">
          <ac:chgData name="Tony Radkiewicz" userId="9832534a-7e4f-4058-9c41-7f4a5b855c95" providerId="ADAL" clId="{CC590D0D-F3F9-4300-B40A-CB186A11F7C7}" dt="2022-12-08T23:00:36.872" v="1387" actId="1076"/>
          <ac:graphicFrameMkLst>
            <pc:docMk/>
            <pc:sldMk cId="3752082709" sldId="442"/>
            <ac:graphicFrameMk id="8" creationId="{EB77B92E-8D57-012E-DB33-F2F5E54706C5}"/>
          </ac:graphicFrameMkLst>
        </pc:graphicFrameChg>
      </pc:sldChg>
      <pc:sldChg chg="delSp modSp mod">
        <pc:chgData name="Tony Radkiewicz" userId="9832534a-7e4f-4058-9c41-7f4a5b855c95" providerId="ADAL" clId="{CC590D0D-F3F9-4300-B40A-CB186A11F7C7}" dt="2022-12-12T22:21:05.242" v="1541" actId="1076"/>
        <pc:sldMkLst>
          <pc:docMk/>
          <pc:sldMk cId="3782249789" sldId="446"/>
        </pc:sldMkLst>
        <pc:spChg chg="mod">
          <ac:chgData name="Tony Radkiewicz" userId="9832534a-7e4f-4058-9c41-7f4a5b855c95" providerId="ADAL" clId="{CC590D0D-F3F9-4300-B40A-CB186A11F7C7}" dt="2022-12-12T22:18:01.934" v="1538"/>
          <ac:spMkLst>
            <pc:docMk/>
            <pc:sldMk cId="3782249789" sldId="446"/>
            <ac:spMk id="6" creationId="{C84BFD6C-319D-4665-A3EC-44969951DC1A}"/>
          </ac:spMkLst>
        </pc:spChg>
        <pc:spChg chg="del">
          <ac:chgData name="Tony Radkiewicz" userId="9832534a-7e4f-4058-9c41-7f4a5b855c95" providerId="ADAL" clId="{CC590D0D-F3F9-4300-B40A-CB186A11F7C7}" dt="2022-12-12T22:09:35.261" v="1489" actId="478"/>
          <ac:spMkLst>
            <pc:docMk/>
            <pc:sldMk cId="3782249789" sldId="446"/>
            <ac:spMk id="10" creationId="{5B151A20-8055-D110-D93D-79677BEA13AD}"/>
          </ac:spMkLst>
        </pc:spChg>
        <pc:graphicFrameChg chg="mod">
          <ac:chgData name="Tony Radkiewicz" userId="9832534a-7e4f-4058-9c41-7f4a5b855c95" providerId="ADAL" clId="{CC590D0D-F3F9-4300-B40A-CB186A11F7C7}" dt="2022-12-12T22:20:57.460" v="1540" actId="14100"/>
          <ac:graphicFrameMkLst>
            <pc:docMk/>
            <pc:sldMk cId="3782249789" sldId="446"/>
            <ac:graphicFrameMk id="9" creationId="{203A39C7-A3BE-E059-A062-5185B97B7FAE}"/>
          </ac:graphicFrameMkLst>
        </pc:graphicFrameChg>
        <pc:picChg chg="mod">
          <ac:chgData name="Tony Radkiewicz" userId="9832534a-7e4f-4058-9c41-7f4a5b855c95" providerId="ADAL" clId="{CC590D0D-F3F9-4300-B40A-CB186A11F7C7}" dt="2022-12-12T22:21:05.242" v="1541" actId="1076"/>
          <ac:picMkLst>
            <pc:docMk/>
            <pc:sldMk cId="3782249789" sldId="446"/>
            <ac:picMk id="5" creationId="{91844104-C8F4-86BC-8C82-78D2A2EDADE0}"/>
          </ac:picMkLst>
        </pc:picChg>
      </pc:sldChg>
    </pc:docChg>
  </pc:docChgLst>
  <pc:docChgLst>
    <pc:chgData name="Kory Thacher (APPS / POWERSHELL)" userId="995eb0f2-f21c-467c-a947-4f8fc26d0f2e" providerId="ADAL" clId="{17F26C6E-96CB-4E19-88CE-A23B80352E77}"/>
    <pc:docChg chg="undo custSel addSld delSld modSld sldOrd modSection">
      <pc:chgData name="Kory Thacher (APPS / POWERSHELL)" userId="995eb0f2-f21c-467c-a947-4f8fc26d0f2e" providerId="ADAL" clId="{17F26C6E-96CB-4E19-88CE-A23B80352E77}" dt="2022-10-17T23:37:01.975" v="2340" actId="14100"/>
      <pc:docMkLst>
        <pc:docMk/>
      </pc:docMkLst>
      <pc:sldChg chg="modSp mod modCm">
        <pc:chgData name="Kory Thacher (APPS / POWERSHELL)" userId="995eb0f2-f21c-467c-a947-4f8fc26d0f2e" providerId="ADAL" clId="{17F26C6E-96CB-4E19-88CE-A23B80352E77}" dt="2022-10-17T21:23:22.290" v="25" actId="732"/>
        <pc:sldMkLst>
          <pc:docMk/>
          <pc:sldMk cId="1895228649" sldId="276"/>
        </pc:sldMkLst>
        <pc:graphicFrameChg chg="mod">
          <ac:chgData name="Kory Thacher (APPS / POWERSHELL)" userId="995eb0f2-f21c-467c-a947-4f8fc26d0f2e" providerId="ADAL" clId="{17F26C6E-96CB-4E19-88CE-A23B80352E77}" dt="2022-10-17T21:22:18.189" v="15" actId="14100"/>
          <ac:graphicFrameMkLst>
            <pc:docMk/>
            <pc:sldMk cId="1895228649" sldId="276"/>
            <ac:graphicFrameMk id="3" creationId="{FEBDE72C-DD01-8C41-F99D-BB9AE031F7AA}"/>
          </ac:graphicFrameMkLst>
        </pc:graphicFrameChg>
        <pc:picChg chg="mod">
          <ac:chgData name="Kory Thacher (APPS / POWERSHELL)" userId="995eb0f2-f21c-467c-a947-4f8fc26d0f2e" providerId="ADAL" clId="{17F26C6E-96CB-4E19-88CE-A23B80352E77}" dt="2022-10-17T21:17:46.038" v="11" actId="1076"/>
          <ac:picMkLst>
            <pc:docMk/>
            <pc:sldMk cId="1895228649" sldId="276"/>
            <ac:picMk id="5" creationId="{196937E7-205D-0A98-35EC-90BD91637C33}"/>
          </ac:picMkLst>
        </pc:picChg>
        <pc:picChg chg="mod modCrop">
          <ac:chgData name="Kory Thacher (APPS / POWERSHELL)" userId="995eb0f2-f21c-467c-a947-4f8fc26d0f2e" providerId="ADAL" clId="{17F26C6E-96CB-4E19-88CE-A23B80352E77}" dt="2022-10-17T21:23:22.290" v="25" actId="732"/>
          <ac:picMkLst>
            <pc:docMk/>
            <pc:sldMk cId="1895228649" sldId="276"/>
            <ac:picMk id="7" creationId="{723E510E-ED01-A15E-D2CB-94D380EB0824}"/>
          </ac:picMkLst>
        </pc:picChg>
        <pc:picChg chg="mod">
          <ac:chgData name="Kory Thacher (APPS / POWERSHELL)" userId="995eb0f2-f21c-467c-a947-4f8fc26d0f2e" providerId="ADAL" clId="{17F26C6E-96CB-4E19-88CE-A23B80352E77}" dt="2022-10-17T21:06:48.010" v="4" actId="14100"/>
          <ac:picMkLst>
            <pc:docMk/>
            <pc:sldMk cId="1895228649" sldId="276"/>
            <ac:picMk id="9" creationId="{FBD4F94B-C40B-22A1-35A0-350218F8208E}"/>
          </ac:picMkLst>
        </pc:picChg>
      </pc:sldChg>
      <pc:sldChg chg="del">
        <pc:chgData name="Kory Thacher (APPS / POWERSHELL)" userId="995eb0f2-f21c-467c-a947-4f8fc26d0f2e" providerId="ADAL" clId="{17F26C6E-96CB-4E19-88CE-A23B80352E77}" dt="2022-10-17T21:24:03.794" v="26" actId="47"/>
        <pc:sldMkLst>
          <pc:docMk/>
          <pc:sldMk cId="2713139555" sldId="281"/>
        </pc:sldMkLst>
      </pc:sldChg>
      <pc:sldChg chg="mod modShow">
        <pc:chgData name="Kory Thacher (APPS / POWERSHELL)" userId="995eb0f2-f21c-467c-a947-4f8fc26d0f2e" providerId="ADAL" clId="{17F26C6E-96CB-4E19-88CE-A23B80352E77}" dt="2022-10-17T21:43:23.237" v="363" actId="729"/>
        <pc:sldMkLst>
          <pc:docMk/>
          <pc:sldMk cId="2966509842" sldId="285"/>
        </pc:sldMkLst>
      </pc:sldChg>
      <pc:sldChg chg="del mod ord modShow">
        <pc:chgData name="Kory Thacher (APPS / POWERSHELL)" userId="995eb0f2-f21c-467c-a947-4f8fc26d0f2e" providerId="ADAL" clId="{17F26C6E-96CB-4E19-88CE-A23B80352E77}" dt="2022-10-17T22:36:32.277" v="1707" actId="47"/>
        <pc:sldMkLst>
          <pc:docMk/>
          <pc:sldMk cId="3434545505" sldId="286"/>
        </pc:sldMkLst>
      </pc:sldChg>
      <pc:sldChg chg="del">
        <pc:chgData name="Kory Thacher (APPS / POWERSHELL)" userId="995eb0f2-f21c-467c-a947-4f8fc26d0f2e" providerId="ADAL" clId="{17F26C6E-96CB-4E19-88CE-A23B80352E77}" dt="2022-10-17T21:24:03.794" v="26" actId="47"/>
        <pc:sldMkLst>
          <pc:docMk/>
          <pc:sldMk cId="3895184305" sldId="293"/>
        </pc:sldMkLst>
      </pc:sldChg>
      <pc:sldChg chg="del">
        <pc:chgData name="Kory Thacher (APPS / POWERSHELL)" userId="995eb0f2-f21c-467c-a947-4f8fc26d0f2e" providerId="ADAL" clId="{17F26C6E-96CB-4E19-88CE-A23B80352E77}" dt="2022-10-17T21:24:03.794" v="26" actId="47"/>
        <pc:sldMkLst>
          <pc:docMk/>
          <pc:sldMk cId="2655594440" sldId="294"/>
        </pc:sldMkLst>
      </pc:sldChg>
      <pc:sldChg chg="del">
        <pc:chgData name="Kory Thacher (APPS / POWERSHELL)" userId="995eb0f2-f21c-467c-a947-4f8fc26d0f2e" providerId="ADAL" clId="{17F26C6E-96CB-4E19-88CE-A23B80352E77}" dt="2022-10-17T21:24:03.794" v="26" actId="47"/>
        <pc:sldMkLst>
          <pc:docMk/>
          <pc:sldMk cId="890579405" sldId="365"/>
        </pc:sldMkLst>
      </pc:sldChg>
      <pc:sldChg chg="del">
        <pc:chgData name="Kory Thacher (APPS / POWERSHELL)" userId="995eb0f2-f21c-467c-a947-4f8fc26d0f2e" providerId="ADAL" clId="{17F26C6E-96CB-4E19-88CE-A23B80352E77}" dt="2022-10-17T21:24:03.794" v="26" actId="47"/>
        <pc:sldMkLst>
          <pc:docMk/>
          <pc:sldMk cId="857291869" sldId="369"/>
        </pc:sldMkLst>
      </pc:sldChg>
      <pc:sldChg chg="modSp add mod ord setBg modShow delCm">
        <pc:chgData name="Kory Thacher (APPS / POWERSHELL)" userId="995eb0f2-f21c-467c-a947-4f8fc26d0f2e" providerId="ADAL" clId="{17F26C6E-96CB-4E19-88CE-A23B80352E77}" dt="2022-10-17T21:28:58.742" v="235" actId="20577"/>
        <pc:sldMkLst>
          <pc:docMk/>
          <pc:sldMk cId="1222630488" sldId="378"/>
        </pc:sldMkLst>
        <pc:spChg chg="mod">
          <ac:chgData name="Kory Thacher (APPS / POWERSHELL)" userId="995eb0f2-f21c-467c-a947-4f8fc26d0f2e" providerId="ADAL" clId="{17F26C6E-96CB-4E19-88CE-A23B80352E77}" dt="2022-10-17T21:26:38.361" v="36" actId="20577"/>
          <ac:spMkLst>
            <pc:docMk/>
            <pc:sldMk cId="1222630488" sldId="378"/>
            <ac:spMk id="3" creationId="{E884FB59-0EC8-40A9-B66F-489E409D30DD}"/>
          </ac:spMkLst>
        </pc:spChg>
        <pc:graphicFrameChg chg="mod">
          <ac:chgData name="Kory Thacher (APPS / POWERSHELL)" userId="995eb0f2-f21c-467c-a947-4f8fc26d0f2e" providerId="ADAL" clId="{17F26C6E-96CB-4E19-88CE-A23B80352E77}" dt="2022-10-17T21:28:58.742" v="235" actId="20577"/>
          <ac:graphicFrameMkLst>
            <pc:docMk/>
            <pc:sldMk cId="1222630488" sldId="378"/>
            <ac:graphicFrameMk id="5" creationId="{215B02D2-68D8-4F9A-AAA8-74C67B8B4AD5}"/>
          </ac:graphicFrameMkLst>
        </pc:graphicFrameChg>
      </pc:sldChg>
      <pc:sldChg chg="addSp delSp modSp add mod">
        <pc:chgData name="Kory Thacher (APPS / POWERSHELL)" userId="995eb0f2-f21c-467c-a947-4f8fc26d0f2e" providerId="ADAL" clId="{17F26C6E-96CB-4E19-88CE-A23B80352E77}" dt="2022-10-17T21:44:11.760" v="386"/>
        <pc:sldMkLst>
          <pc:docMk/>
          <pc:sldMk cId="2097075415" sldId="379"/>
        </pc:sldMkLst>
        <pc:spChg chg="add del">
          <ac:chgData name="Kory Thacher (APPS / POWERSHELL)" userId="995eb0f2-f21c-467c-a947-4f8fc26d0f2e" providerId="ADAL" clId="{17F26C6E-96CB-4E19-88CE-A23B80352E77}" dt="2022-10-17T21:42:35.476" v="351" actId="478"/>
          <ac:spMkLst>
            <pc:docMk/>
            <pc:sldMk cId="2097075415" sldId="379"/>
            <ac:spMk id="2" creationId="{6584F65C-DEB8-FFF2-E951-151AA428B94D}"/>
          </ac:spMkLst>
        </pc:spChg>
        <pc:graphicFrameChg chg="mod">
          <ac:chgData name="Kory Thacher (APPS / POWERSHELL)" userId="995eb0f2-f21c-467c-a947-4f8fc26d0f2e" providerId="ADAL" clId="{17F26C6E-96CB-4E19-88CE-A23B80352E77}" dt="2022-10-17T21:44:11.760" v="386"/>
          <ac:graphicFrameMkLst>
            <pc:docMk/>
            <pc:sldMk cId="2097075415" sldId="379"/>
            <ac:graphicFrameMk id="4" creationId="{4588EEB5-609F-4C18-B29D-534E1ABBA92C}"/>
          </ac:graphicFrameMkLst>
        </pc:graphicFrameChg>
      </pc:sldChg>
      <pc:sldChg chg="del">
        <pc:chgData name="Kory Thacher (APPS / POWERSHELL)" userId="995eb0f2-f21c-467c-a947-4f8fc26d0f2e" providerId="ADAL" clId="{17F26C6E-96CB-4E19-88CE-A23B80352E77}" dt="2022-10-17T22:07:52.899" v="1292" actId="47"/>
        <pc:sldMkLst>
          <pc:docMk/>
          <pc:sldMk cId="423295473" sldId="380"/>
        </pc:sldMkLst>
      </pc:sldChg>
      <pc:sldChg chg="modSp del">
        <pc:chgData name="Kory Thacher (APPS / POWERSHELL)" userId="995eb0f2-f21c-467c-a947-4f8fc26d0f2e" providerId="ADAL" clId="{17F26C6E-96CB-4E19-88CE-A23B80352E77}" dt="2022-10-17T22:36:32.277" v="1707" actId="47"/>
        <pc:sldMkLst>
          <pc:docMk/>
          <pc:sldMk cId="1755238430" sldId="381"/>
        </pc:sldMkLst>
        <pc:graphicFrameChg chg="mod">
          <ac:chgData name="Kory Thacher (APPS / POWERSHELL)" userId="995eb0f2-f21c-467c-a947-4f8fc26d0f2e" providerId="ADAL" clId="{17F26C6E-96CB-4E19-88CE-A23B80352E77}" dt="2022-10-17T21:48:38.155" v="481" actId="20577"/>
          <ac:graphicFrameMkLst>
            <pc:docMk/>
            <pc:sldMk cId="1755238430" sldId="381"/>
            <ac:graphicFrameMk id="4" creationId="{4588EEB5-609F-4C18-B29D-534E1ABBA92C}"/>
          </ac:graphicFrameMkLst>
        </pc:graphicFrameChg>
      </pc:sldChg>
      <pc:sldChg chg="del">
        <pc:chgData name="Kory Thacher (APPS / POWERSHELL)" userId="995eb0f2-f21c-467c-a947-4f8fc26d0f2e" providerId="ADAL" clId="{17F26C6E-96CB-4E19-88CE-A23B80352E77}" dt="2022-10-17T22:07:52.899" v="1292" actId="47"/>
        <pc:sldMkLst>
          <pc:docMk/>
          <pc:sldMk cId="1472810532" sldId="382"/>
        </pc:sldMkLst>
      </pc:sldChg>
      <pc:sldChg chg="addSp modSp add del mod delCm">
        <pc:chgData name="Kory Thacher (APPS / POWERSHELL)" userId="995eb0f2-f21c-467c-a947-4f8fc26d0f2e" providerId="ADAL" clId="{17F26C6E-96CB-4E19-88CE-A23B80352E77}" dt="2022-10-17T22:36:32.277" v="1707" actId="47"/>
        <pc:sldMkLst>
          <pc:docMk/>
          <pc:sldMk cId="3042322101" sldId="383"/>
        </pc:sldMkLst>
        <pc:graphicFrameChg chg="add mod modGraphic">
          <ac:chgData name="Kory Thacher (APPS / POWERSHELL)" userId="995eb0f2-f21c-467c-a947-4f8fc26d0f2e" providerId="ADAL" clId="{17F26C6E-96CB-4E19-88CE-A23B80352E77}" dt="2022-10-17T22:31:59.584" v="1507" actId="20577"/>
          <ac:graphicFrameMkLst>
            <pc:docMk/>
            <pc:sldMk cId="3042322101" sldId="383"/>
            <ac:graphicFrameMk id="2" creationId="{7570760C-0BE2-50ED-62B1-E4B6707D193B}"/>
          </ac:graphicFrameMkLst>
        </pc:graphicFrameChg>
        <pc:graphicFrameChg chg="mod">
          <ac:chgData name="Kory Thacher (APPS / POWERSHELL)" userId="995eb0f2-f21c-467c-a947-4f8fc26d0f2e" providerId="ADAL" clId="{17F26C6E-96CB-4E19-88CE-A23B80352E77}" dt="2022-10-17T22:30:05.893" v="1505" actId="113"/>
          <ac:graphicFrameMkLst>
            <pc:docMk/>
            <pc:sldMk cId="3042322101" sldId="383"/>
            <ac:graphicFrameMk id="4" creationId="{4588EEB5-609F-4C18-B29D-534E1ABBA92C}"/>
          </ac:graphicFrameMkLst>
        </pc:graphicFrameChg>
      </pc:sldChg>
      <pc:sldChg chg="modSp add">
        <pc:chgData name="Kory Thacher (APPS / POWERSHELL)" userId="995eb0f2-f21c-467c-a947-4f8fc26d0f2e" providerId="ADAL" clId="{17F26C6E-96CB-4E19-88CE-A23B80352E77}" dt="2022-10-17T22:36:03.756" v="1706" actId="255"/>
        <pc:sldMkLst>
          <pc:docMk/>
          <pc:sldMk cId="588746502" sldId="384"/>
        </pc:sldMkLst>
        <pc:graphicFrameChg chg="mod">
          <ac:chgData name="Kory Thacher (APPS / POWERSHELL)" userId="995eb0f2-f21c-467c-a947-4f8fc26d0f2e" providerId="ADAL" clId="{17F26C6E-96CB-4E19-88CE-A23B80352E77}" dt="2022-10-17T22:36:03.756" v="1706" actId="255"/>
          <ac:graphicFrameMkLst>
            <pc:docMk/>
            <pc:sldMk cId="588746502" sldId="384"/>
            <ac:graphicFrameMk id="2" creationId="{7570760C-0BE2-50ED-62B1-E4B6707D193B}"/>
          </ac:graphicFrameMkLst>
        </pc:graphicFrameChg>
      </pc:sldChg>
      <pc:sldChg chg="new del">
        <pc:chgData name="Kory Thacher (APPS / POWERSHELL)" userId="995eb0f2-f21c-467c-a947-4f8fc26d0f2e" providerId="ADAL" clId="{17F26C6E-96CB-4E19-88CE-A23B80352E77}" dt="2022-10-17T22:07:55.753" v="1293" actId="47"/>
        <pc:sldMkLst>
          <pc:docMk/>
          <pc:sldMk cId="3363868595" sldId="384"/>
        </pc:sldMkLst>
      </pc:sldChg>
      <pc:sldChg chg="addSp delSp modSp add mod">
        <pc:chgData name="Kory Thacher (APPS / POWERSHELL)" userId="995eb0f2-f21c-467c-a947-4f8fc26d0f2e" providerId="ADAL" clId="{17F26C6E-96CB-4E19-88CE-A23B80352E77}" dt="2022-10-17T22:42:32.213" v="2015" actId="113"/>
        <pc:sldMkLst>
          <pc:docMk/>
          <pc:sldMk cId="3380416303" sldId="385"/>
        </pc:sldMkLst>
        <pc:spChg chg="del mod">
          <ac:chgData name="Kory Thacher (APPS / POWERSHELL)" userId="995eb0f2-f21c-467c-a947-4f8fc26d0f2e" providerId="ADAL" clId="{17F26C6E-96CB-4E19-88CE-A23B80352E77}" dt="2022-10-17T22:40:57.930" v="1840" actId="478"/>
          <ac:spMkLst>
            <pc:docMk/>
            <pc:sldMk cId="3380416303" sldId="385"/>
            <ac:spMk id="3" creationId="{82CD33A1-B3EF-489F-AF08-78558064DC8B}"/>
          </ac:spMkLst>
        </pc:spChg>
        <pc:spChg chg="add del mod">
          <ac:chgData name="Kory Thacher (APPS / POWERSHELL)" userId="995eb0f2-f21c-467c-a947-4f8fc26d0f2e" providerId="ADAL" clId="{17F26C6E-96CB-4E19-88CE-A23B80352E77}" dt="2022-10-17T22:41:00.008" v="1841" actId="478"/>
          <ac:spMkLst>
            <pc:docMk/>
            <pc:sldMk cId="3380416303" sldId="385"/>
            <ac:spMk id="6" creationId="{A5288213-629F-5132-4158-4748816BEF8D}"/>
          </ac:spMkLst>
        </pc:spChg>
        <pc:graphicFrameChg chg="add mod">
          <ac:chgData name="Kory Thacher (APPS / POWERSHELL)" userId="995eb0f2-f21c-467c-a947-4f8fc26d0f2e" providerId="ADAL" clId="{17F26C6E-96CB-4E19-88CE-A23B80352E77}" dt="2022-10-17T22:42:32.213" v="2015" actId="113"/>
          <ac:graphicFrameMkLst>
            <pc:docMk/>
            <pc:sldMk cId="3380416303" sldId="385"/>
            <ac:graphicFrameMk id="12" creationId="{E595A956-CFC4-685C-7FDD-BFE0F63403ED}"/>
          </ac:graphicFrameMkLst>
        </pc:graphicFrameChg>
      </pc:sldChg>
      <pc:sldChg chg="addSp delSp modSp add mod ord">
        <pc:chgData name="Kory Thacher (APPS / POWERSHELL)" userId="995eb0f2-f21c-467c-a947-4f8fc26d0f2e" providerId="ADAL" clId="{17F26C6E-96CB-4E19-88CE-A23B80352E77}" dt="2022-10-17T23:03:26.730" v="2271" actId="20577"/>
        <pc:sldMkLst>
          <pc:docMk/>
          <pc:sldMk cId="1208044423" sldId="386"/>
        </pc:sldMkLst>
        <pc:spChg chg="mod">
          <ac:chgData name="Kory Thacher (APPS / POWERSHELL)" userId="995eb0f2-f21c-467c-a947-4f8fc26d0f2e" providerId="ADAL" clId="{17F26C6E-96CB-4E19-88CE-A23B80352E77}" dt="2022-10-17T22:45:00.136" v="2037" actId="20577"/>
          <ac:spMkLst>
            <pc:docMk/>
            <pc:sldMk cId="1208044423" sldId="386"/>
            <ac:spMk id="3" creationId="{0CEBDFCB-27D6-4164-8974-C60AAF2E72C4}"/>
          </ac:spMkLst>
        </pc:spChg>
        <pc:spChg chg="mod">
          <ac:chgData name="Kory Thacher (APPS / POWERSHELL)" userId="995eb0f2-f21c-467c-a947-4f8fc26d0f2e" providerId="ADAL" clId="{17F26C6E-96CB-4E19-88CE-A23B80352E77}" dt="2022-10-17T22:45:06.096" v="2038"/>
          <ac:spMkLst>
            <pc:docMk/>
            <pc:sldMk cId="1208044423" sldId="386"/>
            <ac:spMk id="7" creationId="{25D38873-79A1-B388-BE4D-A14FFD0503F2}"/>
          </ac:spMkLst>
        </pc:spChg>
        <pc:spChg chg="mod">
          <ac:chgData name="Kory Thacher (APPS / POWERSHELL)" userId="995eb0f2-f21c-467c-a947-4f8fc26d0f2e" providerId="ADAL" clId="{17F26C6E-96CB-4E19-88CE-A23B80352E77}" dt="2022-10-17T22:45:06.096" v="2038"/>
          <ac:spMkLst>
            <pc:docMk/>
            <pc:sldMk cId="1208044423" sldId="386"/>
            <ac:spMk id="8" creationId="{CE6CAAD8-F12F-0178-5A83-C918C9C60280}"/>
          </ac:spMkLst>
        </pc:spChg>
        <pc:spChg chg="mod">
          <ac:chgData name="Kory Thacher (APPS / POWERSHELL)" userId="995eb0f2-f21c-467c-a947-4f8fc26d0f2e" providerId="ADAL" clId="{17F26C6E-96CB-4E19-88CE-A23B80352E77}" dt="2022-10-17T22:45:06.096" v="2038"/>
          <ac:spMkLst>
            <pc:docMk/>
            <pc:sldMk cId="1208044423" sldId="386"/>
            <ac:spMk id="9" creationId="{E5FC4DF7-786E-46C4-CA7D-5DC3DE320CEE}"/>
          </ac:spMkLst>
        </pc:spChg>
        <pc:spChg chg="mod">
          <ac:chgData name="Kory Thacher (APPS / POWERSHELL)" userId="995eb0f2-f21c-467c-a947-4f8fc26d0f2e" providerId="ADAL" clId="{17F26C6E-96CB-4E19-88CE-A23B80352E77}" dt="2022-10-17T22:45:06.096" v="2038"/>
          <ac:spMkLst>
            <pc:docMk/>
            <pc:sldMk cId="1208044423" sldId="386"/>
            <ac:spMk id="10" creationId="{C192B809-B8E4-2BAE-6DE7-995D477232FE}"/>
          </ac:spMkLst>
        </pc:spChg>
        <pc:spChg chg="mod">
          <ac:chgData name="Kory Thacher (APPS / POWERSHELL)" userId="995eb0f2-f21c-467c-a947-4f8fc26d0f2e" providerId="ADAL" clId="{17F26C6E-96CB-4E19-88CE-A23B80352E77}" dt="2022-10-17T22:45:18.194" v="2044"/>
          <ac:spMkLst>
            <pc:docMk/>
            <pc:sldMk cId="1208044423" sldId="386"/>
            <ac:spMk id="14" creationId="{0AFA9D78-84F9-1A98-4993-690F82824014}"/>
          </ac:spMkLst>
        </pc:spChg>
        <pc:spChg chg="mod">
          <ac:chgData name="Kory Thacher (APPS / POWERSHELL)" userId="995eb0f2-f21c-467c-a947-4f8fc26d0f2e" providerId="ADAL" clId="{17F26C6E-96CB-4E19-88CE-A23B80352E77}" dt="2022-10-17T22:45:18.194" v="2044"/>
          <ac:spMkLst>
            <pc:docMk/>
            <pc:sldMk cId="1208044423" sldId="386"/>
            <ac:spMk id="15" creationId="{F8A838DD-58CE-3977-D87A-C1776D827B3F}"/>
          </ac:spMkLst>
        </pc:spChg>
        <pc:spChg chg="mod">
          <ac:chgData name="Kory Thacher (APPS / POWERSHELL)" userId="995eb0f2-f21c-467c-a947-4f8fc26d0f2e" providerId="ADAL" clId="{17F26C6E-96CB-4E19-88CE-A23B80352E77}" dt="2022-10-17T22:45:18.194" v="2044"/>
          <ac:spMkLst>
            <pc:docMk/>
            <pc:sldMk cId="1208044423" sldId="386"/>
            <ac:spMk id="16" creationId="{B3D94EBB-6217-3F27-E068-1148598B211A}"/>
          </ac:spMkLst>
        </pc:spChg>
        <pc:spChg chg="mod">
          <ac:chgData name="Kory Thacher (APPS / POWERSHELL)" userId="995eb0f2-f21c-467c-a947-4f8fc26d0f2e" providerId="ADAL" clId="{17F26C6E-96CB-4E19-88CE-A23B80352E77}" dt="2022-10-17T22:45:18.194" v="2044"/>
          <ac:spMkLst>
            <pc:docMk/>
            <pc:sldMk cId="1208044423" sldId="386"/>
            <ac:spMk id="17" creationId="{74389B50-26BF-4943-9B40-FF09A5C7370E}"/>
          </ac:spMkLst>
        </pc:spChg>
        <pc:grpChg chg="add del mod">
          <ac:chgData name="Kory Thacher (APPS / POWERSHELL)" userId="995eb0f2-f21c-467c-a947-4f8fc26d0f2e" providerId="ADAL" clId="{17F26C6E-96CB-4E19-88CE-A23B80352E77}" dt="2022-10-17T22:45:07.779" v="2039"/>
          <ac:grpSpMkLst>
            <pc:docMk/>
            <pc:sldMk cId="1208044423" sldId="386"/>
            <ac:grpSpMk id="5" creationId="{781A408D-02E3-C085-2D6F-89E5F1542B10}"/>
          </ac:grpSpMkLst>
        </pc:grpChg>
        <pc:grpChg chg="add mod">
          <ac:chgData name="Kory Thacher (APPS / POWERSHELL)" userId="995eb0f2-f21c-467c-a947-4f8fc26d0f2e" providerId="ADAL" clId="{17F26C6E-96CB-4E19-88CE-A23B80352E77}" dt="2022-10-17T22:45:37.921" v="2051" actId="1076"/>
          <ac:grpSpMkLst>
            <pc:docMk/>
            <pc:sldMk cId="1208044423" sldId="386"/>
            <ac:grpSpMk id="12" creationId="{DD3EC515-C009-E69A-7458-81D63680BD19}"/>
          </ac:grpSpMkLst>
        </pc:grpChg>
        <pc:graphicFrameChg chg="del mod">
          <ac:chgData name="Kory Thacher (APPS / POWERSHELL)" userId="995eb0f2-f21c-467c-a947-4f8fc26d0f2e" providerId="ADAL" clId="{17F26C6E-96CB-4E19-88CE-A23B80352E77}" dt="2022-10-17T22:45:17.475" v="2043" actId="478"/>
          <ac:graphicFrameMkLst>
            <pc:docMk/>
            <pc:sldMk cId="1208044423" sldId="386"/>
            <ac:graphicFrameMk id="2" creationId="{7570760C-0BE2-50ED-62B1-E4B6707D193B}"/>
          </ac:graphicFrameMkLst>
        </pc:graphicFrameChg>
        <pc:graphicFrameChg chg="del">
          <ac:chgData name="Kory Thacher (APPS / POWERSHELL)" userId="995eb0f2-f21c-467c-a947-4f8fc26d0f2e" providerId="ADAL" clId="{17F26C6E-96CB-4E19-88CE-A23B80352E77}" dt="2022-10-17T22:45:09.917" v="2040" actId="478"/>
          <ac:graphicFrameMkLst>
            <pc:docMk/>
            <pc:sldMk cId="1208044423" sldId="386"/>
            <ac:graphicFrameMk id="4" creationId="{4588EEB5-609F-4C18-B29D-534E1ABBA92C}"/>
          </ac:graphicFrameMkLst>
        </pc:graphicFrameChg>
        <pc:graphicFrameChg chg="add del mod">
          <ac:chgData name="Kory Thacher (APPS / POWERSHELL)" userId="995eb0f2-f21c-467c-a947-4f8fc26d0f2e" providerId="ADAL" clId="{17F26C6E-96CB-4E19-88CE-A23B80352E77}" dt="2022-10-17T22:45:07.779" v="2039"/>
          <ac:graphicFrameMkLst>
            <pc:docMk/>
            <pc:sldMk cId="1208044423" sldId="386"/>
            <ac:graphicFrameMk id="11" creationId="{EE1579B0-1958-BAB5-D173-3549DA3AC715}"/>
          </ac:graphicFrameMkLst>
        </pc:graphicFrameChg>
        <pc:graphicFrameChg chg="add mod">
          <ac:chgData name="Kory Thacher (APPS / POWERSHELL)" userId="995eb0f2-f21c-467c-a947-4f8fc26d0f2e" providerId="ADAL" clId="{17F26C6E-96CB-4E19-88CE-A23B80352E77}" dt="2022-10-17T23:03:26.730" v="2271" actId="20577"/>
          <ac:graphicFrameMkLst>
            <pc:docMk/>
            <pc:sldMk cId="1208044423" sldId="386"/>
            <ac:graphicFrameMk id="18" creationId="{757FB000-A20C-9E9F-56E7-8642C3440AA5}"/>
          </ac:graphicFrameMkLst>
        </pc:graphicFrameChg>
        <pc:picChg chg="mod">
          <ac:chgData name="Kory Thacher (APPS / POWERSHELL)" userId="995eb0f2-f21c-467c-a947-4f8fc26d0f2e" providerId="ADAL" clId="{17F26C6E-96CB-4E19-88CE-A23B80352E77}" dt="2022-10-17T22:45:06.096" v="2038"/>
          <ac:picMkLst>
            <pc:docMk/>
            <pc:sldMk cId="1208044423" sldId="386"/>
            <ac:picMk id="6" creationId="{EC93129A-E75C-0B48-1C92-0DAF0204C2F4}"/>
          </ac:picMkLst>
        </pc:picChg>
        <pc:picChg chg="mod">
          <ac:chgData name="Kory Thacher (APPS / POWERSHELL)" userId="995eb0f2-f21c-467c-a947-4f8fc26d0f2e" providerId="ADAL" clId="{17F26C6E-96CB-4E19-88CE-A23B80352E77}" dt="2022-10-17T22:45:18.194" v="2044"/>
          <ac:picMkLst>
            <pc:docMk/>
            <pc:sldMk cId="1208044423" sldId="386"/>
            <ac:picMk id="13" creationId="{778D1893-03FA-279C-34DF-9FBB9BC7F54A}"/>
          </ac:picMkLst>
        </pc:picChg>
      </pc:sldChg>
      <pc:sldChg chg="addSp modSp del mod">
        <pc:chgData name="Kory Thacher (APPS / POWERSHELL)" userId="995eb0f2-f21c-467c-a947-4f8fc26d0f2e" providerId="ADAL" clId="{17F26C6E-96CB-4E19-88CE-A23B80352E77}" dt="2022-10-17T23:35:54.368" v="2325" actId="47"/>
        <pc:sldMkLst>
          <pc:docMk/>
          <pc:sldMk cId="1337716753" sldId="387"/>
        </pc:sldMkLst>
        <pc:graphicFrameChg chg="mod">
          <ac:chgData name="Kory Thacher (APPS / POWERSHELL)" userId="995eb0f2-f21c-467c-a947-4f8fc26d0f2e" providerId="ADAL" clId="{17F26C6E-96CB-4E19-88CE-A23B80352E77}" dt="2022-10-17T23:17:28.662" v="2279" actId="14100"/>
          <ac:graphicFrameMkLst>
            <pc:docMk/>
            <pc:sldMk cId="1337716753" sldId="387"/>
            <ac:graphicFrameMk id="18" creationId="{757FB000-A20C-9E9F-56E7-8642C3440AA5}"/>
          </ac:graphicFrameMkLst>
        </pc:graphicFrameChg>
        <pc:picChg chg="add mod">
          <ac:chgData name="Kory Thacher (APPS / POWERSHELL)" userId="995eb0f2-f21c-467c-a947-4f8fc26d0f2e" providerId="ADAL" clId="{17F26C6E-96CB-4E19-88CE-A23B80352E77}" dt="2022-10-17T23:22:30.692" v="2296" actId="1076"/>
          <ac:picMkLst>
            <pc:docMk/>
            <pc:sldMk cId="1337716753" sldId="387"/>
            <ac:picMk id="2" creationId="{290166B7-9A44-38D4-6B3C-EC7DCD4BFA6F}"/>
          </ac:picMkLst>
        </pc:picChg>
        <pc:picChg chg="mod modCrop">
          <ac:chgData name="Kory Thacher (APPS / POWERSHELL)" userId="995eb0f2-f21c-467c-a947-4f8fc26d0f2e" providerId="ADAL" clId="{17F26C6E-96CB-4E19-88CE-A23B80352E77}" dt="2022-10-17T23:20:36.982" v="2289" actId="1440"/>
          <ac:picMkLst>
            <pc:docMk/>
            <pc:sldMk cId="1337716753" sldId="387"/>
            <ac:picMk id="6" creationId="{9B1B4178-8068-2203-876C-EA0E7308A6FC}"/>
          </ac:picMkLst>
        </pc:picChg>
        <pc:picChg chg="mod">
          <ac:chgData name="Kory Thacher (APPS / POWERSHELL)" userId="995eb0f2-f21c-467c-a947-4f8fc26d0f2e" providerId="ADAL" clId="{17F26C6E-96CB-4E19-88CE-A23B80352E77}" dt="2022-10-17T23:22:30.692" v="2296" actId="1076"/>
          <ac:picMkLst>
            <pc:docMk/>
            <pc:sldMk cId="1337716753" sldId="387"/>
            <ac:picMk id="8" creationId="{C0A5981D-487A-5356-075F-14776FF2C842}"/>
          </ac:picMkLst>
        </pc:picChg>
      </pc:sldChg>
      <pc:sldChg chg="del">
        <pc:chgData name="Kory Thacher (APPS / POWERSHELL)" userId="995eb0f2-f21c-467c-a947-4f8fc26d0f2e" providerId="ADAL" clId="{17F26C6E-96CB-4E19-88CE-A23B80352E77}" dt="2022-10-17T23:35:54.368" v="2325" actId="47"/>
        <pc:sldMkLst>
          <pc:docMk/>
          <pc:sldMk cId="1264342053" sldId="388"/>
        </pc:sldMkLst>
      </pc:sldChg>
      <pc:sldChg chg="del">
        <pc:chgData name="Kory Thacher (APPS / POWERSHELL)" userId="995eb0f2-f21c-467c-a947-4f8fc26d0f2e" providerId="ADAL" clId="{17F26C6E-96CB-4E19-88CE-A23B80352E77}" dt="2022-10-17T23:35:54.368" v="2325" actId="47"/>
        <pc:sldMkLst>
          <pc:docMk/>
          <pc:sldMk cId="3152413064" sldId="390"/>
        </pc:sldMkLst>
      </pc:sldChg>
      <pc:sldChg chg="addSp delSp modSp add mod">
        <pc:chgData name="Kory Thacher (APPS / POWERSHELL)" userId="995eb0f2-f21c-467c-a947-4f8fc26d0f2e" providerId="ADAL" clId="{17F26C6E-96CB-4E19-88CE-A23B80352E77}" dt="2022-10-17T23:37:01.975" v="2340" actId="14100"/>
        <pc:sldMkLst>
          <pc:docMk/>
          <pc:sldMk cId="3178451749" sldId="391"/>
        </pc:sldMkLst>
        <pc:spChg chg="add mod">
          <ac:chgData name="Kory Thacher (APPS / POWERSHELL)" userId="995eb0f2-f21c-467c-a947-4f8fc26d0f2e" providerId="ADAL" clId="{17F26C6E-96CB-4E19-88CE-A23B80352E77}" dt="2022-10-17T23:36:49.331" v="2336" actId="14100"/>
          <ac:spMkLst>
            <pc:docMk/>
            <pc:sldMk cId="3178451749" sldId="391"/>
            <ac:spMk id="9" creationId="{79912F58-B1ED-2B76-3D88-2D8D47C9AB0E}"/>
          </ac:spMkLst>
        </pc:spChg>
        <pc:spChg chg="add mod">
          <ac:chgData name="Kory Thacher (APPS / POWERSHELL)" userId="995eb0f2-f21c-467c-a947-4f8fc26d0f2e" providerId="ADAL" clId="{17F26C6E-96CB-4E19-88CE-A23B80352E77}" dt="2022-10-17T23:37:01.975" v="2340" actId="14100"/>
          <ac:spMkLst>
            <pc:docMk/>
            <pc:sldMk cId="3178451749" sldId="391"/>
            <ac:spMk id="10" creationId="{30FFBE83-38F4-317F-F1BD-57A995A5BE39}"/>
          </ac:spMkLst>
        </pc:spChg>
        <pc:graphicFrameChg chg="mod">
          <ac:chgData name="Kory Thacher (APPS / POWERSHELL)" userId="995eb0f2-f21c-467c-a947-4f8fc26d0f2e" providerId="ADAL" clId="{17F26C6E-96CB-4E19-88CE-A23B80352E77}" dt="2022-10-17T23:24:53.121" v="2308" actId="255"/>
          <ac:graphicFrameMkLst>
            <pc:docMk/>
            <pc:sldMk cId="3178451749" sldId="391"/>
            <ac:graphicFrameMk id="18" creationId="{757FB000-A20C-9E9F-56E7-8642C3440AA5}"/>
          </ac:graphicFrameMkLst>
        </pc:graphicFrameChg>
        <pc:picChg chg="mod">
          <ac:chgData name="Kory Thacher (APPS / POWERSHELL)" userId="995eb0f2-f21c-467c-a947-4f8fc26d0f2e" providerId="ADAL" clId="{17F26C6E-96CB-4E19-88CE-A23B80352E77}" dt="2022-10-17T23:24:21.660" v="2301" actId="1076"/>
          <ac:picMkLst>
            <pc:docMk/>
            <pc:sldMk cId="3178451749" sldId="391"/>
            <ac:picMk id="2" creationId="{290166B7-9A44-38D4-6B3C-EC7DCD4BFA6F}"/>
          </ac:picMkLst>
        </pc:picChg>
        <pc:picChg chg="add del mod">
          <ac:chgData name="Kory Thacher (APPS / POWERSHELL)" userId="995eb0f2-f21c-467c-a947-4f8fc26d0f2e" providerId="ADAL" clId="{17F26C6E-96CB-4E19-88CE-A23B80352E77}" dt="2022-10-17T23:26:48.180" v="2311" actId="478"/>
          <ac:picMkLst>
            <pc:docMk/>
            <pc:sldMk cId="3178451749" sldId="391"/>
            <ac:picMk id="5" creationId="{D54D3C9B-2AFF-DDE8-B5F2-F142325DC589}"/>
          </ac:picMkLst>
        </pc:picChg>
        <pc:picChg chg="mod modCrop">
          <ac:chgData name="Kory Thacher (APPS / POWERSHELL)" userId="995eb0f2-f21c-467c-a947-4f8fc26d0f2e" providerId="ADAL" clId="{17F26C6E-96CB-4E19-88CE-A23B80352E77}" dt="2022-10-17T23:34:58.623" v="2324" actId="732"/>
          <ac:picMkLst>
            <pc:docMk/>
            <pc:sldMk cId="3178451749" sldId="391"/>
            <ac:picMk id="6" creationId="{9B1B4178-8068-2203-876C-EA0E7308A6FC}"/>
          </ac:picMkLst>
        </pc:picChg>
        <pc:picChg chg="add mod modCrop">
          <ac:chgData name="Kory Thacher (APPS / POWERSHELL)" userId="995eb0f2-f21c-467c-a947-4f8fc26d0f2e" providerId="ADAL" clId="{17F26C6E-96CB-4E19-88CE-A23B80352E77}" dt="2022-10-17T23:34:51.709" v="2323" actId="732"/>
          <ac:picMkLst>
            <pc:docMk/>
            <pc:sldMk cId="3178451749" sldId="391"/>
            <ac:picMk id="7" creationId="{D0687D22-AF18-2A8C-6E0D-F1C3C9DFAA44}"/>
          </ac:picMkLst>
        </pc:picChg>
        <pc:picChg chg="del">
          <ac:chgData name="Kory Thacher (APPS / POWERSHELL)" userId="995eb0f2-f21c-467c-a947-4f8fc26d0f2e" providerId="ADAL" clId="{17F26C6E-96CB-4E19-88CE-A23B80352E77}" dt="2022-10-17T23:33:46.317" v="2313" actId="478"/>
          <ac:picMkLst>
            <pc:docMk/>
            <pc:sldMk cId="3178451749" sldId="391"/>
            <ac:picMk id="8" creationId="{C0A5981D-487A-5356-075F-14776FF2C842}"/>
          </ac:picMkLst>
        </pc:picChg>
      </pc:sldChg>
    </pc:docChg>
  </pc:docChgLst>
  <pc:docChgLst>
    <pc:chgData name="Kory Thacher (APPS / POWERSHELL)" userId="995eb0f2-f21c-467c-a947-4f8fc26d0f2e" providerId="ADAL" clId="{C92D4D14-F746-4D40-BCC7-77792082F25E}"/>
    <pc:docChg chg="undo custSel addSld delSld modSld sldOrd addSection modSection">
      <pc:chgData name="Kory Thacher (APPS / POWERSHELL)" userId="995eb0f2-f21c-467c-a947-4f8fc26d0f2e" providerId="ADAL" clId="{C92D4D14-F746-4D40-BCC7-77792082F25E}" dt="2022-12-12T22:24:21.113" v="8499"/>
      <pc:docMkLst>
        <pc:docMk/>
      </pc:docMkLst>
      <pc:sldChg chg="modSp del mod">
        <pc:chgData name="Kory Thacher (APPS / POWERSHELL)" userId="995eb0f2-f21c-467c-a947-4f8fc26d0f2e" providerId="ADAL" clId="{C92D4D14-F746-4D40-BCC7-77792082F25E}" dt="2022-12-08T23:08:55.654" v="8223" actId="47"/>
        <pc:sldMkLst>
          <pc:docMk/>
          <pc:sldMk cId="2713376979" sldId="258"/>
        </pc:sldMkLst>
        <pc:spChg chg="mod">
          <ac:chgData name="Kory Thacher (APPS / POWERSHELL)" userId="995eb0f2-f21c-467c-a947-4f8fc26d0f2e" providerId="ADAL" clId="{C92D4D14-F746-4D40-BCC7-77792082F25E}" dt="2022-12-08T23:03:38.251" v="8198" actId="20577"/>
          <ac:spMkLst>
            <pc:docMk/>
            <pc:sldMk cId="2713376979" sldId="258"/>
            <ac:spMk id="3" creationId="{1C691F60-425C-42A5-9655-84F756D08666}"/>
          </ac:spMkLst>
        </pc:spChg>
      </pc:sldChg>
      <pc:sldChg chg="del">
        <pc:chgData name="Kory Thacher (APPS / POWERSHELL)" userId="995eb0f2-f21c-467c-a947-4f8fc26d0f2e" providerId="ADAL" clId="{C92D4D14-F746-4D40-BCC7-77792082F25E}" dt="2022-12-12T20:38:48.781" v="8227" actId="47"/>
        <pc:sldMkLst>
          <pc:docMk/>
          <pc:sldMk cId="4109296172" sldId="261"/>
        </pc:sldMkLst>
      </pc:sldChg>
      <pc:sldChg chg="del">
        <pc:chgData name="Kory Thacher (APPS / POWERSHELL)" userId="995eb0f2-f21c-467c-a947-4f8fc26d0f2e" providerId="ADAL" clId="{C92D4D14-F746-4D40-BCC7-77792082F25E}" dt="2022-12-12T20:38:48.781" v="8227" actId="47"/>
        <pc:sldMkLst>
          <pc:docMk/>
          <pc:sldMk cId="1954043941" sldId="262"/>
        </pc:sldMkLst>
      </pc:sldChg>
      <pc:sldChg chg="del">
        <pc:chgData name="Kory Thacher (APPS / POWERSHELL)" userId="995eb0f2-f21c-467c-a947-4f8fc26d0f2e" providerId="ADAL" clId="{C92D4D14-F746-4D40-BCC7-77792082F25E}" dt="2022-12-12T20:39:18.118" v="8228" actId="47"/>
        <pc:sldMkLst>
          <pc:docMk/>
          <pc:sldMk cId="349827140" sldId="271"/>
        </pc:sldMkLst>
      </pc:sldChg>
      <pc:sldChg chg="del">
        <pc:chgData name="Kory Thacher (APPS / POWERSHELL)" userId="995eb0f2-f21c-467c-a947-4f8fc26d0f2e" providerId="ADAL" clId="{C92D4D14-F746-4D40-BCC7-77792082F25E}" dt="2022-12-12T20:39:18.118" v="8228" actId="47"/>
        <pc:sldMkLst>
          <pc:docMk/>
          <pc:sldMk cId="3900680908" sldId="272"/>
        </pc:sldMkLst>
      </pc:sldChg>
      <pc:sldChg chg="addCm delCm modCm">
        <pc:chgData name="Kory Thacher (APPS / POWERSHELL)" userId="995eb0f2-f21c-467c-a947-4f8fc26d0f2e" providerId="ADAL" clId="{C92D4D14-F746-4D40-BCC7-77792082F25E}" dt="2022-12-12T22:24:21.113" v="8499"/>
        <pc:sldMkLst>
          <pc:docMk/>
          <pc:sldMk cId="1895228649" sldId="276"/>
        </pc:sldMkLst>
      </pc:sldChg>
      <pc:sldChg chg="del">
        <pc:chgData name="Kory Thacher (APPS / POWERSHELL)" userId="995eb0f2-f21c-467c-a947-4f8fc26d0f2e" providerId="ADAL" clId="{C92D4D14-F746-4D40-BCC7-77792082F25E}" dt="2022-11-03T17:13:34.591" v="1" actId="47"/>
        <pc:sldMkLst>
          <pc:docMk/>
          <pc:sldMk cId="2966509842" sldId="285"/>
        </pc:sldMkLst>
      </pc:sldChg>
      <pc:sldChg chg="del">
        <pc:chgData name="Kory Thacher (APPS / POWERSHELL)" userId="995eb0f2-f21c-467c-a947-4f8fc26d0f2e" providerId="ADAL" clId="{C92D4D14-F746-4D40-BCC7-77792082F25E}" dt="2022-11-03T17:13:22.303" v="0" actId="47"/>
        <pc:sldMkLst>
          <pc:docMk/>
          <pc:sldMk cId="143350073" sldId="287"/>
        </pc:sldMkLst>
      </pc:sldChg>
      <pc:sldChg chg="addSp delSp modSp del mod modNotesTx">
        <pc:chgData name="Kory Thacher (APPS / POWERSHELL)" userId="995eb0f2-f21c-467c-a947-4f8fc26d0f2e" providerId="ADAL" clId="{C92D4D14-F746-4D40-BCC7-77792082F25E}" dt="2022-11-28T22:52:40.880" v="4150" actId="47"/>
        <pc:sldMkLst>
          <pc:docMk/>
          <pc:sldMk cId="922116737" sldId="289"/>
        </pc:sldMkLst>
        <pc:spChg chg="mod">
          <ac:chgData name="Kory Thacher (APPS / POWERSHELL)" userId="995eb0f2-f21c-467c-a947-4f8fc26d0f2e" providerId="ADAL" clId="{C92D4D14-F746-4D40-BCC7-77792082F25E}" dt="2022-11-03T18:21:08.908" v="509" actId="1076"/>
          <ac:spMkLst>
            <pc:docMk/>
            <pc:sldMk cId="922116737" sldId="289"/>
            <ac:spMk id="3" creationId="{90DB6A2D-390E-47D4-9003-4B0FBA264034}"/>
          </ac:spMkLst>
        </pc:spChg>
        <pc:spChg chg="del">
          <ac:chgData name="Kory Thacher (APPS / POWERSHELL)" userId="995eb0f2-f21c-467c-a947-4f8fc26d0f2e" providerId="ADAL" clId="{C92D4D14-F746-4D40-BCC7-77792082F25E}" dt="2022-11-03T18:19:36.579" v="472" actId="478"/>
          <ac:spMkLst>
            <pc:docMk/>
            <pc:sldMk cId="922116737" sldId="289"/>
            <ac:spMk id="4" creationId="{2E94831B-B774-4261-9EA0-8C098A7C7222}"/>
          </ac:spMkLst>
        </pc:spChg>
        <pc:spChg chg="add del mod">
          <ac:chgData name="Kory Thacher (APPS / POWERSHELL)" userId="995eb0f2-f21c-467c-a947-4f8fc26d0f2e" providerId="ADAL" clId="{C92D4D14-F746-4D40-BCC7-77792082F25E}" dt="2022-11-03T18:19:41.121" v="473" actId="478"/>
          <ac:spMkLst>
            <pc:docMk/>
            <pc:sldMk cId="922116737" sldId="289"/>
            <ac:spMk id="5" creationId="{6072AF58-F225-A8F2-A6E6-287D8B366340}"/>
          </ac:spMkLst>
        </pc:spChg>
        <pc:spChg chg="mod">
          <ac:chgData name="Kory Thacher (APPS / POWERSHELL)" userId="995eb0f2-f21c-467c-a947-4f8fc26d0f2e" providerId="ADAL" clId="{C92D4D14-F746-4D40-BCC7-77792082F25E}" dt="2022-11-03T18:25:53.498" v="746" actId="20577"/>
          <ac:spMkLst>
            <pc:docMk/>
            <pc:sldMk cId="922116737" sldId="289"/>
            <ac:spMk id="7" creationId="{91CCF221-F767-49B9-9CD9-076467D04D53}"/>
          </ac:spMkLst>
        </pc:spChg>
        <pc:graphicFrameChg chg="add mod">
          <ac:chgData name="Kory Thacher (APPS / POWERSHELL)" userId="995eb0f2-f21c-467c-a947-4f8fc26d0f2e" providerId="ADAL" clId="{C92D4D14-F746-4D40-BCC7-77792082F25E}" dt="2022-11-03T18:26:20.418" v="748" actId="113"/>
          <ac:graphicFrameMkLst>
            <pc:docMk/>
            <pc:sldMk cId="922116737" sldId="289"/>
            <ac:graphicFrameMk id="6" creationId="{FCA1D9CC-C608-A338-3D9F-9625B499C82B}"/>
          </ac:graphicFrameMkLst>
        </pc:graphicFrameChg>
      </pc:sldChg>
      <pc:sldChg chg="modNotesTx">
        <pc:chgData name="Kory Thacher (APPS / POWERSHELL)" userId="995eb0f2-f21c-467c-a947-4f8fc26d0f2e" providerId="ADAL" clId="{C92D4D14-F746-4D40-BCC7-77792082F25E}" dt="2022-11-03T18:31:01.114" v="967" actId="20577"/>
        <pc:sldMkLst>
          <pc:docMk/>
          <pc:sldMk cId="4048261989" sldId="297"/>
        </pc:sldMkLst>
      </pc:sldChg>
      <pc:sldChg chg="del modCm">
        <pc:chgData name="Kory Thacher (APPS / POWERSHELL)" userId="995eb0f2-f21c-467c-a947-4f8fc26d0f2e" providerId="ADAL" clId="{C92D4D14-F746-4D40-BCC7-77792082F25E}" dt="2022-12-05T21:19:03.817" v="5249" actId="47"/>
        <pc:sldMkLst>
          <pc:docMk/>
          <pc:sldMk cId="3190187242" sldId="298"/>
        </pc:sldMkLst>
      </pc:sldChg>
      <pc:sldChg chg="del">
        <pc:chgData name="Kory Thacher (APPS / POWERSHELL)" userId="995eb0f2-f21c-467c-a947-4f8fc26d0f2e" providerId="ADAL" clId="{C92D4D14-F746-4D40-BCC7-77792082F25E}" dt="2022-11-29T00:02:30.872" v="4682" actId="47"/>
        <pc:sldMkLst>
          <pc:docMk/>
          <pc:sldMk cId="2033449873" sldId="299"/>
        </pc:sldMkLst>
      </pc:sldChg>
      <pc:sldChg chg="modSp del mod ord modShow">
        <pc:chgData name="Kory Thacher (APPS / POWERSHELL)" userId="995eb0f2-f21c-467c-a947-4f8fc26d0f2e" providerId="ADAL" clId="{C92D4D14-F746-4D40-BCC7-77792082F25E}" dt="2022-12-05T21:10:39.458" v="4940" actId="47"/>
        <pc:sldMkLst>
          <pc:docMk/>
          <pc:sldMk cId="1677061110" sldId="300"/>
        </pc:sldMkLst>
        <pc:spChg chg="mod">
          <ac:chgData name="Kory Thacher (APPS / POWERSHELL)" userId="995eb0f2-f21c-467c-a947-4f8fc26d0f2e" providerId="ADAL" clId="{C92D4D14-F746-4D40-BCC7-77792082F25E}" dt="2022-11-29T00:06:40.915" v="4760" actId="20577"/>
          <ac:spMkLst>
            <pc:docMk/>
            <pc:sldMk cId="1677061110" sldId="300"/>
            <ac:spMk id="3" creationId="{EA4036C7-79DB-4182-9EC7-6CDB43C83CDE}"/>
          </ac:spMkLst>
        </pc:spChg>
        <pc:spChg chg="mod">
          <ac:chgData name="Kory Thacher (APPS / POWERSHELL)" userId="995eb0f2-f21c-467c-a947-4f8fc26d0f2e" providerId="ADAL" clId="{C92D4D14-F746-4D40-BCC7-77792082F25E}" dt="2022-12-01T21:38:10.213" v="4778" actId="6549"/>
          <ac:spMkLst>
            <pc:docMk/>
            <pc:sldMk cId="1677061110" sldId="300"/>
            <ac:spMk id="7" creationId="{E9080E79-A422-49A2-A5EB-E1D1FF4B5A92}"/>
          </ac:spMkLst>
        </pc:spChg>
        <pc:picChg chg="mod">
          <ac:chgData name="Kory Thacher (APPS / POWERSHELL)" userId="995eb0f2-f21c-467c-a947-4f8fc26d0f2e" providerId="ADAL" clId="{C92D4D14-F746-4D40-BCC7-77792082F25E}" dt="2022-12-01T21:47:35.115" v="4789" actId="14100"/>
          <ac:picMkLst>
            <pc:docMk/>
            <pc:sldMk cId="1677061110" sldId="300"/>
            <ac:picMk id="6" creationId="{335163B4-FA99-4FE7-9223-F28BE9B56C76}"/>
          </ac:picMkLst>
        </pc:picChg>
      </pc:sldChg>
      <pc:sldChg chg="del">
        <pc:chgData name="Kory Thacher (APPS / POWERSHELL)" userId="995eb0f2-f21c-467c-a947-4f8fc26d0f2e" providerId="ADAL" clId="{C92D4D14-F746-4D40-BCC7-77792082F25E}" dt="2022-11-29T00:03:11.727" v="4683" actId="47"/>
        <pc:sldMkLst>
          <pc:docMk/>
          <pc:sldMk cId="761153844" sldId="301"/>
        </pc:sldMkLst>
      </pc:sldChg>
      <pc:sldChg chg="addSp delSp modSp del mod ord modShow">
        <pc:chgData name="Kory Thacher (APPS / POWERSHELL)" userId="995eb0f2-f21c-467c-a947-4f8fc26d0f2e" providerId="ADAL" clId="{C92D4D14-F746-4D40-BCC7-77792082F25E}" dt="2022-12-05T21:10:39.458" v="4940" actId="47"/>
        <pc:sldMkLst>
          <pc:docMk/>
          <pc:sldMk cId="2963838314" sldId="302"/>
        </pc:sldMkLst>
        <pc:spChg chg="mod">
          <ac:chgData name="Kory Thacher (APPS / POWERSHELL)" userId="995eb0f2-f21c-467c-a947-4f8fc26d0f2e" providerId="ADAL" clId="{C92D4D14-F746-4D40-BCC7-77792082F25E}" dt="2022-11-29T00:06:36.571" v="4758" actId="20577"/>
          <ac:spMkLst>
            <pc:docMk/>
            <pc:sldMk cId="2963838314" sldId="302"/>
            <ac:spMk id="3" creationId="{EA4036C7-79DB-4182-9EC7-6CDB43C83CDE}"/>
          </ac:spMkLst>
        </pc:spChg>
        <pc:picChg chg="add del mod">
          <ac:chgData name="Kory Thacher (APPS / POWERSHELL)" userId="995eb0f2-f21c-467c-a947-4f8fc26d0f2e" providerId="ADAL" clId="{C92D4D14-F746-4D40-BCC7-77792082F25E}" dt="2022-12-01T22:54:18.175" v="4794" actId="478"/>
          <ac:picMkLst>
            <pc:docMk/>
            <pc:sldMk cId="2963838314" sldId="302"/>
            <ac:picMk id="11" creationId="{D78C472D-0492-9067-D27A-B31A63EAC9CF}"/>
          </ac:picMkLst>
        </pc:picChg>
      </pc:sldChg>
      <pc:sldChg chg="del">
        <pc:chgData name="Kory Thacher (APPS / POWERSHELL)" userId="995eb0f2-f21c-467c-a947-4f8fc26d0f2e" providerId="ADAL" clId="{C92D4D14-F746-4D40-BCC7-77792082F25E}" dt="2022-12-05T21:51:59.224" v="5590" actId="47"/>
        <pc:sldMkLst>
          <pc:docMk/>
          <pc:sldMk cId="283881700" sldId="304"/>
        </pc:sldMkLst>
      </pc:sldChg>
      <pc:sldChg chg="del">
        <pc:chgData name="Kory Thacher (APPS / POWERSHELL)" userId="995eb0f2-f21c-467c-a947-4f8fc26d0f2e" providerId="ADAL" clId="{C92D4D14-F746-4D40-BCC7-77792082F25E}" dt="2022-12-05T22:14:34.324" v="5965" actId="47"/>
        <pc:sldMkLst>
          <pc:docMk/>
          <pc:sldMk cId="2430698488" sldId="305"/>
        </pc:sldMkLst>
      </pc:sldChg>
      <pc:sldChg chg="addSp delSp modSp mod">
        <pc:chgData name="Kory Thacher (APPS / POWERSHELL)" userId="995eb0f2-f21c-467c-a947-4f8fc26d0f2e" providerId="ADAL" clId="{C92D4D14-F746-4D40-BCC7-77792082F25E}" dt="2022-12-05T22:29:58.320" v="6140" actId="255"/>
        <pc:sldMkLst>
          <pc:docMk/>
          <pc:sldMk cId="2651296270" sldId="306"/>
        </pc:sldMkLst>
        <pc:spChg chg="del">
          <ac:chgData name="Kory Thacher (APPS / POWERSHELL)" userId="995eb0f2-f21c-467c-a947-4f8fc26d0f2e" providerId="ADAL" clId="{C92D4D14-F746-4D40-BCC7-77792082F25E}" dt="2022-12-05T22:24:32.329" v="6002" actId="478"/>
          <ac:spMkLst>
            <pc:docMk/>
            <pc:sldMk cId="2651296270" sldId="306"/>
            <ac:spMk id="4" creationId="{95CCDE0A-C1F3-4155-BAFC-C69B69B3EF4D}"/>
          </ac:spMkLst>
        </pc:spChg>
        <pc:spChg chg="add del mod">
          <ac:chgData name="Kory Thacher (APPS / POWERSHELL)" userId="995eb0f2-f21c-467c-a947-4f8fc26d0f2e" providerId="ADAL" clId="{C92D4D14-F746-4D40-BCC7-77792082F25E}" dt="2022-12-05T22:24:36.368" v="6003" actId="478"/>
          <ac:spMkLst>
            <pc:docMk/>
            <pc:sldMk cId="2651296270" sldId="306"/>
            <ac:spMk id="5" creationId="{F8E4CC76-B243-C4FE-C598-939231A8078F}"/>
          </ac:spMkLst>
        </pc:spChg>
        <pc:spChg chg="mod">
          <ac:chgData name="Kory Thacher (APPS / POWERSHELL)" userId="995eb0f2-f21c-467c-a947-4f8fc26d0f2e" providerId="ADAL" clId="{C92D4D14-F746-4D40-BCC7-77792082F25E}" dt="2022-12-05T22:28:21.372" v="6135" actId="14100"/>
          <ac:spMkLst>
            <pc:docMk/>
            <pc:sldMk cId="2651296270" sldId="306"/>
            <ac:spMk id="6" creationId="{5D87067C-E2BD-4E28-AF11-16174B277618}"/>
          </ac:spMkLst>
        </pc:spChg>
        <pc:spChg chg="del mod">
          <ac:chgData name="Kory Thacher (APPS / POWERSHELL)" userId="995eb0f2-f21c-467c-a947-4f8fc26d0f2e" providerId="ADAL" clId="{C92D4D14-F746-4D40-BCC7-77792082F25E}" dt="2022-12-05T22:27:57.386" v="6130" actId="12084"/>
          <ac:spMkLst>
            <pc:docMk/>
            <pc:sldMk cId="2651296270" sldId="306"/>
            <ac:spMk id="7" creationId="{2316BDE3-F06D-4833-AF51-EAF085F99C86}"/>
          </ac:spMkLst>
        </pc:spChg>
        <pc:graphicFrameChg chg="add mod">
          <ac:chgData name="Kory Thacher (APPS / POWERSHELL)" userId="995eb0f2-f21c-467c-a947-4f8fc26d0f2e" providerId="ADAL" clId="{C92D4D14-F746-4D40-BCC7-77792082F25E}" dt="2022-12-05T22:29:58.320" v="6140" actId="255"/>
          <ac:graphicFrameMkLst>
            <pc:docMk/>
            <pc:sldMk cId="2651296270" sldId="306"/>
            <ac:graphicFrameMk id="8" creationId="{EB77B92E-8D57-012E-DB33-F2F5E54706C5}"/>
          </ac:graphicFrameMkLst>
        </pc:graphicFrameChg>
      </pc:sldChg>
      <pc:sldChg chg="modSp mod">
        <pc:chgData name="Kory Thacher (APPS / POWERSHELL)" userId="995eb0f2-f21c-467c-a947-4f8fc26d0f2e" providerId="ADAL" clId="{C92D4D14-F746-4D40-BCC7-77792082F25E}" dt="2022-12-08T23:01:30.698" v="8094" actId="20577"/>
        <pc:sldMkLst>
          <pc:docMk/>
          <pc:sldMk cId="3398519265" sldId="309"/>
        </pc:sldMkLst>
        <pc:spChg chg="mod">
          <ac:chgData name="Kory Thacher (APPS / POWERSHELL)" userId="995eb0f2-f21c-467c-a947-4f8fc26d0f2e" providerId="ADAL" clId="{C92D4D14-F746-4D40-BCC7-77792082F25E}" dt="2022-12-08T23:01:30.698" v="8094" actId="20577"/>
          <ac:spMkLst>
            <pc:docMk/>
            <pc:sldMk cId="3398519265" sldId="309"/>
            <ac:spMk id="4" creationId="{9CBC6F63-616D-478D-A91D-8B071350BF64}"/>
          </ac:spMkLst>
        </pc:spChg>
      </pc:sldChg>
      <pc:sldChg chg="del ord">
        <pc:chgData name="Kory Thacher (APPS / POWERSHELL)" userId="995eb0f2-f21c-467c-a947-4f8fc26d0f2e" providerId="ADAL" clId="{C92D4D14-F746-4D40-BCC7-77792082F25E}" dt="2022-12-08T22:59:06.644" v="8075" actId="47"/>
        <pc:sldMkLst>
          <pc:docMk/>
          <pc:sldMk cId="3132383162" sldId="310"/>
        </pc:sldMkLst>
      </pc:sldChg>
      <pc:sldChg chg="mod ord modShow">
        <pc:chgData name="Kory Thacher (APPS / POWERSHELL)" userId="995eb0f2-f21c-467c-a947-4f8fc26d0f2e" providerId="ADAL" clId="{C92D4D14-F746-4D40-BCC7-77792082F25E}" dt="2022-12-08T23:00:07.818" v="8079"/>
        <pc:sldMkLst>
          <pc:docMk/>
          <pc:sldMk cId="986258471" sldId="311"/>
        </pc:sldMkLst>
      </pc:sldChg>
      <pc:sldChg chg="mod ord modShow">
        <pc:chgData name="Kory Thacher (APPS / POWERSHELL)" userId="995eb0f2-f21c-467c-a947-4f8fc26d0f2e" providerId="ADAL" clId="{C92D4D14-F746-4D40-BCC7-77792082F25E}" dt="2022-12-08T23:00:07.818" v="8079"/>
        <pc:sldMkLst>
          <pc:docMk/>
          <pc:sldMk cId="2234774238" sldId="312"/>
        </pc:sldMkLst>
      </pc:sldChg>
      <pc:sldChg chg="del">
        <pc:chgData name="Kory Thacher (APPS / POWERSHELL)" userId="995eb0f2-f21c-467c-a947-4f8fc26d0f2e" providerId="ADAL" clId="{C92D4D14-F746-4D40-BCC7-77792082F25E}" dt="2022-12-08T22:59:27.838" v="8076" actId="47"/>
        <pc:sldMkLst>
          <pc:docMk/>
          <pc:sldMk cId="2820221524" sldId="313"/>
        </pc:sldMkLst>
      </pc:sldChg>
      <pc:sldChg chg="mod ord modShow">
        <pc:chgData name="Kory Thacher (APPS / POWERSHELL)" userId="995eb0f2-f21c-467c-a947-4f8fc26d0f2e" providerId="ADAL" clId="{C92D4D14-F746-4D40-BCC7-77792082F25E}" dt="2022-12-08T23:00:07.818" v="8079"/>
        <pc:sldMkLst>
          <pc:docMk/>
          <pc:sldMk cId="1115799198" sldId="314"/>
        </pc:sldMkLst>
      </pc:sldChg>
      <pc:sldChg chg="del">
        <pc:chgData name="Kory Thacher (APPS / POWERSHELL)" userId="995eb0f2-f21c-467c-a947-4f8fc26d0f2e" providerId="ADAL" clId="{C92D4D14-F746-4D40-BCC7-77792082F25E}" dt="2022-12-12T20:38:48.781" v="8227" actId="47"/>
        <pc:sldMkLst>
          <pc:docMk/>
          <pc:sldMk cId="326216181" sldId="322"/>
        </pc:sldMkLst>
      </pc:sldChg>
      <pc:sldChg chg="del">
        <pc:chgData name="Kory Thacher (APPS / POWERSHELL)" userId="995eb0f2-f21c-467c-a947-4f8fc26d0f2e" providerId="ADAL" clId="{C92D4D14-F746-4D40-BCC7-77792082F25E}" dt="2022-12-12T20:38:48.781" v="8227" actId="47"/>
        <pc:sldMkLst>
          <pc:docMk/>
          <pc:sldMk cId="4130409067" sldId="331"/>
        </pc:sldMkLst>
      </pc:sldChg>
      <pc:sldChg chg="addSp delSp modSp mod modNotesTx">
        <pc:chgData name="Kory Thacher (APPS / POWERSHELL)" userId="995eb0f2-f21c-467c-a947-4f8fc26d0f2e" providerId="ADAL" clId="{C92D4D14-F746-4D40-BCC7-77792082F25E}" dt="2022-12-12T21:18:30.127" v="8288" actId="20577"/>
        <pc:sldMkLst>
          <pc:docMk/>
          <pc:sldMk cId="4275759498" sldId="332"/>
        </pc:sldMkLst>
        <pc:picChg chg="del">
          <ac:chgData name="Kory Thacher (APPS / POWERSHELL)" userId="995eb0f2-f21c-467c-a947-4f8fc26d0f2e" providerId="ADAL" clId="{C92D4D14-F746-4D40-BCC7-77792082F25E}" dt="2022-12-12T21:17:43.702" v="8233" actId="478"/>
          <ac:picMkLst>
            <pc:docMk/>
            <pc:sldMk cId="4275759498" sldId="332"/>
            <ac:picMk id="5" creationId="{DFC9290E-8575-5778-BE59-5460721A2A60}"/>
          </ac:picMkLst>
        </pc:picChg>
        <pc:picChg chg="add mod">
          <ac:chgData name="Kory Thacher (APPS / POWERSHELL)" userId="995eb0f2-f21c-467c-a947-4f8fc26d0f2e" providerId="ADAL" clId="{C92D4D14-F746-4D40-BCC7-77792082F25E}" dt="2022-12-12T21:17:56.725" v="8236" actId="1076"/>
          <ac:picMkLst>
            <pc:docMk/>
            <pc:sldMk cId="4275759498" sldId="332"/>
            <ac:picMk id="6" creationId="{78902143-94B8-84AC-E96B-A02FC28CE9BE}"/>
          </ac:picMkLst>
        </pc:picChg>
      </pc:sldChg>
      <pc:sldChg chg="modNotesTx">
        <pc:chgData name="Kory Thacher (APPS / POWERSHELL)" userId="995eb0f2-f21c-467c-a947-4f8fc26d0f2e" providerId="ADAL" clId="{C92D4D14-F746-4D40-BCC7-77792082F25E}" dt="2022-11-03T19:14:00.674" v="1223" actId="6549"/>
        <pc:sldMkLst>
          <pc:docMk/>
          <pc:sldMk cId="979368761" sldId="337"/>
        </pc:sldMkLst>
      </pc:sldChg>
      <pc:sldChg chg="del">
        <pc:chgData name="Kory Thacher (APPS / POWERSHELL)" userId="995eb0f2-f21c-467c-a947-4f8fc26d0f2e" providerId="ADAL" clId="{C92D4D14-F746-4D40-BCC7-77792082F25E}" dt="2022-11-03T18:29:52.038" v="818" actId="47"/>
        <pc:sldMkLst>
          <pc:docMk/>
          <pc:sldMk cId="1222630488" sldId="378"/>
        </pc:sldMkLst>
      </pc:sldChg>
      <pc:sldChg chg="del">
        <pc:chgData name="Kory Thacher (APPS / POWERSHELL)" userId="995eb0f2-f21c-467c-a947-4f8fc26d0f2e" providerId="ADAL" clId="{C92D4D14-F746-4D40-BCC7-77792082F25E}" dt="2022-11-03T17:13:22.303" v="0" actId="47"/>
        <pc:sldMkLst>
          <pc:docMk/>
          <pc:sldMk cId="1208044423" sldId="386"/>
        </pc:sldMkLst>
      </pc:sldChg>
      <pc:sldChg chg="addSp delSp modSp add del mod ord">
        <pc:chgData name="Kory Thacher (APPS / POWERSHELL)" userId="995eb0f2-f21c-467c-a947-4f8fc26d0f2e" providerId="ADAL" clId="{C92D4D14-F746-4D40-BCC7-77792082F25E}" dt="2022-11-03T18:16:27.674" v="435" actId="47"/>
        <pc:sldMkLst>
          <pc:docMk/>
          <pc:sldMk cId="2288207046" sldId="392"/>
        </pc:sldMkLst>
        <pc:spChg chg="add del mod">
          <ac:chgData name="Kory Thacher (APPS / POWERSHELL)" userId="995eb0f2-f21c-467c-a947-4f8fc26d0f2e" providerId="ADAL" clId="{C92D4D14-F746-4D40-BCC7-77792082F25E}" dt="2022-11-03T17:33:58.283" v="6" actId="478"/>
          <ac:spMkLst>
            <pc:docMk/>
            <pc:sldMk cId="2288207046" sldId="392"/>
            <ac:spMk id="4" creationId="{180CA700-E428-D8E6-AFEF-FB63FE768B1F}"/>
          </ac:spMkLst>
        </pc:spChg>
        <pc:spChg chg="mod">
          <ac:chgData name="Kory Thacher (APPS / POWERSHELL)" userId="995eb0f2-f21c-467c-a947-4f8fc26d0f2e" providerId="ADAL" clId="{C92D4D14-F746-4D40-BCC7-77792082F25E}" dt="2022-11-03T17:35:12.018" v="184" actId="1076"/>
          <ac:spMkLst>
            <pc:docMk/>
            <pc:sldMk cId="2288207046" sldId="392"/>
            <ac:spMk id="13" creationId="{656CC01F-87E8-421C-9E91-56BFC84B030C}"/>
          </ac:spMkLst>
        </pc:spChg>
        <pc:spChg chg="del">
          <ac:chgData name="Kory Thacher (APPS / POWERSHELL)" userId="995eb0f2-f21c-467c-a947-4f8fc26d0f2e" providerId="ADAL" clId="{C92D4D14-F746-4D40-BCC7-77792082F25E}" dt="2022-11-03T17:33:53.591" v="5" actId="478"/>
          <ac:spMkLst>
            <pc:docMk/>
            <pc:sldMk cId="2288207046" sldId="392"/>
            <ac:spMk id="14" creationId="{CEED8A9B-011A-40EF-B40A-79915314504A}"/>
          </ac:spMkLst>
        </pc:spChg>
        <pc:graphicFrameChg chg="add mod">
          <ac:chgData name="Kory Thacher (APPS / POWERSHELL)" userId="995eb0f2-f21c-467c-a947-4f8fc26d0f2e" providerId="ADAL" clId="{C92D4D14-F746-4D40-BCC7-77792082F25E}" dt="2022-11-03T17:47:07.206" v="315" actId="113"/>
          <ac:graphicFrameMkLst>
            <pc:docMk/>
            <pc:sldMk cId="2288207046" sldId="392"/>
            <ac:graphicFrameMk id="5" creationId="{5A8FE4A7-2147-08C1-0E85-5FCE0452886F}"/>
          </ac:graphicFrameMkLst>
        </pc:graphicFrameChg>
      </pc:sldChg>
      <pc:sldChg chg="modSp mod">
        <pc:chgData name="Kory Thacher (APPS / POWERSHELL)" userId="995eb0f2-f21c-467c-a947-4f8fc26d0f2e" providerId="ADAL" clId="{C92D4D14-F746-4D40-BCC7-77792082F25E}" dt="2022-11-03T18:15:41.662" v="434"/>
        <pc:sldMkLst>
          <pc:docMk/>
          <pc:sldMk cId="2868269840" sldId="393"/>
        </pc:sldMkLst>
        <pc:graphicFrameChg chg="mod">
          <ac:chgData name="Kory Thacher (APPS / POWERSHELL)" userId="995eb0f2-f21c-467c-a947-4f8fc26d0f2e" providerId="ADAL" clId="{C92D4D14-F746-4D40-BCC7-77792082F25E}" dt="2022-11-03T18:15:41.662" v="434"/>
          <ac:graphicFrameMkLst>
            <pc:docMk/>
            <pc:sldMk cId="2868269840" sldId="393"/>
            <ac:graphicFrameMk id="5" creationId="{5A8FE4A7-2147-08C1-0E85-5FCE0452886F}"/>
          </ac:graphicFrameMkLst>
        </pc:graphicFrameChg>
      </pc:sldChg>
      <pc:sldChg chg="modSp del mod">
        <pc:chgData name="Kory Thacher (APPS / POWERSHELL)" userId="995eb0f2-f21c-467c-a947-4f8fc26d0f2e" providerId="ADAL" clId="{C92D4D14-F746-4D40-BCC7-77792082F25E}" dt="2022-11-03T18:16:27.674" v="435" actId="47"/>
        <pc:sldMkLst>
          <pc:docMk/>
          <pc:sldMk cId="1106497915" sldId="394"/>
        </pc:sldMkLst>
        <pc:graphicFrameChg chg="mod">
          <ac:chgData name="Kory Thacher (APPS / POWERSHELL)" userId="995eb0f2-f21c-467c-a947-4f8fc26d0f2e" providerId="ADAL" clId="{C92D4D14-F746-4D40-BCC7-77792082F25E}" dt="2022-11-03T17:54:46.061" v="336" actId="13782"/>
          <ac:graphicFrameMkLst>
            <pc:docMk/>
            <pc:sldMk cId="1106497915" sldId="394"/>
            <ac:graphicFrameMk id="5" creationId="{5A8FE4A7-2147-08C1-0E85-5FCE0452886F}"/>
          </ac:graphicFrameMkLst>
        </pc:graphicFrameChg>
      </pc:sldChg>
      <pc:sldChg chg="modSp del">
        <pc:chgData name="Kory Thacher (APPS / POWERSHELL)" userId="995eb0f2-f21c-467c-a947-4f8fc26d0f2e" providerId="ADAL" clId="{C92D4D14-F746-4D40-BCC7-77792082F25E}" dt="2022-11-03T18:16:27.674" v="435" actId="47"/>
        <pc:sldMkLst>
          <pc:docMk/>
          <pc:sldMk cId="2459676674" sldId="395"/>
        </pc:sldMkLst>
        <pc:graphicFrameChg chg="mod">
          <ac:chgData name="Kory Thacher (APPS / POWERSHELL)" userId="995eb0f2-f21c-467c-a947-4f8fc26d0f2e" providerId="ADAL" clId="{C92D4D14-F746-4D40-BCC7-77792082F25E}" dt="2022-11-03T17:59:13.295" v="382" actId="962"/>
          <ac:graphicFrameMkLst>
            <pc:docMk/>
            <pc:sldMk cId="2459676674" sldId="395"/>
            <ac:graphicFrameMk id="2" creationId="{F97B5B67-5FB9-26F8-F554-226E82C14655}"/>
          </ac:graphicFrameMkLst>
        </pc:graphicFrameChg>
      </pc:sldChg>
      <pc:sldChg chg="modSp add del">
        <pc:chgData name="Kory Thacher (APPS / POWERSHELL)" userId="995eb0f2-f21c-467c-a947-4f8fc26d0f2e" providerId="ADAL" clId="{C92D4D14-F746-4D40-BCC7-77792082F25E}" dt="2022-11-03T18:16:27.674" v="435" actId="47"/>
        <pc:sldMkLst>
          <pc:docMk/>
          <pc:sldMk cId="843280395" sldId="396"/>
        </pc:sldMkLst>
        <pc:graphicFrameChg chg="mod">
          <ac:chgData name="Kory Thacher (APPS / POWERSHELL)" userId="995eb0f2-f21c-467c-a947-4f8fc26d0f2e" providerId="ADAL" clId="{C92D4D14-F746-4D40-BCC7-77792082F25E}" dt="2022-11-03T17:57:24.015" v="380" actId="20577"/>
          <ac:graphicFrameMkLst>
            <pc:docMk/>
            <pc:sldMk cId="843280395" sldId="396"/>
            <ac:graphicFrameMk id="5" creationId="{5A8FE4A7-2147-08C1-0E85-5FCE0452886F}"/>
          </ac:graphicFrameMkLst>
        </pc:graphicFrameChg>
      </pc:sldChg>
      <pc:sldChg chg="modSp add del mod">
        <pc:chgData name="Kory Thacher (APPS / POWERSHELL)" userId="995eb0f2-f21c-467c-a947-4f8fc26d0f2e" providerId="ADAL" clId="{C92D4D14-F746-4D40-BCC7-77792082F25E}" dt="2022-11-03T18:16:27.674" v="435" actId="47"/>
        <pc:sldMkLst>
          <pc:docMk/>
          <pc:sldMk cId="2318642678" sldId="397"/>
        </pc:sldMkLst>
        <pc:graphicFrameChg chg="mod">
          <ac:chgData name="Kory Thacher (APPS / POWERSHELL)" userId="995eb0f2-f21c-467c-a947-4f8fc26d0f2e" providerId="ADAL" clId="{C92D4D14-F746-4D40-BCC7-77792082F25E}" dt="2022-11-03T18:11:49.793" v="413" actId="13782"/>
          <ac:graphicFrameMkLst>
            <pc:docMk/>
            <pc:sldMk cId="2318642678" sldId="397"/>
            <ac:graphicFrameMk id="2" creationId="{F97B5B67-5FB9-26F8-F554-226E82C14655}"/>
          </ac:graphicFrameMkLst>
        </pc:graphicFrameChg>
        <pc:graphicFrameChg chg="mod">
          <ac:chgData name="Kory Thacher (APPS / POWERSHELL)" userId="995eb0f2-f21c-467c-a947-4f8fc26d0f2e" providerId="ADAL" clId="{C92D4D14-F746-4D40-BCC7-77792082F25E}" dt="2022-11-03T18:10:54.081" v="412" actId="13782"/>
          <ac:graphicFrameMkLst>
            <pc:docMk/>
            <pc:sldMk cId="2318642678" sldId="397"/>
            <ac:graphicFrameMk id="5" creationId="{5A8FE4A7-2147-08C1-0E85-5FCE0452886F}"/>
          </ac:graphicFrameMkLst>
        </pc:graphicFrameChg>
      </pc:sldChg>
      <pc:sldChg chg="modSp mod">
        <pc:chgData name="Kory Thacher (APPS / POWERSHELL)" userId="995eb0f2-f21c-467c-a947-4f8fc26d0f2e" providerId="ADAL" clId="{C92D4D14-F746-4D40-BCC7-77792082F25E}" dt="2022-11-03T18:18:17.377" v="454" actId="20577"/>
        <pc:sldMkLst>
          <pc:docMk/>
          <pc:sldMk cId="2239498325" sldId="398"/>
        </pc:sldMkLst>
        <pc:spChg chg="mod">
          <ac:chgData name="Kory Thacher (APPS / POWERSHELL)" userId="995eb0f2-f21c-467c-a947-4f8fc26d0f2e" providerId="ADAL" clId="{C92D4D14-F746-4D40-BCC7-77792082F25E}" dt="2022-11-03T18:18:17.377" v="454" actId="20577"/>
          <ac:spMkLst>
            <pc:docMk/>
            <pc:sldMk cId="2239498325" sldId="398"/>
            <ac:spMk id="3" creationId="{90DB6A2D-390E-47D4-9003-4B0FBA264034}"/>
          </ac:spMkLst>
        </pc:spChg>
      </pc:sldChg>
      <pc:sldChg chg="delSp modSp add del mod modShow">
        <pc:chgData name="Kory Thacher (APPS / POWERSHELL)" userId="995eb0f2-f21c-467c-a947-4f8fc26d0f2e" providerId="ADAL" clId="{C92D4D14-F746-4D40-BCC7-77792082F25E}" dt="2022-11-14T21:35:57.257" v="3110" actId="47"/>
        <pc:sldMkLst>
          <pc:docMk/>
          <pc:sldMk cId="1203384690" sldId="399"/>
        </pc:sldMkLst>
        <pc:spChg chg="mod">
          <ac:chgData name="Kory Thacher (APPS / POWERSHELL)" userId="995eb0f2-f21c-467c-a947-4f8fc26d0f2e" providerId="ADAL" clId="{C92D4D14-F746-4D40-BCC7-77792082F25E}" dt="2022-11-03T18:50:01.303" v="1000" actId="14100"/>
          <ac:spMkLst>
            <pc:docMk/>
            <pc:sldMk cId="1203384690" sldId="399"/>
            <ac:spMk id="6" creationId="{2A0549CE-2EE0-4B10-9C62-1F5857D11F46}"/>
          </ac:spMkLst>
        </pc:spChg>
        <pc:spChg chg="mod">
          <ac:chgData name="Kory Thacher (APPS / POWERSHELL)" userId="995eb0f2-f21c-467c-a947-4f8fc26d0f2e" providerId="ADAL" clId="{C92D4D14-F746-4D40-BCC7-77792082F25E}" dt="2022-11-03T18:51:53.573" v="1167" actId="20577"/>
          <ac:spMkLst>
            <pc:docMk/>
            <pc:sldMk cId="1203384690" sldId="399"/>
            <ac:spMk id="7" creationId="{9303A972-FED5-45E8-854F-91FC6AC8682A}"/>
          </ac:spMkLst>
        </pc:spChg>
        <pc:spChg chg="del mod">
          <ac:chgData name="Kory Thacher (APPS / POWERSHELL)" userId="995eb0f2-f21c-467c-a947-4f8fc26d0f2e" providerId="ADAL" clId="{C92D4D14-F746-4D40-BCC7-77792082F25E}" dt="2022-11-03T18:50:04.141" v="1001" actId="478"/>
          <ac:spMkLst>
            <pc:docMk/>
            <pc:sldMk cId="1203384690" sldId="399"/>
            <ac:spMk id="10" creationId="{4EFA7A2A-540F-43F4-9048-0EACD352C437}"/>
          </ac:spMkLst>
        </pc:spChg>
      </pc:sldChg>
      <pc:sldChg chg="add del mod modShow">
        <pc:chgData name="Kory Thacher (APPS / POWERSHELL)" userId="995eb0f2-f21c-467c-a947-4f8fc26d0f2e" providerId="ADAL" clId="{C92D4D14-F746-4D40-BCC7-77792082F25E}" dt="2022-11-03T18:50:14.726" v="1031" actId="47"/>
        <pc:sldMkLst>
          <pc:docMk/>
          <pc:sldMk cId="420620283" sldId="400"/>
        </pc:sldMkLst>
      </pc:sldChg>
      <pc:sldChg chg="add del mod modShow">
        <pc:chgData name="Kory Thacher (APPS / POWERSHELL)" userId="995eb0f2-f21c-467c-a947-4f8fc26d0f2e" providerId="ADAL" clId="{C92D4D14-F746-4D40-BCC7-77792082F25E}" dt="2022-11-03T18:50:16.037" v="1032" actId="47"/>
        <pc:sldMkLst>
          <pc:docMk/>
          <pc:sldMk cId="865774768" sldId="401"/>
        </pc:sldMkLst>
      </pc:sldChg>
      <pc:sldChg chg="add del mod modShow">
        <pc:chgData name="Kory Thacher (APPS / POWERSHELL)" userId="995eb0f2-f21c-467c-a947-4f8fc26d0f2e" providerId="ADAL" clId="{C92D4D14-F746-4D40-BCC7-77792082F25E}" dt="2022-11-03T18:50:17.245" v="1033" actId="47"/>
        <pc:sldMkLst>
          <pc:docMk/>
          <pc:sldMk cId="3348199192" sldId="402"/>
        </pc:sldMkLst>
      </pc:sldChg>
      <pc:sldChg chg="addSp delSp modSp add del mod modNotesTx">
        <pc:chgData name="Kory Thacher (APPS / POWERSHELL)" userId="995eb0f2-f21c-467c-a947-4f8fc26d0f2e" providerId="ADAL" clId="{C92D4D14-F746-4D40-BCC7-77792082F25E}" dt="2022-11-14T22:07:57.874" v="3537" actId="47"/>
        <pc:sldMkLst>
          <pc:docMk/>
          <pc:sldMk cId="2176528977" sldId="403"/>
        </pc:sldMkLst>
        <pc:spChg chg="mod">
          <ac:chgData name="Kory Thacher (APPS / POWERSHELL)" userId="995eb0f2-f21c-467c-a947-4f8fc26d0f2e" providerId="ADAL" clId="{C92D4D14-F746-4D40-BCC7-77792082F25E}" dt="2022-11-14T21:44:11.096" v="3162" actId="20577"/>
          <ac:spMkLst>
            <pc:docMk/>
            <pc:sldMk cId="2176528977" sldId="403"/>
            <ac:spMk id="3" creationId="{79743E29-3932-4EB8-86D4-F83F46D63AC3}"/>
          </ac:spMkLst>
        </pc:spChg>
        <pc:spChg chg="mod">
          <ac:chgData name="Kory Thacher (APPS / POWERSHELL)" userId="995eb0f2-f21c-467c-a947-4f8fc26d0f2e" providerId="ADAL" clId="{C92D4D14-F746-4D40-BCC7-77792082F25E}" dt="2022-11-14T21:53:33.501" v="3278" actId="14100"/>
          <ac:spMkLst>
            <pc:docMk/>
            <pc:sldMk cId="2176528977" sldId="403"/>
            <ac:spMk id="6" creationId="{2A0549CE-2EE0-4B10-9C62-1F5857D11F46}"/>
          </ac:spMkLst>
        </pc:spChg>
        <pc:spChg chg="del mod">
          <ac:chgData name="Kory Thacher (APPS / POWERSHELL)" userId="995eb0f2-f21c-467c-a947-4f8fc26d0f2e" providerId="ADAL" clId="{C92D4D14-F746-4D40-BCC7-77792082F25E}" dt="2022-11-14T22:04:44.974" v="3399" actId="12084"/>
          <ac:spMkLst>
            <pc:docMk/>
            <pc:sldMk cId="2176528977" sldId="403"/>
            <ac:spMk id="7" creationId="{9303A972-FED5-45E8-854F-91FC6AC8682A}"/>
          </ac:spMkLst>
        </pc:spChg>
        <pc:graphicFrameChg chg="add mod modGraphic">
          <ac:chgData name="Kory Thacher (APPS / POWERSHELL)" userId="995eb0f2-f21c-467c-a947-4f8fc26d0f2e" providerId="ADAL" clId="{C92D4D14-F746-4D40-BCC7-77792082F25E}" dt="2022-11-14T22:05:31.660" v="3410" actId="255"/>
          <ac:graphicFrameMkLst>
            <pc:docMk/>
            <pc:sldMk cId="2176528977" sldId="403"/>
            <ac:graphicFrameMk id="8" creationId="{795D17DE-EA0F-0749-C119-6FEB2AF5A6A1}"/>
          </ac:graphicFrameMkLst>
        </pc:graphicFrameChg>
        <pc:picChg chg="mod">
          <ac:chgData name="Kory Thacher (APPS / POWERSHELL)" userId="995eb0f2-f21c-467c-a947-4f8fc26d0f2e" providerId="ADAL" clId="{C92D4D14-F746-4D40-BCC7-77792082F25E}" dt="2022-11-14T22:03:28.136" v="3303" actId="14100"/>
          <ac:picMkLst>
            <pc:docMk/>
            <pc:sldMk cId="2176528977" sldId="403"/>
            <ac:picMk id="4" creationId="{191E1749-8D2A-4B2A-47F2-45F99DCAF77A}"/>
          </ac:picMkLst>
        </pc:picChg>
        <pc:picChg chg="add mod modCrop">
          <ac:chgData name="Kory Thacher (APPS / POWERSHELL)" userId="995eb0f2-f21c-467c-a947-4f8fc26d0f2e" providerId="ADAL" clId="{C92D4D14-F746-4D40-BCC7-77792082F25E}" dt="2022-11-14T22:05:19.681" v="3408" actId="1036"/>
          <ac:picMkLst>
            <pc:docMk/>
            <pc:sldMk cId="2176528977" sldId="403"/>
            <ac:picMk id="5" creationId="{15632131-76F6-83E7-550A-CD42EF44BB5C}"/>
          </ac:picMkLst>
        </pc:picChg>
      </pc:sldChg>
      <pc:sldChg chg="delSp modSp add del mod modNotesTx">
        <pc:chgData name="Kory Thacher (APPS / POWERSHELL)" userId="995eb0f2-f21c-467c-a947-4f8fc26d0f2e" providerId="ADAL" clId="{C92D4D14-F746-4D40-BCC7-77792082F25E}" dt="2022-11-28T23:34:46.586" v="4534" actId="47"/>
        <pc:sldMkLst>
          <pc:docMk/>
          <pc:sldMk cId="433377335" sldId="404"/>
        </pc:sldMkLst>
        <pc:spChg chg="mod">
          <ac:chgData name="Kory Thacher (APPS / POWERSHELL)" userId="995eb0f2-f21c-467c-a947-4f8fc26d0f2e" providerId="ADAL" clId="{C92D4D14-F746-4D40-BCC7-77792082F25E}" dt="2022-11-03T18:50:43.197" v="1064" actId="20577"/>
          <ac:spMkLst>
            <pc:docMk/>
            <pc:sldMk cId="433377335" sldId="404"/>
            <ac:spMk id="3" creationId="{79743E29-3932-4EB8-86D4-F83F46D63AC3}"/>
          </ac:spMkLst>
        </pc:spChg>
        <pc:spChg chg="mod">
          <ac:chgData name="Kory Thacher (APPS / POWERSHELL)" userId="995eb0f2-f21c-467c-a947-4f8fc26d0f2e" providerId="ADAL" clId="{C92D4D14-F746-4D40-BCC7-77792082F25E}" dt="2022-11-14T22:24:44.283" v="3825" actId="6549"/>
          <ac:spMkLst>
            <pc:docMk/>
            <pc:sldMk cId="433377335" sldId="404"/>
            <ac:spMk id="6" creationId="{2A0549CE-2EE0-4B10-9C62-1F5857D11F46}"/>
          </ac:spMkLst>
        </pc:spChg>
        <pc:spChg chg="mod">
          <ac:chgData name="Kory Thacher (APPS / POWERSHELL)" userId="995eb0f2-f21c-467c-a947-4f8fc26d0f2e" providerId="ADAL" clId="{C92D4D14-F746-4D40-BCC7-77792082F25E}" dt="2022-11-28T23:10:39.171" v="4384" actId="113"/>
          <ac:spMkLst>
            <pc:docMk/>
            <pc:sldMk cId="433377335" sldId="404"/>
            <ac:spMk id="7" creationId="{9303A972-FED5-45E8-854F-91FC6AC8682A}"/>
          </ac:spMkLst>
        </pc:spChg>
        <pc:picChg chg="del">
          <ac:chgData name="Kory Thacher (APPS / POWERSHELL)" userId="995eb0f2-f21c-467c-a947-4f8fc26d0f2e" providerId="ADAL" clId="{C92D4D14-F746-4D40-BCC7-77792082F25E}" dt="2022-11-14T22:19:29.302" v="3552" actId="21"/>
          <ac:picMkLst>
            <pc:docMk/>
            <pc:sldMk cId="433377335" sldId="404"/>
            <ac:picMk id="4" creationId="{C73DD26B-46BC-17EB-6A18-166EDF2E24C0}"/>
          </ac:picMkLst>
        </pc:picChg>
        <pc:picChg chg="del">
          <ac:chgData name="Kory Thacher (APPS / POWERSHELL)" userId="995eb0f2-f21c-467c-a947-4f8fc26d0f2e" providerId="ADAL" clId="{C92D4D14-F746-4D40-BCC7-77792082F25E}" dt="2022-11-14T22:19:29.302" v="3552" actId="21"/>
          <ac:picMkLst>
            <pc:docMk/>
            <pc:sldMk cId="433377335" sldId="404"/>
            <ac:picMk id="8" creationId="{5F0C172C-7E69-9CB5-23CA-6A5A69B6D1CA}"/>
          </ac:picMkLst>
        </pc:picChg>
      </pc:sldChg>
      <pc:sldChg chg="addSp delSp modSp add del mod">
        <pc:chgData name="Kory Thacher (APPS / POWERSHELL)" userId="995eb0f2-f21c-467c-a947-4f8fc26d0f2e" providerId="ADAL" clId="{C92D4D14-F746-4D40-BCC7-77792082F25E}" dt="2022-11-29T00:01:56.998" v="4681" actId="47"/>
        <pc:sldMkLst>
          <pc:docMk/>
          <pc:sldMk cId="3885118856" sldId="405"/>
        </pc:sldMkLst>
        <pc:spChg chg="mod">
          <ac:chgData name="Kory Thacher (APPS / POWERSHELL)" userId="995eb0f2-f21c-467c-a947-4f8fc26d0f2e" providerId="ADAL" clId="{C92D4D14-F746-4D40-BCC7-77792082F25E}" dt="2022-11-03T18:50:53.141" v="1076" actId="20577"/>
          <ac:spMkLst>
            <pc:docMk/>
            <pc:sldMk cId="3885118856" sldId="405"/>
            <ac:spMk id="3" creationId="{79743E29-3932-4EB8-86D4-F83F46D63AC3}"/>
          </ac:spMkLst>
        </pc:spChg>
        <pc:spChg chg="mod">
          <ac:chgData name="Kory Thacher (APPS / POWERSHELL)" userId="995eb0f2-f21c-467c-a947-4f8fc26d0f2e" providerId="ADAL" clId="{C92D4D14-F746-4D40-BCC7-77792082F25E}" dt="2022-11-28T22:56:57.427" v="4152"/>
          <ac:spMkLst>
            <pc:docMk/>
            <pc:sldMk cId="3885118856" sldId="405"/>
            <ac:spMk id="6" creationId="{2A0549CE-2EE0-4B10-9C62-1F5857D11F46}"/>
          </ac:spMkLst>
        </pc:spChg>
        <pc:spChg chg="del mod">
          <ac:chgData name="Kory Thacher (APPS / POWERSHELL)" userId="995eb0f2-f21c-467c-a947-4f8fc26d0f2e" providerId="ADAL" clId="{C92D4D14-F746-4D40-BCC7-77792082F25E}" dt="2022-11-28T22:51:29.216" v="4147" actId="478"/>
          <ac:spMkLst>
            <pc:docMk/>
            <pc:sldMk cId="3885118856" sldId="405"/>
            <ac:spMk id="7" creationId="{9303A972-FED5-45E8-854F-91FC6AC8682A}"/>
          </ac:spMkLst>
        </pc:spChg>
        <pc:spChg chg="add del mod">
          <ac:chgData name="Kory Thacher (APPS / POWERSHELL)" userId="995eb0f2-f21c-467c-a947-4f8fc26d0f2e" providerId="ADAL" clId="{C92D4D14-F746-4D40-BCC7-77792082F25E}" dt="2022-11-28T22:51:32.486" v="4149" actId="478"/>
          <ac:spMkLst>
            <pc:docMk/>
            <pc:sldMk cId="3885118856" sldId="405"/>
            <ac:spMk id="8" creationId="{D9D2E20D-A2F3-0DD6-6013-79F554AA97C5}"/>
          </ac:spMkLst>
        </pc:spChg>
        <pc:graphicFrameChg chg="add mod">
          <ac:chgData name="Kory Thacher (APPS / POWERSHELL)" userId="995eb0f2-f21c-467c-a947-4f8fc26d0f2e" providerId="ADAL" clId="{C92D4D14-F746-4D40-BCC7-77792082F25E}" dt="2022-11-28T23:53:02.076" v="4598" actId="20577"/>
          <ac:graphicFrameMkLst>
            <pc:docMk/>
            <pc:sldMk cId="3885118856" sldId="405"/>
            <ac:graphicFrameMk id="9" creationId="{9D0A0B63-D552-7BCB-402F-8B1F6510E365}"/>
          </ac:graphicFrameMkLst>
        </pc:graphicFrameChg>
        <pc:picChg chg="add mod">
          <ac:chgData name="Kory Thacher (APPS / POWERSHELL)" userId="995eb0f2-f21c-467c-a947-4f8fc26d0f2e" providerId="ADAL" clId="{C92D4D14-F746-4D40-BCC7-77792082F25E}" dt="2022-11-29T00:01:34.253" v="4680" actId="1076"/>
          <ac:picMkLst>
            <pc:docMk/>
            <pc:sldMk cId="3885118856" sldId="405"/>
            <ac:picMk id="2" creationId="{96215A11-56C3-6CF5-8FDE-3FE9A23ED42C}"/>
          </ac:picMkLst>
        </pc:picChg>
        <pc:picChg chg="add mod">
          <ac:chgData name="Kory Thacher (APPS / POWERSHELL)" userId="995eb0f2-f21c-467c-a947-4f8fc26d0f2e" providerId="ADAL" clId="{C92D4D14-F746-4D40-BCC7-77792082F25E}" dt="2022-11-28T22:51:15.789" v="4145" actId="1076"/>
          <ac:picMkLst>
            <pc:docMk/>
            <pc:sldMk cId="3885118856" sldId="405"/>
            <ac:picMk id="4" creationId="{E9A9C78A-4009-A888-199F-452061774AD9}"/>
          </ac:picMkLst>
        </pc:picChg>
        <pc:picChg chg="add mod">
          <ac:chgData name="Kory Thacher (APPS / POWERSHELL)" userId="995eb0f2-f21c-467c-a947-4f8fc26d0f2e" providerId="ADAL" clId="{C92D4D14-F746-4D40-BCC7-77792082F25E}" dt="2022-11-29T00:01:30.791" v="4678" actId="1076"/>
          <ac:picMkLst>
            <pc:docMk/>
            <pc:sldMk cId="3885118856" sldId="405"/>
            <ac:picMk id="11" creationId="{77FE3109-234E-C450-B24B-DE12623A2085}"/>
          </ac:picMkLst>
        </pc:picChg>
      </pc:sldChg>
      <pc:sldChg chg="modSp add mod modShow delCm">
        <pc:chgData name="Kory Thacher (APPS / POWERSHELL)" userId="995eb0f2-f21c-467c-a947-4f8fc26d0f2e" providerId="ADAL" clId="{C92D4D14-F746-4D40-BCC7-77792082F25E}" dt="2022-12-12T20:25:23.774" v="8226" actId="20577"/>
        <pc:sldMkLst>
          <pc:docMk/>
          <pc:sldMk cId="2920008909" sldId="406"/>
        </pc:sldMkLst>
        <pc:spChg chg="mod">
          <ac:chgData name="Kory Thacher (APPS / POWERSHELL)" userId="995eb0f2-f21c-467c-a947-4f8fc26d0f2e" providerId="ADAL" clId="{C92D4D14-F746-4D40-BCC7-77792082F25E}" dt="2022-12-05T21:11:29.553" v="4942"/>
          <ac:spMkLst>
            <pc:docMk/>
            <pc:sldMk cId="2920008909" sldId="406"/>
            <ac:spMk id="3" creationId="{D9E89D95-6FCA-45C6-981C-9C1CE7F8DD25}"/>
          </ac:spMkLst>
        </pc:spChg>
        <pc:graphicFrameChg chg="mod">
          <ac:chgData name="Kory Thacher (APPS / POWERSHELL)" userId="995eb0f2-f21c-467c-a947-4f8fc26d0f2e" providerId="ADAL" clId="{C92D4D14-F746-4D40-BCC7-77792082F25E}" dt="2022-12-12T20:25:23.774" v="8226" actId="20577"/>
          <ac:graphicFrameMkLst>
            <pc:docMk/>
            <pc:sldMk cId="2920008909" sldId="406"/>
            <ac:graphicFrameMk id="2" creationId="{D78879B1-3866-DE7B-42F6-0AF9A9244D0A}"/>
          </ac:graphicFrameMkLst>
        </pc:graphicFrameChg>
      </pc:sldChg>
      <pc:sldChg chg="addSp delSp modSp add del mod modNotesTx">
        <pc:chgData name="Kory Thacher (APPS / POWERSHELL)" userId="995eb0f2-f21c-467c-a947-4f8fc26d0f2e" providerId="ADAL" clId="{C92D4D14-F746-4D40-BCC7-77792082F25E}" dt="2022-11-14T21:35:57.257" v="3110" actId="47"/>
        <pc:sldMkLst>
          <pc:docMk/>
          <pc:sldMk cId="1939198057" sldId="407"/>
        </pc:sldMkLst>
        <pc:spChg chg="mod">
          <ac:chgData name="Kory Thacher (APPS / POWERSHELL)" userId="995eb0f2-f21c-467c-a947-4f8fc26d0f2e" providerId="ADAL" clId="{C92D4D14-F746-4D40-BCC7-77792082F25E}" dt="2022-11-14T21:09:55.600" v="2852" actId="20577"/>
          <ac:spMkLst>
            <pc:docMk/>
            <pc:sldMk cId="1939198057" sldId="407"/>
            <ac:spMk id="6" creationId="{2A0549CE-2EE0-4B10-9C62-1F5857D11F46}"/>
          </ac:spMkLst>
        </pc:spChg>
        <pc:spChg chg="del mod">
          <ac:chgData name="Kory Thacher (APPS / POWERSHELL)" userId="995eb0f2-f21c-467c-a947-4f8fc26d0f2e" providerId="ADAL" clId="{C92D4D14-F746-4D40-BCC7-77792082F25E}" dt="2022-11-14T21:11:44.086" v="2858" actId="12084"/>
          <ac:spMkLst>
            <pc:docMk/>
            <pc:sldMk cId="1939198057" sldId="407"/>
            <ac:spMk id="7" creationId="{9303A972-FED5-45E8-854F-91FC6AC8682A}"/>
          </ac:spMkLst>
        </pc:spChg>
        <pc:graphicFrameChg chg="add mod">
          <ac:chgData name="Kory Thacher (APPS / POWERSHELL)" userId="995eb0f2-f21c-467c-a947-4f8fc26d0f2e" providerId="ADAL" clId="{C92D4D14-F746-4D40-BCC7-77792082F25E}" dt="2022-11-14T21:11:57.598" v="2860" actId="14100"/>
          <ac:graphicFrameMkLst>
            <pc:docMk/>
            <pc:sldMk cId="1939198057" sldId="407"/>
            <ac:graphicFrameMk id="2" creationId="{B7D65274-413A-1632-E69C-BBA7F2DF0F34}"/>
          </ac:graphicFrameMkLst>
        </pc:graphicFrameChg>
      </pc:sldChg>
      <pc:sldChg chg="modSp add del mod">
        <pc:chgData name="Kory Thacher (APPS / POWERSHELL)" userId="995eb0f2-f21c-467c-a947-4f8fc26d0f2e" providerId="ADAL" clId="{C92D4D14-F746-4D40-BCC7-77792082F25E}" dt="2022-11-14T21:35:57.257" v="3110" actId="47"/>
        <pc:sldMkLst>
          <pc:docMk/>
          <pc:sldMk cId="478359133" sldId="408"/>
        </pc:sldMkLst>
        <pc:spChg chg="mod">
          <ac:chgData name="Kory Thacher (APPS / POWERSHELL)" userId="995eb0f2-f21c-467c-a947-4f8fc26d0f2e" providerId="ADAL" clId="{C92D4D14-F746-4D40-BCC7-77792082F25E}" dt="2022-11-14T21:16:33.080" v="2908" actId="1035"/>
          <ac:spMkLst>
            <pc:docMk/>
            <pc:sldMk cId="478359133" sldId="408"/>
            <ac:spMk id="6" creationId="{2A0549CE-2EE0-4B10-9C62-1F5857D11F46}"/>
          </ac:spMkLst>
        </pc:spChg>
        <pc:graphicFrameChg chg="mod">
          <ac:chgData name="Kory Thacher (APPS / POWERSHELL)" userId="995eb0f2-f21c-467c-a947-4f8fc26d0f2e" providerId="ADAL" clId="{C92D4D14-F746-4D40-BCC7-77792082F25E}" dt="2022-11-14T21:16:13.684" v="2901" actId="12100"/>
          <ac:graphicFrameMkLst>
            <pc:docMk/>
            <pc:sldMk cId="478359133" sldId="408"/>
            <ac:graphicFrameMk id="2" creationId="{B7D65274-413A-1632-E69C-BBA7F2DF0F34}"/>
          </ac:graphicFrameMkLst>
        </pc:graphicFrameChg>
      </pc:sldChg>
      <pc:sldChg chg="modSp add del mod">
        <pc:chgData name="Kory Thacher (APPS / POWERSHELL)" userId="995eb0f2-f21c-467c-a947-4f8fc26d0f2e" providerId="ADAL" clId="{C92D4D14-F746-4D40-BCC7-77792082F25E}" dt="2022-11-14T21:13:29.544" v="2880" actId="47"/>
        <pc:sldMkLst>
          <pc:docMk/>
          <pc:sldMk cId="575917984" sldId="408"/>
        </pc:sldMkLst>
        <pc:spChg chg="mod">
          <ac:chgData name="Kory Thacher (APPS / POWERSHELL)" userId="995eb0f2-f21c-467c-a947-4f8fc26d0f2e" providerId="ADAL" clId="{C92D4D14-F746-4D40-BCC7-77792082F25E}" dt="2022-11-14T21:13:26.788" v="2879" actId="14100"/>
          <ac:spMkLst>
            <pc:docMk/>
            <pc:sldMk cId="575917984" sldId="408"/>
            <ac:spMk id="6" creationId="{2A0549CE-2EE0-4B10-9C62-1F5857D11F46}"/>
          </ac:spMkLst>
        </pc:spChg>
        <pc:graphicFrameChg chg="mod">
          <ac:chgData name="Kory Thacher (APPS / POWERSHELL)" userId="995eb0f2-f21c-467c-a947-4f8fc26d0f2e" providerId="ADAL" clId="{C92D4D14-F746-4D40-BCC7-77792082F25E}" dt="2022-11-14T21:13:23.528" v="2878" actId="14100"/>
          <ac:graphicFrameMkLst>
            <pc:docMk/>
            <pc:sldMk cId="575917984" sldId="408"/>
            <ac:graphicFrameMk id="2" creationId="{B7D65274-413A-1632-E69C-BBA7F2DF0F34}"/>
          </ac:graphicFrameMkLst>
        </pc:graphicFrameChg>
      </pc:sldChg>
      <pc:sldChg chg="modSp add del mod">
        <pc:chgData name="Kory Thacher (APPS / POWERSHELL)" userId="995eb0f2-f21c-467c-a947-4f8fc26d0f2e" providerId="ADAL" clId="{C92D4D14-F746-4D40-BCC7-77792082F25E}" dt="2022-11-14T21:35:57.257" v="3110" actId="47"/>
        <pc:sldMkLst>
          <pc:docMk/>
          <pc:sldMk cId="2997919628" sldId="409"/>
        </pc:sldMkLst>
        <pc:spChg chg="mod">
          <ac:chgData name="Kory Thacher (APPS / POWERSHELL)" userId="995eb0f2-f21c-467c-a947-4f8fc26d0f2e" providerId="ADAL" clId="{C92D4D14-F746-4D40-BCC7-77792082F25E}" dt="2022-11-14T21:24:21.194" v="3045" actId="1076"/>
          <ac:spMkLst>
            <pc:docMk/>
            <pc:sldMk cId="2997919628" sldId="409"/>
            <ac:spMk id="6" creationId="{2A0549CE-2EE0-4B10-9C62-1F5857D11F46}"/>
          </ac:spMkLst>
        </pc:spChg>
        <pc:graphicFrameChg chg="mod">
          <ac:chgData name="Kory Thacher (APPS / POWERSHELL)" userId="995eb0f2-f21c-467c-a947-4f8fc26d0f2e" providerId="ADAL" clId="{C92D4D14-F746-4D40-BCC7-77792082F25E}" dt="2022-11-14T21:25:30.435" v="3060"/>
          <ac:graphicFrameMkLst>
            <pc:docMk/>
            <pc:sldMk cId="2997919628" sldId="409"/>
            <ac:graphicFrameMk id="2" creationId="{B7D65274-413A-1632-E69C-BBA7F2DF0F34}"/>
          </ac:graphicFrameMkLst>
        </pc:graphicFrameChg>
      </pc:sldChg>
      <pc:sldChg chg="del">
        <pc:chgData name="Kory Thacher (APPS / POWERSHELL)" userId="995eb0f2-f21c-467c-a947-4f8fc26d0f2e" providerId="ADAL" clId="{C92D4D14-F746-4D40-BCC7-77792082F25E}" dt="2022-11-14T21:35:57.257" v="3110" actId="47"/>
        <pc:sldMkLst>
          <pc:docMk/>
          <pc:sldMk cId="118504711" sldId="411"/>
        </pc:sldMkLst>
      </pc:sldChg>
      <pc:sldChg chg="modSp add del">
        <pc:chgData name="Kory Thacher (APPS / POWERSHELL)" userId="995eb0f2-f21c-467c-a947-4f8fc26d0f2e" providerId="ADAL" clId="{C92D4D14-F746-4D40-BCC7-77792082F25E}" dt="2022-11-14T21:35:57.257" v="3110" actId="47"/>
        <pc:sldMkLst>
          <pc:docMk/>
          <pc:sldMk cId="339585872" sldId="412"/>
        </pc:sldMkLst>
        <pc:graphicFrameChg chg="mod">
          <ac:chgData name="Kory Thacher (APPS / POWERSHELL)" userId="995eb0f2-f21c-467c-a947-4f8fc26d0f2e" providerId="ADAL" clId="{C92D4D14-F746-4D40-BCC7-77792082F25E}" dt="2022-11-14T21:29:38.785" v="3081" actId="2085"/>
          <ac:graphicFrameMkLst>
            <pc:docMk/>
            <pc:sldMk cId="339585872" sldId="412"/>
            <ac:graphicFrameMk id="2" creationId="{B7D65274-413A-1632-E69C-BBA7F2DF0F34}"/>
          </ac:graphicFrameMkLst>
        </pc:graphicFrameChg>
      </pc:sldChg>
      <pc:sldChg chg="modSp add del mod">
        <pc:chgData name="Kory Thacher (APPS / POWERSHELL)" userId="995eb0f2-f21c-467c-a947-4f8fc26d0f2e" providerId="ADAL" clId="{C92D4D14-F746-4D40-BCC7-77792082F25E}" dt="2022-11-14T21:35:57.257" v="3110" actId="47"/>
        <pc:sldMkLst>
          <pc:docMk/>
          <pc:sldMk cId="3053974945" sldId="413"/>
        </pc:sldMkLst>
        <pc:spChg chg="mod">
          <ac:chgData name="Kory Thacher (APPS / POWERSHELL)" userId="995eb0f2-f21c-467c-a947-4f8fc26d0f2e" providerId="ADAL" clId="{C92D4D14-F746-4D40-BCC7-77792082F25E}" dt="2022-11-14T21:31:07.064" v="3101" actId="1036"/>
          <ac:spMkLst>
            <pc:docMk/>
            <pc:sldMk cId="3053974945" sldId="413"/>
            <ac:spMk id="6" creationId="{2A0549CE-2EE0-4B10-9C62-1F5857D11F46}"/>
          </ac:spMkLst>
        </pc:spChg>
        <pc:graphicFrameChg chg="mod">
          <ac:chgData name="Kory Thacher (APPS / POWERSHELL)" userId="995eb0f2-f21c-467c-a947-4f8fc26d0f2e" providerId="ADAL" clId="{C92D4D14-F746-4D40-BCC7-77792082F25E}" dt="2022-11-14T21:30:04.178" v="3083" actId="255"/>
          <ac:graphicFrameMkLst>
            <pc:docMk/>
            <pc:sldMk cId="3053974945" sldId="413"/>
            <ac:graphicFrameMk id="2" creationId="{B7D65274-413A-1632-E69C-BBA7F2DF0F34}"/>
          </ac:graphicFrameMkLst>
        </pc:graphicFrameChg>
        <pc:graphicFrameChg chg="mod">
          <ac:chgData name="Kory Thacher (APPS / POWERSHELL)" userId="995eb0f2-f21c-467c-a947-4f8fc26d0f2e" providerId="ADAL" clId="{C92D4D14-F746-4D40-BCC7-77792082F25E}" dt="2022-11-14T21:33:15.014" v="3106" actId="120"/>
          <ac:graphicFrameMkLst>
            <pc:docMk/>
            <pc:sldMk cId="3053974945" sldId="413"/>
            <ac:graphicFrameMk id="7" creationId="{ADB6608F-9D5F-0B31-7FEF-E2D890D7A354}"/>
          </ac:graphicFrameMkLst>
        </pc:graphicFrameChg>
      </pc:sldChg>
      <pc:sldChg chg="modSp add del">
        <pc:chgData name="Kory Thacher (APPS / POWERSHELL)" userId="995eb0f2-f21c-467c-a947-4f8fc26d0f2e" providerId="ADAL" clId="{C92D4D14-F746-4D40-BCC7-77792082F25E}" dt="2022-11-14T21:35:57.257" v="3110" actId="47"/>
        <pc:sldMkLst>
          <pc:docMk/>
          <pc:sldMk cId="858408584" sldId="414"/>
        </pc:sldMkLst>
        <pc:graphicFrameChg chg="mod">
          <ac:chgData name="Kory Thacher (APPS / POWERSHELL)" userId="995eb0f2-f21c-467c-a947-4f8fc26d0f2e" providerId="ADAL" clId="{C92D4D14-F746-4D40-BCC7-77792082F25E}" dt="2022-11-14T21:34:11.836" v="3109"/>
          <ac:graphicFrameMkLst>
            <pc:docMk/>
            <pc:sldMk cId="858408584" sldId="414"/>
            <ac:graphicFrameMk id="7" creationId="{ADB6608F-9D5F-0B31-7FEF-E2D890D7A354}"/>
          </ac:graphicFrameMkLst>
        </pc:graphicFrameChg>
      </pc:sldChg>
      <pc:sldChg chg="modSp mod modShow">
        <pc:chgData name="Kory Thacher (APPS / POWERSHELL)" userId="995eb0f2-f21c-467c-a947-4f8fc26d0f2e" providerId="ADAL" clId="{C92D4D14-F746-4D40-BCC7-77792082F25E}" dt="2022-11-14T21:39:13.121" v="3145"/>
        <pc:sldMkLst>
          <pc:docMk/>
          <pc:sldMk cId="533226779" sldId="415"/>
        </pc:sldMkLst>
        <pc:spChg chg="mod">
          <ac:chgData name="Kory Thacher (APPS / POWERSHELL)" userId="995eb0f2-f21c-467c-a947-4f8fc26d0f2e" providerId="ADAL" clId="{C92D4D14-F746-4D40-BCC7-77792082F25E}" dt="2022-11-14T21:39:13.121" v="3145"/>
          <ac:spMkLst>
            <pc:docMk/>
            <pc:sldMk cId="533226779" sldId="415"/>
            <ac:spMk id="6" creationId="{2A0549CE-2EE0-4B10-9C62-1F5857D11F46}"/>
          </ac:spMkLst>
        </pc:spChg>
        <pc:graphicFrameChg chg="mod">
          <ac:chgData name="Kory Thacher (APPS / POWERSHELL)" userId="995eb0f2-f21c-467c-a947-4f8fc26d0f2e" providerId="ADAL" clId="{C92D4D14-F746-4D40-BCC7-77792082F25E}" dt="2022-11-14T21:36:27.233" v="3126" actId="20577"/>
          <ac:graphicFrameMkLst>
            <pc:docMk/>
            <pc:sldMk cId="533226779" sldId="415"/>
            <ac:graphicFrameMk id="7" creationId="{ADB6608F-9D5F-0B31-7FEF-E2D890D7A354}"/>
          </ac:graphicFrameMkLst>
        </pc:graphicFrameChg>
      </pc:sldChg>
      <pc:sldChg chg="modSp add mod modShow modNotesTx">
        <pc:chgData name="Kory Thacher (APPS / POWERSHELL)" userId="995eb0f2-f21c-467c-a947-4f8fc26d0f2e" providerId="ADAL" clId="{C92D4D14-F746-4D40-BCC7-77792082F25E}" dt="2022-11-14T22:08:36.462" v="3551" actId="729"/>
        <pc:sldMkLst>
          <pc:docMk/>
          <pc:sldMk cId="3038463798" sldId="416"/>
        </pc:sldMkLst>
        <pc:graphicFrameChg chg="mod">
          <ac:chgData name="Kory Thacher (APPS / POWERSHELL)" userId="995eb0f2-f21c-467c-a947-4f8fc26d0f2e" providerId="ADAL" clId="{C92D4D14-F746-4D40-BCC7-77792082F25E}" dt="2022-11-14T22:07:50.548" v="3536" actId="113"/>
          <ac:graphicFrameMkLst>
            <pc:docMk/>
            <pc:sldMk cId="3038463798" sldId="416"/>
            <ac:graphicFrameMk id="8" creationId="{795D17DE-EA0F-0749-C119-6FEB2AF5A6A1}"/>
          </ac:graphicFrameMkLst>
        </pc:graphicFrameChg>
      </pc:sldChg>
      <pc:sldChg chg="modSp mod">
        <pc:chgData name="Kory Thacher (APPS / POWERSHELL)" userId="995eb0f2-f21c-467c-a947-4f8fc26d0f2e" providerId="ADAL" clId="{C92D4D14-F746-4D40-BCC7-77792082F25E}" dt="2022-12-12T20:23:54.242" v="8225" actId="207"/>
        <pc:sldMkLst>
          <pc:docMk/>
          <pc:sldMk cId="893985659" sldId="417"/>
        </pc:sldMkLst>
        <pc:spChg chg="mod">
          <ac:chgData name="Kory Thacher (APPS / POWERSHELL)" userId="995eb0f2-f21c-467c-a947-4f8fc26d0f2e" providerId="ADAL" clId="{C92D4D14-F746-4D40-BCC7-77792082F25E}" dt="2022-12-12T20:23:54.242" v="8225" actId="207"/>
          <ac:spMkLst>
            <pc:docMk/>
            <pc:sldMk cId="893985659" sldId="417"/>
            <ac:spMk id="7" creationId="{91CCF221-F767-49B9-9CD9-076467D04D53}"/>
          </ac:spMkLst>
        </pc:spChg>
      </pc:sldChg>
      <pc:sldChg chg="modSp add del mod">
        <pc:chgData name="Kory Thacher (APPS / POWERSHELL)" userId="995eb0f2-f21c-467c-a947-4f8fc26d0f2e" providerId="ADAL" clId="{C92D4D14-F746-4D40-BCC7-77792082F25E}" dt="2022-11-28T22:47:08.032" v="3985" actId="47"/>
        <pc:sldMkLst>
          <pc:docMk/>
          <pc:sldMk cId="2343757140" sldId="418"/>
        </pc:sldMkLst>
        <pc:spChg chg="mod">
          <ac:chgData name="Kory Thacher (APPS / POWERSHELL)" userId="995eb0f2-f21c-467c-a947-4f8fc26d0f2e" providerId="ADAL" clId="{C92D4D14-F746-4D40-BCC7-77792082F25E}" dt="2022-11-28T22:25:20.455" v="3846" actId="20577"/>
          <ac:spMkLst>
            <pc:docMk/>
            <pc:sldMk cId="2343757140" sldId="418"/>
            <ac:spMk id="7" creationId="{91CCF221-F767-49B9-9CD9-076467D04D53}"/>
          </ac:spMkLst>
        </pc:spChg>
      </pc:sldChg>
      <pc:sldChg chg="addSp delSp modSp add del">
        <pc:chgData name="Kory Thacher (APPS / POWERSHELL)" userId="995eb0f2-f21c-467c-a947-4f8fc26d0f2e" providerId="ADAL" clId="{C92D4D14-F746-4D40-BCC7-77792082F25E}" dt="2022-11-28T23:34:46.586" v="4534" actId="47"/>
        <pc:sldMkLst>
          <pc:docMk/>
          <pc:sldMk cId="3607609746" sldId="418"/>
        </pc:sldMkLst>
        <pc:spChg chg="del">
          <ac:chgData name="Kory Thacher (APPS / POWERSHELL)" userId="995eb0f2-f21c-467c-a947-4f8fc26d0f2e" providerId="ADAL" clId="{C92D4D14-F746-4D40-BCC7-77792082F25E}" dt="2022-11-28T23:11:18.894" v="4389" actId="12084"/>
          <ac:spMkLst>
            <pc:docMk/>
            <pc:sldMk cId="3607609746" sldId="418"/>
            <ac:spMk id="7" creationId="{9303A972-FED5-45E8-854F-91FC6AC8682A}"/>
          </ac:spMkLst>
        </pc:spChg>
        <pc:graphicFrameChg chg="add mod">
          <ac:chgData name="Kory Thacher (APPS / POWERSHELL)" userId="995eb0f2-f21c-467c-a947-4f8fc26d0f2e" providerId="ADAL" clId="{C92D4D14-F746-4D40-BCC7-77792082F25E}" dt="2022-11-28T23:11:18.894" v="4389" actId="12084"/>
          <ac:graphicFrameMkLst>
            <pc:docMk/>
            <pc:sldMk cId="3607609746" sldId="418"/>
            <ac:graphicFrameMk id="2" creationId="{9B55FABF-F6B6-5DB0-BFBF-15755BA6ADE0}"/>
          </ac:graphicFrameMkLst>
        </pc:graphicFrameChg>
      </pc:sldChg>
      <pc:sldChg chg="addSp delSp modSp add del">
        <pc:chgData name="Kory Thacher (APPS / POWERSHELL)" userId="995eb0f2-f21c-467c-a947-4f8fc26d0f2e" providerId="ADAL" clId="{C92D4D14-F746-4D40-BCC7-77792082F25E}" dt="2022-11-28T23:34:46.586" v="4534" actId="47"/>
        <pc:sldMkLst>
          <pc:docMk/>
          <pc:sldMk cId="1222007607" sldId="419"/>
        </pc:sldMkLst>
        <pc:spChg chg="del">
          <ac:chgData name="Kory Thacher (APPS / POWERSHELL)" userId="995eb0f2-f21c-467c-a947-4f8fc26d0f2e" providerId="ADAL" clId="{C92D4D14-F746-4D40-BCC7-77792082F25E}" dt="2022-11-28T23:11:43.852" v="4390" actId="12084"/>
          <ac:spMkLst>
            <pc:docMk/>
            <pc:sldMk cId="1222007607" sldId="419"/>
            <ac:spMk id="7" creationId="{9303A972-FED5-45E8-854F-91FC6AC8682A}"/>
          </ac:spMkLst>
        </pc:spChg>
        <pc:graphicFrameChg chg="add mod">
          <ac:chgData name="Kory Thacher (APPS / POWERSHELL)" userId="995eb0f2-f21c-467c-a947-4f8fc26d0f2e" providerId="ADAL" clId="{C92D4D14-F746-4D40-BCC7-77792082F25E}" dt="2022-11-28T23:11:54.605" v="4392" actId="20577"/>
          <ac:graphicFrameMkLst>
            <pc:docMk/>
            <pc:sldMk cId="1222007607" sldId="419"/>
            <ac:graphicFrameMk id="2" creationId="{EADE1134-63B8-E179-6B6C-32E72C416FC9}"/>
          </ac:graphicFrameMkLst>
        </pc:graphicFrameChg>
      </pc:sldChg>
      <pc:sldChg chg="del">
        <pc:chgData name="Kory Thacher (APPS / POWERSHELL)" userId="995eb0f2-f21c-467c-a947-4f8fc26d0f2e" providerId="ADAL" clId="{C92D4D14-F746-4D40-BCC7-77792082F25E}" dt="2022-11-28T22:47:04.906" v="3984" actId="47"/>
        <pc:sldMkLst>
          <pc:docMk/>
          <pc:sldMk cId="2240956272" sldId="419"/>
        </pc:sldMkLst>
      </pc:sldChg>
      <pc:sldChg chg="addSp delSp modSp add del">
        <pc:chgData name="Kory Thacher (APPS / POWERSHELL)" userId="995eb0f2-f21c-467c-a947-4f8fc26d0f2e" providerId="ADAL" clId="{C92D4D14-F746-4D40-BCC7-77792082F25E}" dt="2022-11-28T23:34:46.586" v="4534" actId="47"/>
        <pc:sldMkLst>
          <pc:docMk/>
          <pc:sldMk cId="588434947" sldId="420"/>
        </pc:sldMkLst>
        <pc:spChg chg="del">
          <ac:chgData name="Kory Thacher (APPS / POWERSHELL)" userId="995eb0f2-f21c-467c-a947-4f8fc26d0f2e" providerId="ADAL" clId="{C92D4D14-F746-4D40-BCC7-77792082F25E}" dt="2022-11-28T23:11:59.991" v="4393" actId="12084"/>
          <ac:spMkLst>
            <pc:docMk/>
            <pc:sldMk cId="588434947" sldId="420"/>
            <ac:spMk id="7" creationId="{9303A972-FED5-45E8-854F-91FC6AC8682A}"/>
          </ac:spMkLst>
        </pc:spChg>
        <pc:graphicFrameChg chg="add mod">
          <ac:chgData name="Kory Thacher (APPS / POWERSHELL)" userId="995eb0f2-f21c-467c-a947-4f8fc26d0f2e" providerId="ADAL" clId="{C92D4D14-F746-4D40-BCC7-77792082F25E}" dt="2022-11-28T23:12:09.574" v="4394" actId="13782"/>
          <ac:graphicFrameMkLst>
            <pc:docMk/>
            <pc:sldMk cId="588434947" sldId="420"/>
            <ac:graphicFrameMk id="2" creationId="{11142CD0-BF1C-E2E3-358C-808721C98E21}"/>
          </ac:graphicFrameMkLst>
        </pc:graphicFrameChg>
      </pc:sldChg>
      <pc:sldChg chg="addSp delSp modSp add del">
        <pc:chgData name="Kory Thacher (APPS / POWERSHELL)" userId="995eb0f2-f21c-467c-a947-4f8fc26d0f2e" providerId="ADAL" clId="{C92D4D14-F746-4D40-BCC7-77792082F25E}" dt="2022-11-28T23:14:37.860" v="4405" actId="47"/>
        <pc:sldMkLst>
          <pc:docMk/>
          <pc:sldMk cId="3314995566" sldId="421"/>
        </pc:sldMkLst>
        <pc:spChg chg="del">
          <ac:chgData name="Kory Thacher (APPS / POWERSHELL)" userId="995eb0f2-f21c-467c-a947-4f8fc26d0f2e" providerId="ADAL" clId="{C92D4D14-F746-4D40-BCC7-77792082F25E}" dt="2022-11-28T23:12:18.464" v="4395" actId="12084"/>
          <ac:spMkLst>
            <pc:docMk/>
            <pc:sldMk cId="3314995566" sldId="421"/>
            <ac:spMk id="7" creationId="{9303A972-FED5-45E8-854F-91FC6AC8682A}"/>
          </ac:spMkLst>
        </pc:spChg>
        <pc:graphicFrameChg chg="add mod">
          <ac:chgData name="Kory Thacher (APPS / POWERSHELL)" userId="995eb0f2-f21c-467c-a947-4f8fc26d0f2e" providerId="ADAL" clId="{C92D4D14-F746-4D40-BCC7-77792082F25E}" dt="2022-11-28T23:13:17.360" v="4399"/>
          <ac:graphicFrameMkLst>
            <pc:docMk/>
            <pc:sldMk cId="3314995566" sldId="421"/>
            <ac:graphicFrameMk id="2" creationId="{A21426C9-0BF4-D694-448B-CCEB086CE7CB}"/>
          </ac:graphicFrameMkLst>
        </pc:graphicFrameChg>
      </pc:sldChg>
      <pc:sldChg chg="modSp add del mod modShow">
        <pc:chgData name="Kory Thacher (APPS / POWERSHELL)" userId="995eb0f2-f21c-467c-a947-4f8fc26d0f2e" providerId="ADAL" clId="{C92D4D14-F746-4D40-BCC7-77792082F25E}" dt="2022-11-28T23:34:46.586" v="4534" actId="47"/>
        <pc:sldMkLst>
          <pc:docMk/>
          <pc:sldMk cId="1059882547" sldId="422"/>
        </pc:sldMkLst>
        <pc:spChg chg="mod">
          <ac:chgData name="Kory Thacher (APPS / POWERSHELL)" userId="995eb0f2-f21c-467c-a947-4f8fc26d0f2e" providerId="ADAL" clId="{C92D4D14-F746-4D40-BCC7-77792082F25E}" dt="2022-11-28T23:15:12.339" v="4406"/>
          <ac:spMkLst>
            <pc:docMk/>
            <pc:sldMk cId="1059882547" sldId="422"/>
            <ac:spMk id="3" creationId="{79743E29-3932-4EB8-86D4-F83F46D63AC3}"/>
          </ac:spMkLst>
        </pc:spChg>
        <pc:graphicFrameChg chg="mod">
          <ac:chgData name="Kory Thacher (APPS / POWERSHELL)" userId="995eb0f2-f21c-467c-a947-4f8fc26d0f2e" providerId="ADAL" clId="{C92D4D14-F746-4D40-BCC7-77792082F25E}" dt="2022-11-28T23:14:08.411" v="4402"/>
          <ac:graphicFrameMkLst>
            <pc:docMk/>
            <pc:sldMk cId="1059882547" sldId="422"/>
            <ac:graphicFrameMk id="2" creationId="{B7D65274-413A-1632-E69C-BBA7F2DF0F34}"/>
          </ac:graphicFrameMkLst>
        </pc:graphicFrameChg>
        <pc:graphicFrameChg chg="mod">
          <ac:chgData name="Kory Thacher (APPS / POWERSHELL)" userId="995eb0f2-f21c-467c-a947-4f8fc26d0f2e" providerId="ADAL" clId="{C92D4D14-F746-4D40-BCC7-77792082F25E}" dt="2022-11-28T23:18:33.326" v="4408" actId="20577"/>
          <ac:graphicFrameMkLst>
            <pc:docMk/>
            <pc:sldMk cId="1059882547" sldId="422"/>
            <ac:graphicFrameMk id="7" creationId="{ADB6608F-9D5F-0B31-7FEF-E2D890D7A354}"/>
          </ac:graphicFrameMkLst>
        </pc:graphicFrameChg>
      </pc:sldChg>
      <pc:sldChg chg="modSp add del">
        <pc:chgData name="Kory Thacher (APPS / POWERSHELL)" userId="995eb0f2-f21c-467c-a947-4f8fc26d0f2e" providerId="ADAL" clId="{C92D4D14-F746-4D40-BCC7-77792082F25E}" dt="2022-11-28T23:34:46.586" v="4534" actId="47"/>
        <pc:sldMkLst>
          <pc:docMk/>
          <pc:sldMk cId="92063381" sldId="423"/>
        </pc:sldMkLst>
        <pc:graphicFrameChg chg="mod">
          <ac:chgData name="Kory Thacher (APPS / POWERSHELL)" userId="995eb0f2-f21c-467c-a947-4f8fc26d0f2e" providerId="ADAL" clId="{C92D4D14-F746-4D40-BCC7-77792082F25E}" dt="2022-11-28T23:25:56.817" v="4485" actId="20577"/>
          <ac:graphicFrameMkLst>
            <pc:docMk/>
            <pc:sldMk cId="92063381" sldId="423"/>
            <ac:graphicFrameMk id="7" creationId="{ADB6608F-9D5F-0B31-7FEF-E2D890D7A354}"/>
          </ac:graphicFrameMkLst>
        </pc:graphicFrameChg>
      </pc:sldChg>
      <pc:sldChg chg="modSp add del">
        <pc:chgData name="Kory Thacher (APPS / POWERSHELL)" userId="995eb0f2-f21c-467c-a947-4f8fc26d0f2e" providerId="ADAL" clId="{C92D4D14-F746-4D40-BCC7-77792082F25E}" dt="2022-11-28T23:26:38.205" v="4498" actId="47"/>
        <pc:sldMkLst>
          <pc:docMk/>
          <pc:sldMk cId="653538203" sldId="425"/>
        </pc:sldMkLst>
        <pc:graphicFrameChg chg="mod">
          <ac:chgData name="Kory Thacher (APPS / POWERSHELL)" userId="995eb0f2-f21c-467c-a947-4f8fc26d0f2e" providerId="ADAL" clId="{C92D4D14-F746-4D40-BCC7-77792082F25E}" dt="2022-11-28T23:23:16.492" v="4482"/>
          <ac:graphicFrameMkLst>
            <pc:docMk/>
            <pc:sldMk cId="653538203" sldId="425"/>
            <ac:graphicFrameMk id="7" creationId="{ADB6608F-9D5F-0B31-7FEF-E2D890D7A354}"/>
          </ac:graphicFrameMkLst>
        </pc:graphicFrameChg>
      </pc:sldChg>
      <pc:sldChg chg="modSp add del mod modShow">
        <pc:chgData name="Kory Thacher (APPS / POWERSHELL)" userId="995eb0f2-f21c-467c-a947-4f8fc26d0f2e" providerId="ADAL" clId="{C92D4D14-F746-4D40-BCC7-77792082F25E}" dt="2022-11-28T23:49:30.225" v="4582" actId="47"/>
        <pc:sldMkLst>
          <pc:docMk/>
          <pc:sldMk cId="1986130792" sldId="426"/>
        </pc:sldMkLst>
        <pc:spChg chg="mod">
          <ac:chgData name="Kory Thacher (APPS / POWERSHELL)" userId="995eb0f2-f21c-467c-a947-4f8fc26d0f2e" providerId="ADAL" clId="{C92D4D14-F746-4D40-BCC7-77792082F25E}" dt="2022-11-28T23:42:27.245" v="4555" actId="20577"/>
          <ac:spMkLst>
            <pc:docMk/>
            <pc:sldMk cId="1986130792" sldId="426"/>
            <ac:spMk id="6" creationId="{2A0549CE-2EE0-4B10-9C62-1F5857D11F46}"/>
          </ac:spMkLst>
        </pc:spChg>
        <pc:graphicFrameChg chg="mod">
          <ac:chgData name="Kory Thacher (APPS / POWERSHELL)" userId="995eb0f2-f21c-467c-a947-4f8fc26d0f2e" providerId="ADAL" clId="{C92D4D14-F746-4D40-BCC7-77792082F25E}" dt="2022-11-28T23:35:50.882" v="4538" actId="12100"/>
          <ac:graphicFrameMkLst>
            <pc:docMk/>
            <pc:sldMk cId="1986130792" sldId="426"/>
            <ac:graphicFrameMk id="2" creationId="{B7D65274-413A-1632-E69C-BBA7F2DF0F34}"/>
          </ac:graphicFrameMkLst>
        </pc:graphicFrameChg>
        <pc:graphicFrameChg chg="mod">
          <ac:chgData name="Kory Thacher (APPS / POWERSHELL)" userId="995eb0f2-f21c-467c-a947-4f8fc26d0f2e" providerId="ADAL" clId="{C92D4D14-F746-4D40-BCC7-77792082F25E}" dt="2022-11-28T23:37:14.008" v="4542" actId="207"/>
          <ac:graphicFrameMkLst>
            <pc:docMk/>
            <pc:sldMk cId="1986130792" sldId="426"/>
            <ac:graphicFrameMk id="7" creationId="{ADB6608F-9D5F-0B31-7FEF-E2D890D7A354}"/>
          </ac:graphicFrameMkLst>
        </pc:graphicFrameChg>
      </pc:sldChg>
      <pc:sldChg chg="modSp add del mod">
        <pc:chgData name="Kory Thacher (APPS / POWERSHELL)" userId="995eb0f2-f21c-467c-a947-4f8fc26d0f2e" providerId="ADAL" clId="{C92D4D14-F746-4D40-BCC7-77792082F25E}" dt="2022-11-28T23:28:13.073" v="4514" actId="47"/>
        <pc:sldMkLst>
          <pc:docMk/>
          <pc:sldMk cId="1570647394" sldId="427"/>
        </pc:sldMkLst>
        <pc:graphicFrameChg chg="mod">
          <ac:chgData name="Kory Thacher (APPS / POWERSHELL)" userId="995eb0f2-f21c-467c-a947-4f8fc26d0f2e" providerId="ADAL" clId="{C92D4D14-F746-4D40-BCC7-77792082F25E}" dt="2022-11-28T23:27:57.599" v="4513" actId="20577"/>
          <ac:graphicFrameMkLst>
            <pc:docMk/>
            <pc:sldMk cId="1570647394" sldId="427"/>
            <ac:graphicFrameMk id="7" creationId="{ADB6608F-9D5F-0B31-7FEF-E2D890D7A354}"/>
          </ac:graphicFrameMkLst>
        </pc:graphicFrameChg>
      </pc:sldChg>
      <pc:sldChg chg="modSp add del mod ord addCm modCm">
        <pc:chgData name="Kory Thacher (APPS / POWERSHELL)" userId="995eb0f2-f21c-467c-a947-4f8fc26d0f2e" providerId="ADAL" clId="{C92D4D14-F746-4D40-BCC7-77792082F25E}" dt="2022-12-12T20:40:57.977" v="8229" actId="47"/>
        <pc:sldMkLst>
          <pc:docMk/>
          <pc:sldMk cId="2344252334" sldId="427"/>
        </pc:sldMkLst>
        <pc:spChg chg="mod">
          <ac:chgData name="Kory Thacher (APPS / POWERSHELL)" userId="995eb0f2-f21c-467c-a947-4f8fc26d0f2e" providerId="ADAL" clId="{C92D4D14-F746-4D40-BCC7-77792082F25E}" dt="2022-11-28T23:50:20.059" v="4592" actId="1035"/>
          <ac:spMkLst>
            <pc:docMk/>
            <pc:sldMk cId="2344252334" sldId="427"/>
            <ac:spMk id="6" creationId="{2A0549CE-2EE0-4B10-9C62-1F5857D11F46}"/>
          </ac:spMkLst>
        </pc:spChg>
        <pc:graphicFrameChg chg="mod">
          <ac:chgData name="Kory Thacher (APPS / POWERSHELL)" userId="995eb0f2-f21c-467c-a947-4f8fc26d0f2e" providerId="ADAL" clId="{C92D4D14-F746-4D40-BCC7-77792082F25E}" dt="2022-11-28T23:50:04.675" v="4586" actId="255"/>
          <ac:graphicFrameMkLst>
            <pc:docMk/>
            <pc:sldMk cId="2344252334" sldId="427"/>
            <ac:graphicFrameMk id="2" creationId="{B7D65274-413A-1632-E69C-BBA7F2DF0F34}"/>
          </ac:graphicFrameMkLst>
        </pc:graphicFrameChg>
        <pc:graphicFrameChg chg="mod">
          <ac:chgData name="Kory Thacher (APPS / POWERSHELL)" userId="995eb0f2-f21c-467c-a947-4f8fc26d0f2e" providerId="ADAL" clId="{C92D4D14-F746-4D40-BCC7-77792082F25E}" dt="2022-11-28T23:50:14.371" v="4588" actId="1035"/>
          <ac:graphicFrameMkLst>
            <pc:docMk/>
            <pc:sldMk cId="2344252334" sldId="427"/>
            <ac:graphicFrameMk id="7" creationId="{ADB6608F-9D5F-0B31-7FEF-E2D890D7A354}"/>
          </ac:graphicFrameMkLst>
        </pc:graphicFrameChg>
      </pc:sldChg>
      <pc:sldChg chg="del">
        <pc:chgData name="Kory Thacher (APPS / POWERSHELL)" userId="995eb0f2-f21c-467c-a947-4f8fc26d0f2e" providerId="ADAL" clId="{C92D4D14-F746-4D40-BCC7-77792082F25E}" dt="2022-11-28T23:34:46.586" v="4534" actId="47"/>
        <pc:sldMkLst>
          <pc:docMk/>
          <pc:sldMk cId="1207957942" sldId="428"/>
        </pc:sldMkLst>
      </pc:sldChg>
      <pc:sldChg chg="modSp add mod">
        <pc:chgData name="Kory Thacher (APPS / POWERSHELL)" userId="995eb0f2-f21c-467c-a947-4f8fc26d0f2e" providerId="ADAL" clId="{C92D4D14-F746-4D40-BCC7-77792082F25E}" dt="2022-11-28T23:49:23.551" v="4581" actId="207"/>
        <pc:sldMkLst>
          <pc:docMk/>
          <pc:sldMk cId="4080793692" sldId="428"/>
        </pc:sldMkLst>
        <pc:spChg chg="mod">
          <ac:chgData name="Kory Thacher (APPS / POWERSHELL)" userId="995eb0f2-f21c-467c-a947-4f8fc26d0f2e" providerId="ADAL" clId="{C92D4D14-F746-4D40-BCC7-77792082F25E}" dt="2022-11-28T23:45:19.500" v="4580" actId="20577"/>
          <ac:spMkLst>
            <pc:docMk/>
            <pc:sldMk cId="4080793692" sldId="428"/>
            <ac:spMk id="6" creationId="{2A0549CE-2EE0-4B10-9C62-1F5857D11F46}"/>
          </ac:spMkLst>
        </pc:spChg>
        <pc:graphicFrameChg chg="mod">
          <ac:chgData name="Kory Thacher (APPS / POWERSHELL)" userId="995eb0f2-f21c-467c-a947-4f8fc26d0f2e" providerId="ADAL" clId="{C92D4D14-F746-4D40-BCC7-77792082F25E}" dt="2022-11-28T23:44:45.129" v="4559" actId="14100"/>
          <ac:graphicFrameMkLst>
            <pc:docMk/>
            <pc:sldMk cId="4080793692" sldId="428"/>
            <ac:graphicFrameMk id="2" creationId="{B7D65274-413A-1632-E69C-BBA7F2DF0F34}"/>
          </ac:graphicFrameMkLst>
        </pc:graphicFrameChg>
        <pc:graphicFrameChg chg="mod modGraphic">
          <ac:chgData name="Kory Thacher (APPS / POWERSHELL)" userId="995eb0f2-f21c-467c-a947-4f8fc26d0f2e" providerId="ADAL" clId="{C92D4D14-F746-4D40-BCC7-77792082F25E}" dt="2022-11-28T23:49:23.551" v="4581" actId="207"/>
          <ac:graphicFrameMkLst>
            <pc:docMk/>
            <pc:sldMk cId="4080793692" sldId="428"/>
            <ac:graphicFrameMk id="7" creationId="{ADB6608F-9D5F-0B31-7FEF-E2D890D7A354}"/>
          </ac:graphicFrameMkLst>
        </pc:graphicFrameChg>
      </pc:sldChg>
      <pc:sldChg chg="addSp delSp modSp add mod ord">
        <pc:chgData name="Kory Thacher (APPS / POWERSHELL)" userId="995eb0f2-f21c-467c-a947-4f8fc26d0f2e" providerId="ADAL" clId="{C92D4D14-F746-4D40-BCC7-77792082F25E}" dt="2022-12-01T21:16:04.218" v="4764"/>
        <pc:sldMkLst>
          <pc:docMk/>
          <pc:sldMk cId="2014299987" sldId="429"/>
        </pc:sldMkLst>
        <pc:spChg chg="mod">
          <ac:chgData name="Kory Thacher (APPS / POWERSHELL)" userId="995eb0f2-f21c-467c-a947-4f8fc26d0f2e" providerId="ADAL" clId="{C92D4D14-F746-4D40-BCC7-77792082F25E}" dt="2022-11-28T23:54:22.539" v="4606" actId="20577"/>
          <ac:spMkLst>
            <pc:docMk/>
            <pc:sldMk cId="2014299987" sldId="429"/>
            <ac:spMk id="3" creationId="{79743E29-3932-4EB8-86D4-F83F46D63AC3}"/>
          </ac:spMkLst>
        </pc:spChg>
        <pc:spChg chg="mod">
          <ac:chgData name="Kory Thacher (APPS / POWERSHELL)" userId="995eb0f2-f21c-467c-a947-4f8fc26d0f2e" providerId="ADAL" clId="{C92D4D14-F746-4D40-BCC7-77792082F25E}" dt="2022-11-29T00:01:15.673" v="4677" actId="6549"/>
          <ac:spMkLst>
            <pc:docMk/>
            <pc:sldMk cId="2014299987" sldId="429"/>
            <ac:spMk id="6" creationId="{2A0549CE-2EE0-4B10-9C62-1F5857D11F46}"/>
          </ac:spMkLst>
        </pc:spChg>
        <pc:graphicFrameChg chg="mod">
          <ac:chgData name="Kory Thacher (APPS / POWERSHELL)" userId="995eb0f2-f21c-467c-a947-4f8fc26d0f2e" providerId="ADAL" clId="{C92D4D14-F746-4D40-BCC7-77792082F25E}" dt="2022-11-28T23:54:25.805" v="4612" actId="20577"/>
          <ac:graphicFrameMkLst>
            <pc:docMk/>
            <pc:sldMk cId="2014299987" sldId="429"/>
            <ac:graphicFrameMk id="8" creationId="{795D17DE-EA0F-0749-C119-6FEB2AF5A6A1}"/>
          </ac:graphicFrameMkLst>
        </pc:graphicFrameChg>
        <pc:picChg chg="add mod ord modCrop">
          <ac:chgData name="Kory Thacher (APPS / POWERSHELL)" userId="995eb0f2-f21c-467c-a947-4f8fc26d0f2e" providerId="ADAL" clId="{C92D4D14-F746-4D40-BCC7-77792082F25E}" dt="2022-11-28T23:57:01.147" v="4650" actId="732"/>
          <ac:picMkLst>
            <pc:docMk/>
            <pc:sldMk cId="2014299987" sldId="429"/>
            <ac:picMk id="2" creationId="{793E31AB-D60E-FB15-719B-9427093EA806}"/>
          </ac:picMkLst>
        </pc:picChg>
        <pc:picChg chg="add del">
          <ac:chgData name="Kory Thacher (APPS / POWERSHELL)" userId="995eb0f2-f21c-467c-a947-4f8fc26d0f2e" providerId="ADAL" clId="{C92D4D14-F746-4D40-BCC7-77792082F25E}" dt="2022-11-28T23:56:50.747" v="4648" actId="478"/>
          <ac:picMkLst>
            <pc:docMk/>
            <pc:sldMk cId="2014299987" sldId="429"/>
            <ac:picMk id="4" creationId="{191E1749-8D2A-4B2A-47F2-45F99DCAF77A}"/>
          </ac:picMkLst>
        </pc:picChg>
        <pc:picChg chg="del">
          <ac:chgData name="Kory Thacher (APPS / POWERSHELL)" userId="995eb0f2-f21c-467c-a947-4f8fc26d0f2e" providerId="ADAL" clId="{C92D4D14-F746-4D40-BCC7-77792082F25E}" dt="2022-11-28T23:55:46.587" v="4628" actId="478"/>
          <ac:picMkLst>
            <pc:docMk/>
            <pc:sldMk cId="2014299987" sldId="429"/>
            <ac:picMk id="5" creationId="{15632131-76F6-83E7-550A-CD42EF44BB5C}"/>
          </ac:picMkLst>
        </pc:picChg>
        <pc:picChg chg="add mod modCrop">
          <ac:chgData name="Kory Thacher (APPS / POWERSHELL)" userId="995eb0f2-f21c-467c-a947-4f8fc26d0f2e" providerId="ADAL" clId="{C92D4D14-F746-4D40-BCC7-77792082F25E}" dt="2022-11-28T23:56:48.894" v="4647" actId="1076"/>
          <ac:picMkLst>
            <pc:docMk/>
            <pc:sldMk cId="2014299987" sldId="429"/>
            <ac:picMk id="7" creationId="{77742739-B57D-44FC-5446-23B7835C2E43}"/>
          </ac:picMkLst>
        </pc:picChg>
      </pc:sldChg>
      <pc:sldChg chg="add del">
        <pc:chgData name="Kory Thacher (APPS / POWERSHELL)" userId="995eb0f2-f21c-467c-a947-4f8fc26d0f2e" providerId="ADAL" clId="{C92D4D14-F746-4D40-BCC7-77792082F25E}" dt="2022-11-28T23:49:33.489" v="4583" actId="47"/>
        <pc:sldMkLst>
          <pc:docMk/>
          <pc:sldMk cId="3537006003" sldId="429"/>
        </pc:sldMkLst>
      </pc:sldChg>
      <pc:sldChg chg="addSp delSp modSp add mod delAnim modShow modNotesTx">
        <pc:chgData name="Kory Thacher (APPS / POWERSHELL)" userId="995eb0f2-f21c-467c-a947-4f8fc26d0f2e" providerId="ADAL" clId="{C92D4D14-F746-4D40-BCC7-77792082F25E}" dt="2022-12-05T21:10:43.760" v="4941" actId="729"/>
        <pc:sldMkLst>
          <pc:docMk/>
          <pc:sldMk cId="2755451968" sldId="430"/>
        </pc:sldMkLst>
        <pc:spChg chg="mod">
          <ac:chgData name="Kory Thacher (APPS / POWERSHELL)" userId="995eb0f2-f21c-467c-a947-4f8fc26d0f2e" providerId="ADAL" clId="{C92D4D14-F746-4D40-BCC7-77792082F25E}" dt="2022-12-05T21:10:23.618" v="4939" actId="20577"/>
          <ac:spMkLst>
            <pc:docMk/>
            <pc:sldMk cId="2755451968" sldId="430"/>
            <ac:spMk id="3" creationId="{EA4036C7-79DB-4182-9EC7-6CDB43C83CDE}"/>
          </ac:spMkLst>
        </pc:spChg>
        <pc:spChg chg="del">
          <ac:chgData name="Kory Thacher (APPS / POWERSHELL)" userId="995eb0f2-f21c-467c-a947-4f8fc26d0f2e" providerId="ADAL" clId="{C92D4D14-F746-4D40-BCC7-77792082F25E}" dt="2022-12-01T22:57:13.464" v="4845" actId="478"/>
          <ac:spMkLst>
            <pc:docMk/>
            <pc:sldMk cId="2755451968" sldId="430"/>
            <ac:spMk id="9" creationId="{699E44E3-2C84-47CE-8641-D08A3C53A6E4}"/>
          </ac:spMkLst>
        </pc:spChg>
        <pc:spChg chg="mod">
          <ac:chgData name="Kory Thacher (APPS / POWERSHELL)" userId="995eb0f2-f21c-467c-a947-4f8fc26d0f2e" providerId="ADAL" clId="{C92D4D14-F746-4D40-BCC7-77792082F25E}" dt="2022-12-01T23:02:12.295" v="4881" actId="1038"/>
          <ac:spMkLst>
            <pc:docMk/>
            <pc:sldMk cId="2755451968" sldId="430"/>
            <ac:spMk id="10" creationId="{9CE68515-1E15-4161-B149-EF4E4A0BD6E7}"/>
          </ac:spMkLst>
        </pc:spChg>
        <pc:picChg chg="add mod">
          <ac:chgData name="Kory Thacher (APPS / POWERSHELL)" userId="995eb0f2-f21c-467c-a947-4f8fc26d0f2e" providerId="ADAL" clId="{C92D4D14-F746-4D40-BCC7-77792082F25E}" dt="2022-12-01T23:02:12.295" v="4881" actId="1038"/>
          <ac:picMkLst>
            <pc:docMk/>
            <pc:sldMk cId="2755451968" sldId="430"/>
            <ac:picMk id="4" creationId="{AA55C324-830A-F9A6-8566-DFED92BF8322}"/>
          </ac:picMkLst>
        </pc:picChg>
        <pc:picChg chg="del">
          <ac:chgData name="Kory Thacher (APPS / POWERSHELL)" userId="995eb0f2-f21c-467c-a947-4f8fc26d0f2e" providerId="ADAL" clId="{C92D4D14-F746-4D40-BCC7-77792082F25E}" dt="2022-12-01T22:54:21.001" v="4795" actId="478"/>
          <ac:picMkLst>
            <pc:docMk/>
            <pc:sldMk cId="2755451968" sldId="430"/>
            <ac:picMk id="8" creationId="{413EB724-799C-4FCF-82B4-E0F63A78A812}"/>
          </ac:picMkLst>
        </pc:picChg>
        <pc:picChg chg="del mod">
          <ac:chgData name="Kory Thacher (APPS / POWERSHELL)" userId="995eb0f2-f21c-467c-a947-4f8fc26d0f2e" providerId="ADAL" clId="{C92D4D14-F746-4D40-BCC7-77792082F25E}" dt="2022-12-01T23:00:53.726" v="4855" actId="478"/>
          <ac:picMkLst>
            <pc:docMk/>
            <pc:sldMk cId="2755451968" sldId="430"/>
            <ac:picMk id="11" creationId="{D78C472D-0492-9067-D27A-B31A63EAC9CF}"/>
          </ac:picMkLst>
        </pc:picChg>
      </pc:sldChg>
      <pc:sldChg chg="delSp modSp add mod setBg">
        <pc:chgData name="Kory Thacher (APPS / POWERSHELL)" userId="995eb0f2-f21c-467c-a947-4f8fc26d0f2e" providerId="ADAL" clId="{C92D4D14-F746-4D40-BCC7-77792082F25E}" dt="2022-12-05T21:50:16.609" v="5589" actId="207"/>
        <pc:sldMkLst>
          <pc:docMk/>
          <pc:sldMk cId="4275487735" sldId="431"/>
        </pc:sldMkLst>
        <pc:spChg chg="del">
          <ac:chgData name="Kory Thacher (APPS / POWERSHELL)" userId="995eb0f2-f21c-467c-a947-4f8fc26d0f2e" providerId="ADAL" clId="{C92D4D14-F746-4D40-BCC7-77792082F25E}" dt="2022-12-05T21:38:39.043" v="5381" actId="478"/>
          <ac:spMkLst>
            <pc:docMk/>
            <pc:sldMk cId="4275487735" sldId="431"/>
            <ac:spMk id="15" creationId="{4AD6C539-2FC5-4C3F-865B-95969E0A718B}"/>
          </ac:spMkLst>
        </pc:spChg>
        <pc:graphicFrameChg chg="mod">
          <ac:chgData name="Kory Thacher (APPS / POWERSHELL)" userId="995eb0f2-f21c-467c-a947-4f8fc26d0f2e" providerId="ADAL" clId="{C92D4D14-F746-4D40-BCC7-77792082F25E}" dt="2022-12-05T21:50:16.609" v="5589" actId="207"/>
          <ac:graphicFrameMkLst>
            <pc:docMk/>
            <pc:sldMk cId="4275487735" sldId="431"/>
            <ac:graphicFrameMk id="10" creationId="{25FC2934-EBB8-4C70-B506-5EC4BC6FE603}"/>
          </ac:graphicFrameMkLst>
        </pc:graphicFrameChg>
      </pc:sldChg>
      <pc:sldChg chg="modSp add del">
        <pc:chgData name="Kory Thacher (APPS / POWERSHELL)" userId="995eb0f2-f21c-467c-a947-4f8fc26d0f2e" providerId="ADAL" clId="{C92D4D14-F746-4D40-BCC7-77792082F25E}" dt="2022-12-05T21:51:59.224" v="5590" actId="47"/>
        <pc:sldMkLst>
          <pc:docMk/>
          <pc:sldMk cId="891206730" sldId="432"/>
        </pc:sldMkLst>
        <pc:graphicFrameChg chg="mod">
          <ac:chgData name="Kory Thacher (APPS / POWERSHELL)" userId="995eb0f2-f21c-467c-a947-4f8fc26d0f2e" providerId="ADAL" clId="{C92D4D14-F746-4D40-BCC7-77792082F25E}" dt="2022-12-05T21:47:53.066" v="5578" actId="13782"/>
          <ac:graphicFrameMkLst>
            <pc:docMk/>
            <pc:sldMk cId="891206730" sldId="432"/>
            <ac:graphicFrameMk id="10" creationId="{25FC2934-EBB8-4C70-B506-5EC4BC6FE603}"/>
          </ac:graphicFrameMkLst>
        </pc:graphicFrameChg>
      </pc:sldChg>
      <pc:sldChg chg="addSp delSp modSp add del mod modNotesTx">
        <pc:chgData name="Kory Thacher (APPS / POWERSHELL)" userId="995eb0f2-f21c-467c-a947-4f8fc26d0f2e" providerId="ADAL" clId="{C92D4D14-F746-4D40-BCC7-77792082F25E}" dt="2022-12-12T22:21:34.458" v="8493" actId="47"/>
        <pc:sldMkLst>
          <pc:docMk/>
          <pc:sldMk cId="4065708842" sldId="432"/>
        </pc:sldMkLst>
        <pc:spChg chg="add del mod">
          <ac:chgData name="Kory Thacher (APPS / POWERSHELL)" userId="995eb0f2-f21c-467c-a947-4f8fc26d0f2e" providerId="ADAL" clId="{C92D4D14-F746-4D40-BCC7-77792082F25E}" dt="2022-12-05T21:52:46.369" v="5593" actId="478"/>
          <ac:spMkLst>
            <pc:docMk/>
            <pc:sldMk cId="4065708842" sldId="432"/>
            <ac:spMk id="5" creationId="{D13D5DA3-5D53-225A-917B-3B84014DBEBE}"/>
          </ac:spMkLst>
        </pc:spChg>
        <pc:spChg chg="mod">
          <ac:chgData name="Kory Thacher (APPS / POWERSHELL)" userId="995eb0f2-f21c-467c-a947-4f8fc26d0f2e" providerId="ADAL" clId="{C92D4D14-F746-4D40-BCC7-77792082F25E}" dt="2022-12-05T22:08:41.755" v="5961" actId="14100"/>
          <ac:spMkLst>
            <pc:docMk/>
            <pc:sldMk cId="4065708842" sldId="432"/>
            <ac:spMk id="6" creationId="{C84BFD6C-319D-4665-A3EC-44969951DC1A}"/>
          </ac:spMkLst>
        </pc:spChg>
        <pc:spChg chg="del">
          <ac:chgData name="Kory Thacher (APPS / POWERSHELL)" userId="995eb0f2-f21c-467c-a947-4f8fc26d0f2e" providerId="ADAL" clId="{C92D4D14-F746-4D40-BCC7-77792082F25E}" dt="2022-12-05T21:52:43.310" v="5592" actId="478"/>
          <ac:spMkLst>
            <pc:docMk/>
            <pc:sldMk cId="4065708842" sldId="432"/>
            <ac:spMk id="7" creationId="{0CBD2DA2-19C2-4427-A25B-0D8640C69343}"/>
          </ac:spMkLst>
        </pc:spChg>
        <pc:spChg chg="del mod">
          <ac:chgData name="Kory Thacher (APPS / POWERSHELL)" userId="995eb0f2-f21c-467c-a947-4f8fc26d0f2e" providerId="ADAL" clId="{C92D4D14-F746-4D40-BCC7-77792082F25E}" dt="2022-12-05T22:04:30.638" v="5925" actId="12084"/>
          <ac:spMkLst>
            <pc:docMk/>
            <pc:sldMk cId="4065708842" sldId="432"/>
            <ac:spMk id="8" creationId="{7B7AC497-24BE-4BE7-ABD7-CCF312639493}"/>
          </ac:spMkLst>
        </pc:spChg>
        <pc:spChg chg="add mod">
          <ac:chgData name="Kory Thacher (APPS / POWERSHELL)" userId="995eb0f2-f21c-467c-a947-4f8fc26d0f2e" providerId="ADAL" clId="{C92D4D14-F746-4D40-BCC7-77792082F25E}" dt="2022-12-05T22:11:37.239" v="5964" actId="14100"/>
          <ac:spMkLst>
            <pc:docMk/>
            <pc:sldMk cId="4065708842" sldId="432"/>
            <ac:spMk id="10" creationId="{5B151A20-8055-D110-D93D-79677BEA13AD}"/>
          </ac:spMkLst>
        </pc:spChg>
        <pc:graphicFrameChg chg="add mod modGraphic">
          <ac:chgData name="Kory Thacher (APPS / POWERSHELL)" userId="995eb0f2-f21c-467c-a947-4f8fc26d0f2e" providerId="ADAL" clId="{C92D4D14-F746-4D40-BCC7-77792082F25E}" dt="2022-12-05T22:07:46.242" v="5957" actId="113"/>
          <ac:graphicFrameMkLst>
            <pc:docMk/>
            <pc:sldMk cId="4065708842" sldId="432"/>
            <ac:graphicFrameMk id="9" creationId="{203A39C7-A3BE-E059-A062-5185B97B7FAE}"/>
          </ac:graphicFrameMkLst>
        </pc:graphicFrameChg>
        <pc:picChg chg="mod">
          <ac:chgData name="Kory Thacher (APPS / POWERSHELL)" userId="995eb0f2-f21c-467c-a947-4f8fc26d0f2e" providerId="ADAL" clId="{C92D4D14-F746-4D40-BCC7-77792082F25E}" dt="2022-12-05T22:08:27.298" v="5960" actId="1076"/>
          <ac:picMkLst>
            <pc:docMk/>
            <pc:sldMk cId="4065708842" sldId="432"/>
            <ac:picMk id="4" creationId="{45CCB69D-FCD2-4E4D-A841-5E239E1E961C}"/>
          </ac:picMkLst>
        </pc:picChg>
        <pc:picChg chg="add mod">
          <ac:chgData name="Kory Thacher (APPS / POWERSHELL)" userId="995eb0f2-f21c-467c-a947-4f8fc26d0f2e" providerId="ADAL" clId="{C92D4D14-F746-4D40-BCC7-77792082F25E}" dt="2022-12-12T22:01:08.515" v="8291" actId="1076"/>
          <ac:picMkLst>
            <pc:docMk/>
            <pc:sldMk cId="4065708842" sldId="432"/>
            <ac:picMk id="5" creationId="{91844104-C8F4-86BC-8C82-78D2A2EDADE0}"/>
          </ac:picMkLst>
        </pc:picChg>
      </pc:sldChg>
      <pc:sldChg chg="modSp add del">
        <pc:chgData name="Kory Thacher (APPS / POWERSHELL)" userId="995eb0f2-f21c-467c-a947-4f8fc26d0f2e" providerId="ADAL" clId="{C92D4D14-F746-4D40-BCC7-77792082F25E}" dt="2022-12-05T21:51:59.224" v="5590" actId="47"/>
        <pc:sldMkLst>
          <pc:docMk/>
          <pc:sldMk cId="242554604" sldId="433"/>
        </pc:sldMkLst>
        <pc:graphicFrameChg chg="mod">
          <ac:chgData name="Kory Thacher (APPS / POWERSHELL)" userId="995eb0f2-f21c-467c-a947-4f8fc26d0f2e" providerId="ADAL" clId="{C92D4D14-F746-4D40-BCC7-77792082F25E}" dt="2022-12-05T21:48:08.479" v="5580" actId="13782"/>
          <ac:graphicFrameMkLst>
            <pc:docMk/>
            <pc:sldMk cId="242554604" sldId="433"/>
            <ac:graphicFrameMk id="10" creationId="{25FC2934-EBB8-4C70-B506-5EC4BC6FE603}"/>
          </ac:graphicFrameMkLst>
        </pc:graphicFrameChg>
      </pc:sldChg>
      <pc:sldChg chg="delSp modSp add mod modShow modNotesTx">
        <pc:chgData name="Kory Thacher (APPS / POWERSHELL)" userId="995eb0f2-f21c-467c-a947-4f8fc26d0f2e" providerId="ADAL" clId="{C92D4D14-F746-4D40-BCC7-77792082F25E}" dt="2022-12-08T22:58:45.126" v="8072" actId="729"/>
        <pc:sldMkLst>
          <pc:docMk/>
          <pc:sldMk cId="4153839355" sldId="433"/>
        </pc:sldMkLst>
        <pc:spChg chg="mod">
          <ac:chgData name="Kory Thacher (APPS / POWERSHELL)" userId="995eb0f2-f21c-467c-a947-4f8fc26d0f2e" providerId="ADAL" clId="{C92D4D14-F746-4D40-BCC7-77792082F25E}" dt="2022-12-08T22:57:52.641" v="8050" actId="20577"/>
          <ac:spMkLst>
            <pc:docMk/>
            <pc:sldMk cId="4153839355" sldId="433"/>
            <ac:spMk id="3" creationId="{79743E29-3932-4EB8-86D4-F83F46D63AC3}"/>
          </ac:spMkLst>
        </pc:spChg>
        <pc:spChg chg="del">
          <ac:chgData name="Kory Thacher (APPS / POWERSHELL)" userId="995eb0f2-f21c-467c-a947-4f8fc26d0f2e" providerId="ADAL" clId="{C92D4D14-F746-4D40-BCC7-77792082F25E}" dt="2022-12-05T22:41:41.670" v="6162" actId="478"/>
          <ac:spMkLst>
            <pc:docMk/>
            <pc:sldMk cId="4153839355" sldId="433"/>
            <ac:spMk id="6" creationId="{5D87067C-E2BD-4E28-AF11-16174B277618}"/>
          </ac:spMkLst>
        </pc:spChg>
        <pc:graphicFrameChg chg="mod">
          <ac:chgData name="Kory Thacher (APPS / POWERSHELL)" userId="995eb0f2-f21c-467c-a947-4f8fc26d0f2e" providerId="ADAL" clId="{C92D4D14-F746-4D40-BCC7-77792082F25E}" dt="2022-12-08T22:56:57.323" v="8004" actId="113"/>
          <ac:graphicFrameMkLst>
            <pc:docMk/>
            <pc:sldMk cId="4153839355" sldId="433"/>
            <ac:graphicFrameMk id="8" creationId="{EB77B92E-8D57-012E-DB33-F2F5E54706C5}"/>
          </ac:graphicFrameMkLst>
        </pc:graphicFrameChg>
      </pc:sldChg>
      <pc:sldChg chg="modSp add del mod">
        <pc:chgData name="Kory Thacher (APPS / POWERSHELL)" userId="995eb0f2-f21c-467c-a947-4f8fc26d0f2e" providerId="ADAL" clId="{C92D4D14-F746-4D40-BCC7-77792082F25E}" dt="2022-12-08T22:55:19.436" v="7993" actId="47"/>
        <pc:sldMkLst>
          <pc:docMk/>
          <pc:sldMk cId="345409014" sldId="434"/>
        </pc:sldMkLst>
        <pc:spChg chg="mod">
          <ac:chgData name="Kory Thacher (APPS / POWERSHELL)" userId="995eb0f2-f21c-467c-a947-4f8fc26d0f2e" providerId="ADAL" clId="{C92D4D14-F746-4D40-BCC7-77792082F25E}" dt="2022-12-08T22:01:38.061" v="7008" actId="20577"/>
          <ac:spMkLst>
            <pc:docMk/>
            <pc:sldMk cId="345409014" sldId="434"/>
            <ac:spMk id="3" creationId="{79743E29-3932-4EB8-86D4-F83F46D63AC3}"/>
          </ac:spMkLst>
        </pc:spChg>
        <pc:graphicFrameChg chg="mod">
          <ac:chgData name="Kory Thacher (APPS / POWERSHELL)" userId="995eb0f2-f21c-467c-a947-4f8fc26d0f2e" providerId="ADAL" clId="{C92D4D14-F746-4D40-BCC7-77792082F25E}" dt="2022-12-08T22:42:28.424" v="7853" actId="13782"/>
          <ac:graphicFrameMkLst>
            <pc:docMk/>
            <pc:sldMk cId="345409014" sldId="434"/>
            <ac:graphicFrameMk id="8" creationId="{EB77B92E-8D57-012E-DB33-F2F5E54706C5}"/>
          </ac:graphicFrameMkLst>
        </pc:graphicFrameChg>
      </pc:sldChg>
      <pc:sldChg chg="addSp delSp modSp add del">
        <pc:chgData name="Kory Thacher (APPS / POWERSHELL)" userId="995eb0f2-f21c-467c-a947-4f8fc26d0f2e" providerId="ADAL" clId="{C92D4D14-F746-4D40-BCC7-77792082F25E}" dt="2022-12-05T21:51:59.224" v="5590" actId="47"/>
        <pc:sldMkLst>
          <pc:docMk/>
          <pc:sldMk cId="3375755399" sldId="434"/>
        </pc:sldMkLst>
        <pc:graphicFrameChg chg="add del mod">
          <ac:chgData name="Kory Thacher (APPS / POWERSHELL)" userId="995eb0f2-f21c-467c-a947-4f8fc26d0f2e" providerId="ADAL" clId="{C92D4D14-F746-4D40-BCC7-77792082F25E}" dt="2022-12-05T21:48:28.739" v="5583"/>
          <ac:graphicFrameMkLst>
            <pc:docMk/>
            <pc:sldMk cId="3375755399" sldId="434"/>
            <ac:graphicFrameMk id="2" creationId="{7D5298B2-7B3F-7D15-008E-EE0017EF7AF1}"/>
          </ac:graphicFrameMkLst>
        </pc:graphicFrameChg>
        <pc:graphicFrameChg chg="mod">
          <ac:chgData name="Kory Thacher (APPS / POWERSHELL)" userId="995eb0f2-f21c-467c-a947-4f8fc26d0f2e" providerId="ADAL" clId="{C92D4D14-F746-4D40-BCC7-77792082F25E}" dt="2022-12-05T21:48:23.153" v="5581" actId="13782"/>
          <ac:graphicFrameMkLst>
            <pc:docMk/>
            <pc:sldMk cId="3375755399" sldId="434"/>
            <ac:graphicFrameMk id="10" creationId="{25FC2934-EBB8-4C70-B506-5EC4BC6FE603}"/>
          </ac:graphicFrameMkLst>
        </pc:graphicFrameChg>
      </pc:sldChg>
      <pc:sldChg chg="modSp add del">
        <pc:chgData name="Kory Thacher (APPS / POWERSHELL)" userId="995eb0f2-f21c-467c-a947-4f8fc26d0f2e" providerId="ADAL" clId="{C92D4D14-F746-4D40-BCC7-77792082F25E}" dt="2022-12-05T21:51:59.224" v="5590" actId="47"/>
        <pc:sldMkLst>
          <pc:docMk/>
          <pc:sldMk cId="1377994836" sldId="435"/>
        </pc:sldMkLst>
        <pc:graphicFrameChg chg="mod">
          <ac:chgData name="Kory Thacher (APPS / POWERSHELL)" userId="995eb0f2-f21c-467c-a947-4f8fc26d0f2e" providerId="ADAL" clId="{C92D4D14-F746-4D40-BCC7-77792082F25E}" dt="2022-12-05T21:49:00.771" v="5585" actId="13782"/>
          <ac:graphicFrameMkLst>
            <pc:docMk/>
            <pc:sldMk cId="1377994836" sldId="435"/>
            <ac:graphicFrameMk id="10" creationId="{25FC2934-EBB8-4C70-B506-5EC4BC6FE603}"/>
          </ac:graphicFrameMkLst>
        </pc:graphicFrameChg>
      </pc:sldChg>
      <pc:sldChg chg="modSp add del">
        <pc:chgData name="Kory Thacher (APPS / POWERSHELL)" userId="995eb0f2-f21c-467c-a947-4f8fc26d0f2e" providerId="ADAL" clId="{C92D4D14-F746-4D40-BCC7-77792082F25E}" dt="2022-12-08T22:55:19.436" v="7993" actId="47"/>
        <pc:sldMkLst>
          <pc:docMk/>
          <pc:sldMk cId="2715160089" sldId="435"/>
        </pc:sldMkLst>
        <pc:graphicFrameChg chg="mod">
          <ac:chgData name="Kory Thacher (APPS / POWERSHELL)" userId="995eb0f2-f21c-467c-a947-4f8fc26d0f2e" providerId="ADAL" clId="{C92D4D14-F746-4D40-BCC7-77792082F25E}" dt="2022-12-08T22:43:15.521" v="7855" actId="13782"/>
          <ac:graphicFrameMkLst>
            <pc:docMk/>
            <pc:sldMk cId="2715160089" sldId="435"/>
            <ac:graphicFrameMk id="8" creationId="{EB77B92E-8D57-012E-DB33-F2F5E54706C5}"/>
          </ac:graphicFrameMkLst>
        </pc:graphicFrameChg>
      </pc:sldChg>
      <pc:sldChg chg="modSp add del">
        <pc:chgData name="Kory Thacher (APPS / POWERSHELL)" userId="995eb0f2-f21c-467c-a947-4f8fc26d0f2e" providerId="ADAL" clId="{C92D4D14-F746-4D40-BCC7-77792082F25E}" dt="2022-12-08T22:55:19.436" v="7993" actId="47"/>
        <pc:sldMkLst>
          <pc:docMk/>
          <pc:sldMk cId="705079017" sldId="436"/>
        </pc:sldMkLst>
        <pc:graphicFrameChg chg="mod">
          <ac:chgData name="Kory Thacher (APPS / POWERSHELL)" userId="995eb0f2-f21c-467c-a947-4f8fc26d0f2e" providerId="ADAL" clId="{C92D4D14-F746-4D40-BCC7-77792082F25E}" dt="2022-12-08T22:43:30.149" v="7857" actId="13782"/>
          <ac:graphicFrameMkLst>
            <pc:docMk/>
            <pc:sldMk cId="705079017" sldId="436"/>
            <ac:graphicFrameMk id="8" creationId="{EB77B92E-8D57-012E-DB33-F2F5E54706C5}"/>
          </ac:graphicFrameMkLst>
        </pc:graphicFrameChg>
      </pc:sldChg>
      <pc:sldChg chg="add del">
        <pc:chgData name="Kory Thacher (APPS / POWERSHELL)" userId="995eb0f2-f21c-467c-a947-4f8fc26d0f2e" providerId="ADAL" clId="{C92D4D14-F746-4D40-BCC7-77792082F25E}" dt="2022-12-05T21:51:59.224" v="5590" actId="47"/>
        <pc:sldMkLst>
          <pc:docMk/>
          <pc:sldMk cId="3666090669" sldId="436"/>
        </pc:sldMkLst>
      </pc:sldChg>
      <pc:sldChg chg="modSp add del">
        <pc:chgData name="Kory Thacher (APPS / POWERSHELL)" userId="995eb0f2-f21c-467c-a947-4f8fc26d0f2e" providerId="ADAL" clId="{C92D4D14-F746-4D40-BCC7-77792082F25E}" dt="2022-12-08T22:55:19.436" v="7993" actId="47"/>
        <pc:sldMkLst>
          <pc:docMk/>
          <pc:sldMk cId="4040637665" sldId="437"/>
        </pc:sldMkLst>
        <pc:graphicFrameChg chg="mod">
          <ac:chgData name="Kory Thacher (APPS / POWERSHELL)" userId="995eb0f2-f21c-467c-a947-4f8fc26d0f2e" providerId="ADAL" clId="{C92D4D14-F746-4D40-BCC7-77792082F25E}" dt="2022-12-08T22:44:04.240" v="7860" actId="13782"/>
          <ac:graphicFrameMkLst>
            <pc:docMk/>
            <pc:sldMk cId="4040637665" sldId="437"/>
            <ac:graphicFrameMk id="8" creationId="{EB77B92E-8D57-012E-DB33-F2F5E54706C5}"/>
          </ac:graphicFrameMkLst>
        </pc:graphicFrameChg>
      </pc:sldChg>
      <pc:sldChg chg="addSp delSp modSp add del">
        <pc:chgData name="Kory Thacher (APPS / POWERSHELL)" userId="995eb0f2-f21c-467c-a947-4f8fc26d0f2e" providerId="ADAL" clId="{C92D4D14-F746-4D40-BCC7-77792082F25E}" dt="2022-12-08T22:55:19.436" v="7993" actId="47"/>
        <pc:sldMkLst>
          <pc:docMk/>
          <pc:sldMk cId="1748886869" sldId="438"/>
        </pc:sldMkLst>
        <pc:graphicFrameChg chg="add del mod">
          <ac:chgData name="Kory Thacher (APPS / POWERSHELL)" userId="995eb0f2-f21c-467c-a947-4f8fc26d0f2e" providerId="ADAL" clId="{C92D4D14-F746-4D40-BCC7-77792082F25E}" dt="2022-12-08T22:44:53.533" v="7864"/>
          <ac:graphicFrameMkLst>
            <pc:docMk/>
            <pc:sldMk cId="1748886869" sldId="438"/>
            <ac:graphicFrameMk id="2" creationId="{47E5D32A-B384-D30D-1E16-8E26696A8DF6}"/>
          </ac:graphicFrameMkLst>
        </pc:graphicFrameChg>
        <pc:graphicFrameChg chg="mod">
          <ac:chgData name="Kory Thacher (APPS / POWERSHELL)" userId="995eb0f2-f21c-467c-a947-4f8fc26d0f2e" providerId="ADAL" clId="{C92D4D14-F746-4D40-BCC7-77792082F25E}" dt="2022-12-08T22:44:48.837" v="7862" actId="13782"/>
          <ac:graphicFrameMkLst>
            <pc:docMk/>
            <pc:sldMk cId="1748886869" sldId="438"/>
            <ac:graphicFrameMk id="8" creationId="{EB77B92E-8D57-012E-DB33-F2F5E54706C5}"/>
          </ac:graphicFrameMkLst>
        </pc:graphicFrameChg>
      </pc:sldChg>
      <pc:sldChg chg="modSp add del">
        <pc:chgData name="Kory Thacher (APPS / POWERSHELL)" userId="995eb0f2-f21c-467c-a947-4f8fc26d0f2e" providerId="ADAL" clId="{C92D4D14-F746-4D40-BCC7-77792082F25E}" dt="2022-12-08T22:55:19.436" v="7993" actId="47"/>
        <pc:sldMkLst>
          <pc:docMk/>
          <pc:sldMk cId="1857717231" sldId="439"/>
        </pc:sldMkLst>
        <pc:graphicFrameChg chg="mod">
          <ac:chgData name="Kory Thacher (APPS / POWERSHELL)" userId="995eb0f2-f21c-467c-a947-4f8fc26d0f2e" providerId="ADAL" clId="{C92D4D14-F746-4D40-BCC7-77792082F25E}" dt="2022-12-08T22:49:19.226" v="7932" actId="20577"/>
          <ac:graphicFrameMkLst>
            <pc:docMk/>
            <pc:sldMk cId="1857717231" sldId="439"/>
            <ac:graphicFrameMk id="8" creationId="{EB77B92E-8D57-012E-DB33-F2F5E54706C5}"/>
          </ac:graphicFrameMkLst>
        </pc:graphicFrameChg>
      </pc:sldChg>
      <pc:sldChg chg="modSp add del">
        <pc:chgData name="Kory Thacher (APPS / POWERSHELL)" userId="995eb0f2-f21c-467c-a947-4f8fc26d0f2e" providerId="ADAL" clId="{C92D4D14-F746-4D40-BCC7-77792082F25E}" dt="2022-12-08T22:55:19.436" v="7993" actId="47"/>
        <pc:sldMkLst>
          <pc:docMk/>
          <pc:sldMk cId="3663760670" sldId="440"/>
        </pc:sldMkLst>
        <pc:graphicFrameChg chg="mod">
          <ac:chgData name="Kory Thacher (APPS / POWERSHELL)" userId="995eb0f2-f21c-467c-a947-4f8fc26d0f2e" providerId="ADAL" clId="{C92D4D14-F746-4D40-BCC7-77792082F25E}" dt="2022-12-08T22:45:34.134" v="7895" actId="13782"/>
          <ac:graphicFrameMkLst>
            <pc:docMk/>
            <pc:sldMk cId="3663760670" sldId="440"/>
            <ac:graphicFrameMk id="8" creationId="{EB77B92E-8D57-012E-DB33-F2F5E54706C5}"/>
          </ac:graphicFrameMkLst>
        </pc:graphicFrameChg>
      </pc:sldChg>
      <pc:sldChg chg="modSp add del">
        <pc:chgData name="Kory Thacher (APPS / POWERSHELL)" userId="995eb0f2-f21c-467c-a947-4f8fc26d0f2e" providerId="ADAL" clId="{C92D4D14-F746-4D40-BCC7-77792082F25E}" dt="2022-12-08T22:55:19.436" v="7993" actId="47"/>
        <pc:sldMkLst>
          <pc:docMk/>
          <pc:sldMk cId="994858049" sldId="441"/>
        </pc:sldMkLst>
        <pc:graphicFrameChg chg="mod">
          <ac:chgData name="Kory Thacher (APPS / POWERSHELL)" userId="995eb0f2-f21c-467c-a947-4f8fc26d0f2e" providerId="ADAL" clId="{C92D4D14-F746-4D40-BCC7-77792082F25E}" dt="2022-12-08T22:45:45.659" v="7897" actId="13782"/>
          <ac:graphicFrameMkLst>
            <pc:docMk/>
            <pc:sldMk cId="994858049" sldId="441"/>
            <ac:graphicFrameMk id="8" creationId="{EB77B92E-8D57-012E-DB33-F2F5E54706C5}"/>
          </ac:graphicFrameMkLst>
        </pc:graphicFrameChg>
      </pc:sldChg>
      <pc:sldChg chg="addSp modSp add mod modShow">
        <pc:chgData name="Kory Thacher (APPS / POWERSHELL)" userId="995eb0f2-f21c-467c-a947-4f8fc26d0f2e" providerId="ADAL" clId="{C92D4D14-F746-4D40-BCC7-77792082F25E}" dt="2022-12-08T22:58:45.126" v="8072" actId="729"/>
        <pc:sldMkLst>
          <pc:docMk/>
          <pc:sldMk cId="3752082709" sldId="442"/>
        </pc:sldMkLst>
        <pc:spChg chg="add mod">
          <ac:chgData name="Kory Thacher (APPS / POWERSHELL)" userId="995eb0f2-f21c-467c-a947-4f8fc26d0f2e" providerId="ADAL" clId="{C92D4D14-F746-4D40-BCC7-77792082F25E}" dt="2022-12-08T22:53:07.287" v="7987" actId="1076"/>
          <ac:spMkLst>
            <pc:docMk/>
            <pc:sldMk cId="3752082709" sldId="442"/>
            <ac:spMk id="2" creationId="{99AA91F3-5C44-A388-007E-E201AAF936FF}"/>
          </ac:spMkLst>
        </pc:spChg>
        <pc:spChg chg="mod">
          <ac:chgData name="Kory Thacher (APPS / POWERSHELL)" userId="995eb0f2-f21c-467c-a947-4f8fc26d0f2e" providerId="ADAL" clId="{C92D4D14-F746-4D40-BCC7-77792082F25E}" dt="2022-12-08T22:58:18.947" v="8071" actId="20577"/>
          <ac:spMkLst>
            <pc:docMk/>
            <pc:sldMk cId="3752082709" sldId="442"/>
            <ac:spMk id="3" creationId="{79743E29-3932-4EB8-86D4-F83F46D63AC3}"/>
          </ac:spMkLst>
        </pc:spChg>
        <pc:graphicFrameChg chg="mod">
          <ac:chgData name="Kory Thacher (APPS / POWERSHELL)" userId="995eb0f2-f21c-467c-a947-4f8fc26d0f2e" providerId="ADAL" clId="{C92D4D14-F746-4D40-BCC7-77792082F25E}" dt="2022-12-08T22:54:51.898" v="7992" actId="207"/>
          <ac:graphicFrameMkLst>
            <pc:docMk/>
            <pc:sldMk cId="3752082709" sldId="442"/>
            <ac:graphicFrameMk id="8" creationId="{EB77B92E-8D57-012E-DB33-F2F5E54706C5}"/>
          </ac:graphicFrameMkLst>
        </pc:graphicFrameChg>
      </pc:sldChg>
      <pc:sldChg chg="addSp delSp modSp add del mod">
        <pc:chgData name="Kory Thacher (APPS / POWERSHELL)" userId="995eb0f2-f21c-467c-a947-4f8fc26d0f2e" providerId="ADAL" clId="{C92D4D14-F746-4D40-BCC7-77792082F25E}" dt="2022-12-08T23:08:19.617" v="8222" actId="47"/>
        <pc:sldMkLst>
          <pc:docMk/>
          <pc:sldMk cId="491694212" sldId="443"/>
        </pc:sldMkLst>
        <pc:spChg chg="add del mod">
          <ac:chgData name="Kory Thacher (APPS / POWERSHELL)" userId="995eb0f2-f21c-467c-a947-4f8fc26d0f2e" providerId="ADAL" clId="{C92D4D14-F746-4D40-BCC7-77792082F25E}" dt="2022-12-08T23:04:17.355" v="8209" actId="20577"/>
          <ac:spMkLst>
            <pc:docMk/>
            <pc:sldMk cId="491694212" sldId="443"/>
            <ac:spMk id="2" creationId="{0D571322-9F37-477D-9B5B-EBF49D8B1DE4}"/>
          </ac:spMkLst>
        </pc:spChg>
        <pc:spChg chg="del">
          <ac:chgData name="Kory Thacher (APPS / POWERSHELL)" userId="995eb0f2-f21c-467c-a947-4f8fc26d0f2e" providerId="ADAL" clId="{C92D4D14-F746-4D40-BCC7-77792082F25E}" dt="2022-12-08T23:04:25.383" v="8210" actId="12084"/>
          <ac:spMkLst>
            <pc:docMk/>
            <pc:sldMk cId="491694212" sldId="443"/>
            <ac:spMk id="3" creationId="{1C691F60-425C-42A5-9655-84F756D08666}"/>
          </ac:spMkLst>
        </pc:spChg>
        <pc:spChg chg="add del mod">
          <ac:chgData name="Kory Thacher (APPS / POWERSHELL)" userId="995eb0f2-f21c-467c-a947-4f8fc26d0f2e" providerId="ADAL" clId="{C92D4D14-F746-4D40-BCC7-77792082F25E}" dt="2022-12-08T23:04:12.840" v="8203" actId="478"/>
          <ac:spMkLst>
            <pc:docMk/>
            <pc:sldMk cId="491694212" sldId="443"/>
            <ac:spMk id="5" creationId="{6C3BDF53-0DD0-57AC-036A-A2EE1DC548AC}"/>
          </ac:spMkLst>
        </pc:spChg>
        <pc:graphicFrameChg chg="add mod">
          <ac:chgData name="Kory Thacher (APPS / POWERSHELL)" userId="995eb0f2-f21c-467c-a947-4f8fc26d0f2e" providerId="ADAL" clId="{C92D4D14-F746-4D40-BCC7-77792082F25E}" dt="2022-12-08T23:04:25.383" v="8210" actId="12084"/>
          <ac:graphicFrameMkLst>
            <pc:docMk/>
            <pc:sldMk cId="491694212" sldId="443"/>
            <ac:graphicFrameMk id="6" creationId="{C609BA77-89B1-E939-5D79-B3825FDE3292}"/>
          </ac:graphicFrameMkLst>
        </pc:graphicFrameChg>
      </pc:sldChg>
      <pc:sldChg chg="modSp add del">
        <pc:chgData name="Kory Thacher (APPS / POWERSHELL)" userId="995eb0f2-f21c-467c-a947-4f8fc26d0f2e" providerId="ADAL" clId="{C92D4D14-F746-4D40-BCC7-77792082F25E}" dt="2022-12-08T22:55:19.436" v="7993" actId="47"/>
        <pc:sldMkLst>
          <pc:docMk/>
          <pc:sldMk cId="1576754521" sldId="443"/>
        </pc:sldMkLst>
        <pc:graphicFrameChg chg="mod">
          <ac:chgData name="Kory Thacher (APPS / POWERSHELL)" userId="995eb0f2-f21c-467c-a947-4f8fc26d0f2e" providerId="ADAL" clId="{C92D4D14-F746-4D40-BCC7-77792082F25E}" dt="2022-12-08T22:46:13.622" v="7901" actId="13782"/>
          <ac:graphicFrameMkLst>
            <pc:docMk/>
            <pc:sldMk cId="1576754521" sldId="443"/>
            <ac:graphicFrameMk id="8" creationId="{EB77B92E-8D57-012E-DB33-F2F5E54706C5}"/>
          </ac:graphicFrameMkLst>
        </pc:graphicFrameChg>
      </pc:sldChg>
      <pc:sldChg chg="add del">
        <pc:chgData name="Kory Thacher (APPS / POWERSHELL)" userId="995eb0f2-f21c-467c-a947-4f8fc26d0f2e" providerId="ADAL" clId="{C92D4D14-F746-4D40-BCC7-77792082F25E}" dt="2022-12-08T22:56:25.316" v="7998" actId="47"/>
        <pc:sldMkLst>
          <pc:docMk/>
          <pc:sldMk cId="1881255901" sldId="443"/>
        </pc:sldMkLst>
      </pc:sldChg>
      <pc:sldChg chg="add del">
        <pc:chgData name="Kory Thacher (APPS / POWERSHELL)" userId="995eb0f2-f21c-467c-a947-4f8fc26d0f2e" providerId="ADAL" clId="{C92D4D14-F746-4D40-BCC7-77792082F25E}" dt="2022-12-08T22:56:26.878" v="7999" actId="47"/>
        <pc:sldMkLst>
          <pc:docMk/>
          <pc:sldMk cId="1332622845" sldId="444"/>
        </pc:sldMkLst>
      </pc:sldChg>
      <pc:sldChg chg="modSp add del">
        <pc:chgData name="Kory Thacher (APPS / POWERSHELL)" userId="995eb0f2-f21c-467c-a947-4f8fc26d0f2e" providerId="ADAL" clId="{C92D4D14-F746-4D40-BCC7-77792082F25E}" dt="2022-12-08T23:08:19.617" v="8222" actId="47"/>
        <pc:sldMkLst>
          <pc:docMk/>
          <pc:sldMk cId="2543058826" sldId="444"/>
        </pc:sldMkLst>
        <pc:graphicFrameChg chg="mod">
          <ac:chgData name="Kory Thacher (APPS / POWERSHELL)" userId="995eb0f2-f21c-467c-a947-4f8fc26d0f2e" providerId="ADAL" clId="{C92D4D14-F746-4D40-BCC7-77792082F25E}" dt="2022-12-08T23:04:39.108" v="8212" actId="13782"/>
          <ac:graphicFrameMkLst>
            <pc:docMk/>
            <pc:sldMk cId="2543058826" sldId="444"/>
            <ac:graphicFrameMk id="6" creationId="{C609BA77-89B1-E939-5D79-B3825FDE3292}"/>
          </ac:graphicFrameMkLst>
        </pc:graphicFrameChg>
      </pc:sldChg>
      <pc:sldChg chg="add del">
        <pc:chgData name="Kory Thacher (APPS / POWERSHELL)" userId="995eb0f2-f21c-467c-a947-4f8fc26d0f2e" providerId="ADAL" clId="{C92D4D14-F746-4D40-BCC7-77792082F25E}" dt="2022-12-08T22:56:27.883" v="8000" actId="47"/>
        <pc:sldMkLst>
          <pc:docMk/>
          <pc:sldMk cId="3757833505" sldId="445"/>
        </pc:sldMkLst>
      </pc:sldChg>
      <pc:sldChg chg="modSp add">
        <pc:chgData name="Kory Thacher (APPS / POWERSHELL)" userId="995eb0f2-f21c-467c-a947-4f8fc26d0f2e" providerId="ADAL" clId="{C92D4D14-F746-4D40-BCC7-77792082F25E}" dt="2022-12-08T23:04:48.435" v="8214" actId="13782"/>
        <pc:sldMkLst>
          <pc:docMk/>
          <pc:sldMk cId="4262249998" sldId="445"/>
        </pc:sldMkLst>
        <pc:graphicFrameChg chg="mod">
          <ac:chgData name="Kory Thacher (APPS / POWERSHELL)" userId="995eb0f2-f21c-467c-a947-4f8fc26d0f2e" providerId="ADAL" clId="{C92D4D14-F746-4D40-BCC7-77792082F25E}" dt="2022-12-08T23:04:48.435" v="8214" actId="13782"/>
          <ac:graphicFrameMkLst>
            <pc:docMk/>
            <pc:sldMk cId="4262249998" sldId="445"/>
            <ac:graphicFrameMk id="6" creationId="{C609BA77-89B1-E939-5D79-B3825FDE3292}"/>
          </ac:graphicFrameMkLst>
        </pc:graphicFrameChg>
      </pc:sldChg>
      <pc:sldChg chg="modSp add del">
        <pc:chgData name="Kory Thacher (APPS / POWERSHELL)" userId="995eb0f2-f21c-467c-a947-4f8fc26d0f2e" providerId="ADAL" clId="{C92D4D14-F746-4D40-BCC7-77792082F25E}" dt="2022-12-08T23:08:19.617" v="8222" actId="47"/>
        <pc:sldMkLst>
          <pc:docMk/>
          <pc:sldMk cId="2952946467" sldId="446"/>
        </pc:sldMkLst>
        <pc:graphicFrameChg chg="mod">
          <ac:chgData name="Kory Thacher (APPS / POWERSHELL)" userId="995eb0f2-f21c-467c-a947-4f8fc26d0f2e" providerId="ADAL" clId="{C92D4D14-F746-4D40-BCC7-77792082F25E}" dt="2022-12-08T23:05:04.720" v="8216" actId="13782"/>
          <ac:graphicFrameMkLst>
            <pc:docMk/>
            <pc:sldMk cId="2952946467" sldId="446"/>
            <ac:graphicFrameMk id="6" creationId="{C609BA77-89B1-E939-5D79-B3825FDE3292}"/>
          </ac:graphicFrameMkLst>
        </pc:graphicFrameChg>
      </pc:sldChg>
      <pc:sldChg chg="delSp modSp add mod">
        <pc:chgData name="Kory Thacher (APPS / POWERSHELL)" userId="995eb0f2-f21c-467c-a947-4f8fc26d0f2e" providerId="ADAL" clId="{C92D4D14-F746-4D40-BCC7-77792082F25E}" dt="2022-12-12T22:20:32.440" v="8492" actId="1037"/>
        <pc:sldMkLst>
          <pc:docMk/>
          <pc:sldMk cId="3782249789" sldId="446"/>
        </pc:sldMkLst>
        <pc:spChg chg="mod">
          <ac:chgData name="Kory Thacher (APPS / POWERSHELL)" userId="995eb0f2-f21c-467c-a947-4f8fc26d0f2e" providerId="ADAL" clId="{C92D4D14-F746-4D40-BCC7-77792082F25E}" dt="2022-12-12T22:18:51.413" v="8473" actId="207"/>
          <ac:spMkLst>
            <pc:docMk/>
            <pc:sldMk cId="3782249789" sldId="446"/>
            <ac:spMk id="6" creationId="{C84BFD6C-319D-4665-A3EC-44969951DC1A}"/>
          </ac:spMkLst>
        </pc:spChg>
        <pc:spChg chg="mod">
          <ac:chgData name="Kory Thacher (APPS / POWERSHELL)" userId="995eb0f2-f21c-467c-a947-4f8fc26d0f2e" providerId="ADAL" clId="{C92D4D14-F746-4D40-BCC7-77792082F25E}" dt="2022-12-12T22:06:42.660" v="8350" actId="14100"/>
          <ac:spMkLst>
            <pc:docMk/>
            <pc:sldMk cId="3782249789" sldId="446"/>
            <ac:spMk id="10" creationId="{5B151A20-8055-D110-D93D-79677BEA13AD}"/>
          </ac:spMkLst>
        </pc:spChg>
        <pc:graphicFrameChg chg="mod">
          <ac:chgData name="Kory Thacher (APPS / POWERSHELL)" userId="995eb0f2-f21c-467c-a947-4f8fc26d0f2e" providerId="ADAL" clId="{C92D4D14-F746-4D40-BCC7-77792082F25E}" dt="2022-12-12T22:20:27.394" v="8480" actId="14100"/>
          <ac:graphicFrameMkLst>
            <pc:docMk/>
            <pc:sldMk cId="3782249789" sldId="446"/>
            <ac:graphicFrameMk id="9" creationId="{203A39C7-A3BE-E059-A062-5185B97B7FAE}"/>
          </ac:graphicFrameMkLst>
        </pc:graphicFrameChg>
        <pc:picChg chg="del">
          <ac:chgData name="Kory Thacher (APPS / POWERSHELL)" userId="995eb0f2-f21c-467c-a947-4f8fc26d0f2e" providerId="ADAL" clId="{C92D4D14-F746-4D40-BCC7-77792082F25E}" dt="2022-12-12T22:01:15.193" v="8293" actId="478"/>
          <ac:picMkLst>
            <pc:docMk/>
            <pc:sldMk cId="3782249789" sldId="446"/>
            <ac:picMk id="4" creationId="{45CCB69D-FCD2-4E4D-A841-5E239E1E961C}"/>
          </ac:picMkLst>
        </pc:picChg>
        <pc:picChg chg="mod modCrop">
          <ac:chgData name="Kory Thacher (APPS / POWERSHELL)" userId="995eb0f2-f21c-467c-a947-4f8fc26d0f2e" providerId="ADAL" clId="{C92D4D14-F746-4D40-BCC7-77792082F25E}" dt="2022-12-12T22:20:32.440" v="8492" actId="1037"/>
          <ac:picMkLst>
            <pc:docMk/>
            <pc:sldMk cId="3782249789" sldId="446"/>
            <ac:picMk id="5" creationId="{91844104-C8F4-86BC-8C82-78D2A2EDADE0}"/>
          </ac:picMkLst>
        </pc:picChg>
      </pc:sldChg>
      <pc:sldChg chg="modSp add del">
        <pc:chgData name="Kory Thacher (APPS / POWERSHELL)" userId="995eb0f2-f21c-467c-a947-4f8fc26d0f2e" providerId="ADAL" clId="{C92D4D14-F746-4D40-BCC7-77792082F25E}" dt="2022-12-08T23:08:19.617" v="8222" actId="47"/>
        <pc:sldMkLst>
          <pc:docMk/>
          <pc:sldMk cId="3150135909" sldId="447"/>
        </pc:sldMkLst>
        <pc:graphicFrameChg chg="mod">
          <ac:chgData name="Kory Thacher (APPS / POWERSHELL)" userId="995eb0f2-f21c-467c-a947-4f8fc26d0f2e" providerId="ADAL" clId="{C92D4D14-F746-4D40-BCC7-77792082F25E}" dt="2022-12-08T23:05:32.250" v="8218" actId="13782"/>
          <ac:graphicFrameMkLst>
            <pc:docMk/>
            <pc:sldMk cId="3150135909" sldId="447"/>
            <ac:graphicFrameMk id="6" creationId="{C609BA77-89B1-E939-5D79-B3825FDE3292}"/>
          </ac:graphicFrameMkLst>
        </pc:graphicFrameChg>
      </pc:sldChg>
      <pc:sldChg chg="modSp add del">
        <pc:chgData name="Kory Thacher (APPS / POWERSHELL)" userId="995eb0f2-f21c-467c-a947-4f8fc26d0f2e" providerId="ADAL" clId="{C92D4D14-F746-4D40-BCC7-77792082F25E}" dt="2022-12-08T23:08:19.617" v="8222" actId="47"/>
        <pc:sldMkLst>
          <pc:docMk/>
          <pc:sldMk cId="649358124" sldId="448"/>
        </pc:sldMkLst>
        <pc:graphicFrameChg chg="mod">
          <ac:chgData name="Kory Thacher (APPS / POWERSHELL)" userId="995eb0f2-f21c-467c-a947-4f8fc26d0f2e" providerId="ADAL" clId="{C92D4D14-F746-4D40-BCC7-77792082F25E}" dt="2022-12-08T23:06:43.719" v="8221" actId="13782"/>
          <ac:graphicFrameMkLst>
            <pc:docMk/>
            <pc:sldMk cId="649358124" sldId="448"/>
            <ac:graphicFrameMk id="6" creationId="{C609BA77-89B1-E939-5D79-B3825FDE3292}"/>
          </ac:graphicFrameMkLst>
        </pc:graphicFrameChg>
      </pc:sldChg>
    </pc:docChg>
  </pc:docChgLst>
  <pc:docChgLst>
    <pc:chgData name="Kory Thacher" userId="995eb0f2-f21c-467c-a947-4f8fc26d0f2e" providerId="ADAL" clId="{DB5418A4-D574-4BCC-ADAE-F082E06709BA}"/>
    <pc:docChg chg="custSel modSld">
      <pc:chgData name="Kory Thacher" userId="995eb0f2-f21c-467c-a947-4f8fc26d0f2e" providerId="ADAL" clId="{DB5418A4-D574-4BCC-ADAE-F082E06709BA}" dt="2021-05-06T17:36:35.254" v="4"/>
      <pc:docMkLst>
        <pc:docMk/>
      </pc:docMkLst>
      <pc:sldChg chg="addCm modCm">
        <pc:chgData name="Kory Thacher" userId="995eb0f2-f21c-467c-a947-4f8fc26d0f2e" providerId="ADAL" clId="{DB5418A4-D574-4BCC-ADAE-F082E06709BA}" dt="2021-05-06T17:36:35.254" v="4"/>
        <pc:sldMkLst>
          <pc:docMk/>
          <pc:sldMk cId="2234774238" sldId="312"/>
        </pc:sldMkLst>
      </pc:sldChg>
      <pc:sldChg chg="addCm modCm">
        <pc:chgData name="Kory Thacher" userId="995eb0f2-f21c-467c-a947-4f8fc26d0f2e" providerId="ADAL" clId="{DB5418A4-D574-4BCC-ADAE-F082E06709BA}" dt="2021-05-06T17:35:53.806" v="2"/>
        <pc:sldMkLst>
          <pc:docMk/>
          <pc:sldMk cId="1115799198" sldId="314"/>
        </pc:sldMkLst>
      </pc:sldChg>
    </pc:docChg>
  </pc:docChgLst>
  <pc:docChgLst>
    <pc:chgData name="Kory Thacher (APPS / POWERSHELL)" userId="995eb0f2-f21c-467c-a947-4f8fc26d0f2e" providerId="ADAL" clId="{DB5418A4-D574-4BCC-ADAE-F082E06709BA}"/>
    <pc:docChg chg="custSel modSld">
      <pc:chgData name="Kory Thacher (APPS / POWERSHELL)" userId="995eb0f2-f21c-467c-a947-4f8fc26d0f2e" providerId="ADAL" clId="{DB5418A4-D574-4BCC-ADAE-F082E06709BA}" dt="2021-05-13T15:40:26.350" v="1"/>
      <pc:docMkLst>
        <pc:docMk/>
      </pc:docMkLst>
      <pc:sldChg chg="addCm modCm">
        <pc:chgData name="Kory Thacher (APPS / POWERSHELL)" userId="995eb0f2-f21c-467c-a947-4f8fc26d0f2e" providerId="ADAL" clId="{DB5418A4-D574-4BCC-ADAE-F082E06709BA}" dt="2021-05-13T15:40:26.350" v="1"/>
        <pc:sldMkLst>
          <pc:docMk/>
          <pc:sldMk cId="160840770" sldId="263"/>
        </pc:sldMkLst>
      </pc:sldChg>
    </pc:docChg>
  </pc:docChgLst>
</pc:chgInfo>
</file>

<file path=ppt/diagrams/_rels/data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9.svg"/><Relationship Id="rId1" Type="http://schemas.openxmlformats.org/officeDocument/2006/relationships/image" Target="../media/image28.png"/><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10.svg"/></Relationships>
</file>

<file path=ppt/diagrams/_rels/data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_rels/drawing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9.svg"/><Relationship Id="rId1" Type="http://schemas.openxmlformats.org/officeDocument/2006/relationships/image" Target="../media/image28.png"/><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10.svg"/></Relationships>
</file>

<file path=ppt/diagrams/_rels/drawing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231E074-3D04-45AF-8F39-6AB981C8D561}"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9C20C1C6-D9DA-4436-AAE2-7EC762BA7BD3}">
      <dgm:prSet/>
      <dgm:spPr/>
      <dgm:t>
        <a:bodyPr/>
        <a:lstStyle/>
        <a:p>
          <a:r>
            <a:rPr lang="en-US" baseline="0"/>
            <a:t>Windows Presentation Framework</a:t>
          </a:r>
          <a:endParaRPr lang="en-US"/>
        </a:p>
      </dgm:t>
    </dgm:pt>
    <dgm:pt modelId="{35B55704-C1E1-4C5C-B642-93AD770C83D8}" type="parTrans" cxnId="{2FC8A671-693C-406F-9B9B-ED023D9A7461}">
      <dgm:prSet/>
      <dgm:spPr/>
      <dgm:t>
        <a:bodyPr/>
        <a:lstStyle/>
        <a:p>
          <a:endParaRPr lang="en-US"/>
        </a:p>
      </dgm:t>
    </dgm:pt>
    <dgm:pt modelId="{4EF59073-A0E5-48AA-9691-CD4F27A8FFA3}" type="sibTrans" cxnId="{2FC8A671-693C-406F-9B9B-ED023D9A7461}">
      <dgm:prSet/>
      <dgm:spPr/>
      <dgm:t>
        <a:bodyPr/>
        <a:lstStyle/>
        <a:p>
          <a:endParaRPr lang="en-US"/>
        </a:p>
      </dgm:t>
    </dgm:pt>
    <dgm:pt modelId="{A3B08131-1CAE-427A-B427-CEF7A7E86338}">
      <dgm:prSet/>
      <dgm:spPr/>
      <dgm:t>
        <a:bodyPr/>
        <a:lstStyle/>
        <a:p>
          <a:r>
            <a:rPr lang="en-US" baseline="0"/>
            <a:t>Introduction to Visual Studio</a:t>
          </a:r>
          <a:endParaRPr lang="en-US"/>
        </a:p>
      </dgm:t>
    </dgm:pt>
    <dgm:pt modelId="{B7FE11BB-C302-4C36-8E53-2902227A0F65}" type="parTrans" cxnId="{1E70DDF3-8CE1-45C5-B3BB-1F325A3E283C}">
      <dgm:prSet/>
      <dgm:spPr/>
      <dgm:t>
        <a:bodyPr/>
        <a:lstStyle/>
        <a:p>
          <a:endParaRPr lang="en-US"/>
        </a:p>
      </dgm:t>
    </dgm:pt>
    <dgm:pt modelId="{3A0065D4-46E8-48D5-8A58-9EE2DC5AD2C8}" type="sibTrans" cxnId="{1E70DDF3-8CE1-45C5-B3BB-1F325A3E283C}">
      <dgm:prSet/>
      <dgm:spPr/>
      <dgm:t>
        <a:bodyPr/>
        <a:lstStyle/>
        <a:p>
          <a:endParaRPr lang="en-US"/>
        </a:p>
      </dgm:t>
    </dgm:pt>
    <dgm:pt modelId="{D0401988-99C1-49F2-AA32-BA49FFB637CB}">
      <dgm:prSet/>
      <dgm:spPr/>
      <dgm:t>
        <a:bodyPr/>
        <a:lstStyle/>
        <a:p>
          <a:r>
            <a:rPr lang="en-US" baseline="0"/>
            <a:t>Creating a GUI</a:t>
          </a:r>
          <a:endParaRPr lang="en-US"/>
        </a:p>
      </dgm:t>
    </dgm:pt>
    <dgm:pt modelId="{379A555F-C3BF-49EF-8D58-2A5623A3DD50}" type="parTrans" cxnId="{D7799A87-07ED-4212-B84F-4D9F2C705C0C}">
      <dgm:prSet/>
      <dgm:spPr/>
      <dgm:t>
        <a:bodyPr/>
        <a:lstStyle/>
        <a:p>
          <a:endParaRPr lang="en-US"/>
        </a:p>
      </dgm:t>
    </dgm:pt>
    <dgm:pt modelId="{DFCFD6C0-AA35-40B4-ADD8-4844BEF2F8E4}" type="sibTrans" cxnId="{D7799A87-07ED-4212-B84F-4D9F2C705C0C}">
      <dgm:prSet/>
      <dgm:spPr/>
      <dgm:t>
        <a:bodyPr/>
        <a:lstStyle/>
        <a:p>
          <a:endParaRPr lang="en-US"/>
        </a:p>
      </dgm:t>
    </dgm:pt>
    <dgm:pt modelId="{719547DF-B65E-44A5-A226-B6884FD4BAF4}">
      <dgm:prSet/>
      <dgm:spPr/>
      <dgm:t>
        <a:bodyPr/>
        <a:lstStyle/>
        <a:p>
          <a:r>
            <a:rPr lang="en-US" baseline="0"/>
            <a:t>Integrating PowerShell Code with GUIs</a:t>
          </a:r>
          <a:endParaRPr lang="en-US"/>
        </a:p>
      </dgm:t>
    </dgm:pt>
    <dgm:pt modelId="{24CAED7E-81F9-4399-85DA-B555A74F3B2B}" type="parTrans" cxnId="{F1104C6C-2893-4B56-848C-976A081D46B0}">
      <dgm:prSet/>
      <dgm:spPr/>
      <dgm:t>
        <a:bodyPr/>
        <a:lstStyle/>
        <a:p>
          <a:endParaRPr lang="en-US"/>
        </a:p>
      </dgm:t>
    </dgm:pt>
    <dgm:pt modelId="{2F8EBA5F-985E-4DD9-96D7-F7F464A4FBE5}" type="sibTrans" cxnId="{F1104C6C-2893-4B56-848C-976A081D46B0}">
      <dgm:prSet/>
      <dgm:spPr/>
      <dgm:t>
        <a:bodyPr/>
        <a:lstStyle/>
        <a:p>
          <a:endParaRPr lang="en-US"/>
        </a:p>
      </dgm:t>
    </dgm:pt>
    <dgm:pt modelId="{0B1098AA-1D81-4EED-8D72-CECEB6873568}">
      <dgm:prSet/>
      <dgm:spPr/>
      <dgm:t>
        <a:bodyPr/>
        <a:lstStyle/>
        <a:p>
          <a:r>
            <a:rPr lang="en-US" baseline="0"/>
            <a:t>Common issues</a:t>
          </a:r>
          <a:endParaRPr lang="en-US"/>
        </a:p>
      </dgm:t>
    </dgm:pt>
    <dgm:pt modelId="{DD65AF90-0D4B-47CE-9AB2-618CB1AE1FD6}" type="parTrans" cxnId="{81D70E21-DACE-4E2A-AF89-8342FF76BAF9}">
      <dgm:prSet/>
      <dgm:spPr/>
      <dgm:t>
        <a:bodyPr/>
        <a:lstStyle/>
        <a:p>
          <a:endParaRPr lang="en-US"/>
        </a:p>
      </dgm:t>
    </dgm:pt>
    <dgm:pt modelId="{C362490F-9428-42F8-B674-4A603306F088}" type="sibTrans" cxnId="{81D70E21-DACE-4E2A-AF89-8342FF76BAF9}">
      <dgm:prSet/>
      <dgm:spPr/>
      <dgm:t>
        <a:bodyPr/>
        <a:lstStyle/>
        <a:p>
          <a:endParaRPr lang="en-US"/>
        </a:p>
      </dgm:t>
    </dgm:pt>
    <dgm:pt modelId="{88E58D93-C108-4DB2-95BF-11BBA68BA2D5}" type="pres">
      <dgm:prSet presAssocID="{2231E074-3D04-45AF-8F39-6AB981C8D561}" presName="vert0" presStyleCnt="0">
        <dgm:presLayoutVars>
          <dgm:dir/>
          <dgm:animOne val="branch"/>
          <dgm:animLvl val="lvl"/>
        </dgm:presLayoutVars>
      </dgm:prSet>
      <dgm:spPr/>
    </dgm:pt>
    <dgm:pt modelId="{0F4CBE2F-B65E-4220-BBCA-ACFA51DDC858}" type="pres">
      <dgm:prSet presAssocID="{9C20C1C6-D9DA-4436-AAE2-7EC762BA7BD3}" presName="thickLine" presStyleLbl="alignNode1" presStyleIdx="0" presStyleCnt="5"/>
      <dgm:spPr/>
    </dgm:pt>
    <dgm:pt modelId="{5C6ABB2A-C79F-42E6-A5DA-D12C2CDF983F}" type="pres">
      <dgm:prSet presAssocID="{9C20C1C6-D9DA-4436-AAE2-7EC762BA7BD3}" presName="horz1" presStyleCnt="0"/>
      <dgm:spPr/>
    </dgm:pt>
    <dgm:pt modelId="{A7ABC5F1-69BE-4AC9-95D2-BB63A8F8AB55}" type="pres">
      <dgm:prSet presAssocID="{9C20C1C6-D9DA-4436-AAE2-7EC762BA7BD3}" presName="tx1" presStyleLbl="revTx" presStyleIdx="0" presStyleCnt="5"/>
      <dgm:spPr/>
    </dgm:pt>
    <dgm:pt modelId="{628980A7-72F6-4B98-9FAB-23A4219E118E}" type="pres">
      <dgm:prSet presAssocID="{9C20C1C6-D9DA-4436-AAE2-7EC762BA7BD3}" presName="vert1" presStyleCnt="0"/>
      <dgm:spPr/>
    </dgm:pt>
    <dgm:pt modelId="{EE9E89B9-C758-4876-B205-EBF8D080573C}" type="pres">
      <dgm:prSet presAssocID="{A3B08131-1CAE-427A-B427-CEF7A7E86338}" presName="thickLine" presStyleLbl="alignNode1" presStyleIdx="1" presStyleCnt="5"/>
      <dgm:spPr/>
    </dgm:pt>
    <dgm:pt modelId="{2274ABCD-6D50-44A2-AA34-D243DE25FAFB}" type="pres">
      <dgm:prSet presAssocID="{A3B08131-1CAE-427A-B427-CEF7A7E86338}" presName="horz1" presStyleCnt="0"/>
      <dgm:spPr/>
    </dgm:pt>
    <dgm:pt modelId="{78F37883-F993-42B0-A955-DE415640B274}" type="pres">
      <dgm:prSet presAssocID="{A3B08131-1CAE-427A-B427-CEF7A7E86338}" presName="tx1" presStyleLbl="revTx" presStyleIdx="1" presStyleCnt="5"/>
      <dgm:spPr/>
    </dgm:pt>
    <dgm:pt modelId="{8FEF883D-E1BE-4AAD-8511-65DD3DFB8D69}" type="pres">
      <dgm:prSet presAssocID="{A3B08131-1CAE-427A-B427-CEF7A7E86338}" presName="vert1" presStyleCnt="0"/>
      <dgm:spPr/>
    </dgm:pt>
    <dgm:pt modelId="{77594EC9-30ED-4FFE-86C7-66BBD5CF54F0}" type="pres">
      <dgm:prSet presAssocID="{D0401988-99C1-49F2-AA32-BA49FFB637CB}" presName="thickLine" presStyleLbl="alignNode1" presStyleIdx="2" presStyleCnt="5"/>
      <dgm:spPr/>
    </dgm:pt>
    <dgm:pt modelId="{BA328A8B-D73A-45A6-9283-DC51E164FD2C}" type="pres">
      <dgm:prSet presAssocID="{D0401988-99C1-49F2-AA32-BA49FFB637CB}" presName="horz1" presStyleCnt="0"/>
      <dgm:spPr/>
    </dgm:pt>
    <dgm:pt modelId="{5EFAC99F-12D6-4589-A695-364AFE4294BC}" type="pres">
      <dgm:prSet presAssocID="{D0401988-99C1-49F2-AA32-BA49FFB637CB}" presName="tx1" presStyleLbl="revTx" presStyleIdx="2" presStyleCnt="5"/>
      <dgm:spPr/>
    </dgm:pt>
    <dgm:pt modelId="{9F87889D-56E9-4592-8DCD-1A17CEEA51EC}" type="pres">
      <dgm:prSet presAssocID="{D0401988-99C1-49F2-AA32-BA49FFB637CB}" presName="vert1" presStyleCnt="0"/>
      <dgm:spPr/>
    </dgm:pt>
    <dgm:pt modelId="{355AFE5C-5941-4790-8F26-DB300538E2E5}" type="pres">
      <dgm:prSet presAssocID="{719547DF-B65E-44A5-A226-B6884FD4BAF4}" presName="thickLine" presStyleLbl="alignNode1" presStyleIdx="3" presStyleCnt="5"/>
      <dgm:spPr/>
    </dgm:pt>
    <dgm:pt modelId="{36D3B53B-CC9A-4D67-8EE6-9662B66AE94E}" type="pres">
      <dgm:prSet presAssocID="{719547DF-B65E-44A5-A226-B6884FD4BAF4}" presName="horz1" presStyleCnt="0"/>
      <dgm:spPr/>
    </dgm:pt>
    <dgm:pt modelId="{AB3D720F-5406-4D47-9047-FC1BF6AF63ED}" type="pres">
      <dgm:prSet presAssocID="{719547DF-B65E-44A5-A226-B6884FD4BAF4}" presName="tx1" presStyleLbl="revTx" presStyleIdx="3" presStyleCnt="5"/>
      <dgm:spPr/>
    </dgm:pt>
    <dgm:pt modelId="{6C95E0D5-ADA3-4130-86E0-0A1F0CF9CC20}" type="pres">
      <dgm:prSet presAssocID="{719547DF-B65E-44A5-A226-B6884FD4BAF4}" presName="vert1" presStyleCnt="0"/>
      <dgm:spPr/>
    </dgm:pt>
    <dgm:pt modelId="{E59B9022-035A-481E-8898-E6328C1E2324}" type="pres">
      <dgm:prSet presAssocID="{0B1098AA-1D81-4EED-8D72-CECEB6873568}" presName="thickLine" presStyleLbl="alignNode1" presStyleIdx="4" presStyleCnt="5"/>
      <dgm:spPr/>
    </dgm:pt>
    <dgm:pt modelId="{9C720C93-86CB-4C1A-A34A-863BDAE7C5F5}" type="pres">
      <dgm:prSet presAssocID="{0B1098AA-1D81-4EED-8D72-CECEB6873568}" presName="horz1" presStyleCnt="0"/>
      <dgm:spPr/>
    </dgm:pt>
    <dgm:pt modelId="{3082CCA1-5E3B-45B9-B463-C893D1D8FE2C}" type="pres">
      <dgm:prSet presAssocID="{0B1098AA-1D81-4EED-8D72-CECEB6873568}" presName="tx1" presStyleLbl="revTx" presStyleIdx="4" presStyleCnt="5"/>
      <dgm:spPr/>
    </dgm:pt>
    <dgm:pt modelId="{B08EBB1B-C448-4779-97BE-E68C9A288A95}" type="pres">
      <dgm:prSet presAssocID="{0B1098AA-1D81-4EED-8D72-CECEB6873568}" presName="vert1" presStyleCnt="0"/>
      <dgm:spPr/>
    </dgm:pt>
  </dgm:ptLst>
  <dgm:cxnLst>
    <dgm:cxn modelId="{9A785B05-D911-4A38-B587-BBB1C2DBBA05}" type="presOf" srcId="{2231E074-3D04-45AF-8F39-6AB981C8D561}" destId="{88E58D93-C108-4DB2-95BF-11BBA68BA2D5}" srcOrd="0" destOrd="0" presId="urn:microsoft.com/office/officeart/2008/layout/LinedList"/>
    <dgm:cxn modelId="{81D70E21-DACE-4E2A-AF89-8342FF76BAF9}" srcId="{2231E074-3D04-45AF-8F39-6AB981C8D561}" destId="{0B1098AA-1D81-4EED-8D72-CECEB6873568}" srcOrd="4" destOrd="0" parTransId="{DD65AF90-0D4B-47CE-9AB2-618CB1AE1FD6}" sibTransId="{C362490F-9428-42F8-B674-4A603306F088}"/>
    <dgm:cxn modelId="{8BD8CD5E-BEF8-4A32-983B-323727D39D5A}" type="presOf" srcId="{A3B08131-1CAE-427A-B427-CEF7A7E86338}" destId="{78F37883-F993-42B0-A955-DE415640B274}" srcOrd="0" destOrd="0" presId="urn:microsoft.com/office/officeart/2008/layout/LinedList"/>
    <dgm:cxn modelId="{F1104C6C-2893-4B56-848C-976A081D46B0}" srcId="{2231E074-3D04-45AF-8F39-6AB981C8D561}" destId="{719547DF-B65E-44A5-A226-B6884FD4BAF4}" srcOrd="3" destOrd="0" parTransId="{24CAED7E-81F9-4399-85DA-B555A74F3B2B}" sibTransId="{2F8EBA5F-985E-4DD9-96D7-F7F464A4FBE5}"/>
    <dgm:cxn modelId="{2FC8A671-693C-406F-9B9B-ED023D9A7461}" srcId="{2231E074-3D04-45AF-8F39-6AB981C8D561}" destId="{9C20C1C6-D9DA-4436-AAE2-7EC762BA7BD3}" srcOrd="0" destOrd="0" parTransId="{35B55704-C1E1-4C5C-B642-93AD770C83D8}" sibTransId="{4EF59073-A0E5-48AA-9691-CD4F27A8FFA3}"/>
    <dgm:cxn modelId="{CDAAA373-4EB8-4016-A5D3-DF05BDE47B03}" type="presOf" srcId="{D0401988-99C1-49F2-AA32-BA49FFB637CB}" destId="{5EFAC99F-12D6-4589-A695-364AFE4294BC}" srcOrd="0" destOrd="0" presId="urn:microsoft.com/office/officeart/2008/layout/LinedList"/>
    <dgm:cxn modelId="{1CEA5E75-ADBE-495C-9EC4-F602C36B7D09}" type="presOf" srcId="{9C20C1C6-D9DA-4436-AAE2-7EC762BA7BD3}" destId="{A7ABC5F1-69BE-4AC9-95D2-BB63A8F8AB55}" srcOrd="0" destOrd="0" presId="urn:microsoft.com/office/officeart/2008/layout/LinedList"/>
    <dgm:cxn modelId="{4341EC75-49BB-4F1F-87BA-AF8E3FAA49F4}" type="presOf" srcId="{0B1098AA-1D81-4EED-8D72-CECEB6873568}" destId="{3082CCA1-5E3B-45B9-B463-C893D1D8FE2C}" srcOrd="0" destOrd="0" presId="urn:microsoft.com/office/officeart/2008/layout/LinedList"/>
    <dgm:cxn modelId="{D7799A87-07ED-4212-B84F-4D9F2C705C0C}" srcId="{2231E074-3D04-45AF-8F39-6AB981C8D561}" destId="{D0401988-99C1-49F2-AA32-BA49FFB637CB}" srcOrd="2" destOrd="0" parTransId="{379A555F-C3BF-49EF-8D58-2A5623A3DD50}" sibTransId="{DFCFD6C0-AA35-40B4-ADD8-4844BEF2F8E4}"/>
    <dgm:cxn modelId="{D119A3C7-C237-45B1-94EB-EC5D083A4DFB}" type="presOf" srcId="{719547DF-B65E-44A5-A226-B6884FD4BAF4}" destId="{AB3D720F-5406-4D47-9047-FC1BF6AF63ED}" srcOrd="0" destOrd="0" presId="urn:microsoft.com/office/officeart/2008/layout/LinedList"/>
    <dgm:cxn modelId="{1E70DDF3-8CE1-45C5-B3BB-1F325A3E283C}" srcId="{2231E074-3D04-45AF-8F39-6AB981C8D561}" destId="{A3B08131-1CAE-427A-B427-CEF7A7E86338}" srcOrd="1" destOrd="0" parTransId="{B7FE11BB-C302-4C36-8E53-2902227A0F65}" sibTransId="{3A0065D4-46E8-48D5-8A58-9EE2DC5AD2C8}"/>
    <dgm:cxn modelId="{09E33282-CA2F-4774-BDBB-10EA8769A54C}" type="presParOf" srcId="{88E58D93-C108-4DB2-95BF-11BBA68BA2D5}" destId="{0F4CBE2F-B65E-4220-BBCA-ACFA51DDC858}" srcOrd="0" destOrd="0" presId="urn:microsoft.com/office/officeart/2008/layout/LinedList"/>
    <dgm:cxn modelId="{067AC353-6914-496A-994D-5B722ED082ED}" type="presParOf" srcId="{88E58D93-C108-4DB2-95BF-11BBA68BA2D5}" destId="{5C6ABB2A-C79F-42E6-A5DA-D12C2CDF983F}" srcOrd="1" destOrd="0" presId="urn:microsoft.com/office/officeart/2008/layout/LinedList"/>
    <dgm:cxn modelId="{835A06D6-85A6-481E-91DE-38FE8F8EE1BB}" type="presParOf" srcId="{5C6ABB2A-C79F-42E6-A5DA-D12C2CDF983F}" destId="{A7ABC5F1-69BE-4AC9-95D2-BB63A8F8AB55}" srcOrd="0" destOrd="0" presId="urn:microsoft.com/office/officeart/2008/layout/LinedList"/>
    <dgm:cxn modelId="{05A2DD8C-D1CD-47C4-A4E3-18FAEF7F98CF}" type="presParOf" srcId="{5C6ABB2A-C79F-42E6-A5DA-D12C2CDF983F}" destId="{628980A7-72F6-4B98-9FAB-23A4219E118E}" srcOrd="1" destOrd="0" presId="urn:microsoft.com/office/officeart/2008/layout/LinedList"/>
    <dgm:cxn modelId="{C51C7B20-203C-416B-A034-057A59B7D1F6}" type="presParOf" srcId="{88E58D93-C108-4DB2-95BF-11BBA68BA2D5}" destId="{EE9E89B9-C758-4876-B205-EBF8D080573C}" srcOrd="2" destOrd="0" presId="urn:microsoft.com/office/officeart/2008/layout/LinedList"/>
    <dgm:cxn modelId="{A7EFC5C5-B4CD-4935-81A3-26B3499BDFB7}" type="presParOf" srcId="{88E58D93-C108-4DB2-95BF-11BBA68BA2D5}" destId="{2274ABCD-6D50-44A2-AA34-D243DE25FAFB}" srcOrd="3" destOrd="0" presId="urn:microsoft.com/office/officeart/2008/layout/LinedList"/>
    <dgm:cxn modelId="{0AE215E4-558B-4CA7-B637-D7AC13348D10}" type="presParOf" srcId="{2274ABCD-6D50-44A2-AA34-D243DE25FAFB}" destId="{78F37883-F993-42B0-A955-DE415640B274}" srcOrd="0" destOrd="0" presId="urn:microsoft.com/office/officeart/2008/layout/LinedList"/>
    <dgm:cxn modelId="{23FEB8AB-D5E4-4FB5-8FF4-ECCB39D76477}" type="presParOf" srcId="{2274ABCD-6D50-44A2-AA34-D243DE25FAFB}" destId="{8FEF883D-E1BE-4AAD-8511-65DD3DFB8D69}" srcOrd="1" destOrd="0" presId="urn:microsoft.com/office/officeart/2008/layout/LinedList"/>
    <dgm:cxn modelId="{1AA84553-2737-4610-9124-4635A9CD2286}" type="presParOf" srcId="{88E58D93-C108-4DB2-95BF-11BBA68BA2D5}" destId="{77594EC9-30ED-4FFE-86C7-66BBD5CF54F0}" srcOrd="4" destOrd="0" presId="urn:microsoft.com/office/officeart/2008/layout/LinedList"/>
    <dgm:cxn modelId="{E53576C2-9541-490A-AA5B-C2C73B512B75}" type="presParOf" srcId="{88E58D93-C108-4DB2-95BF-11BBA68BA2D5}" destId="{BA328A8B-D73A-45A6-9283-DC51E164FD2C}" srcOrd="5" destOrd="0" presId="urn:microsoft.com/office/officeart/2008/layout/LinedList"/>
    <dgm:cxn modelId="{0BE0D5D2-6996-46C9-A5E8-34E99284C3EF}" type="presParOf" srcId="{BA328A8B-D73A-45A6-9283-DC51E164FD2C}" destId="{5EFAC99F-12D6-4589-A695-364AFE4294BC}" srcOrd="0" destOrd="0" presId="urn:microsoft.com/office/officeart/2008/layout/LinedList"/>
    <dgm:cxn modelId="{70C38287-AC66-4C45-8F82-3ED59DD761E0}" type="presParOf" srcId="{BA328A8B-D73A-45A6-9283-DC51E164FD2C}" destId="{9F87889D-56E9-4592-8DCD-1A17CEEA51EC}" srcOrd="1" destOrd="0" presId="urn:microsoft.com/office/officeart/2008/layout/LinedList"/>
    <dgm:cxn modelId="{6166B639-2C20-437C-AEEC-7295A3F17E01}" type="presParOf" srcId="{88E58D93-C108-4DB2-95BF-11BBA68BA2D5}" destId="{355AFE5C-5941-4790-8F26-DB300538E2E5}" srcOrd="6" destOrd="0" presId="urn:microsoft.com/office/officeart/2008/layout/LinedList"/>
    <dgm:cxn modelId="{720BABCA-31BE-4573-ACB1-001292E609E1}" type="presParOf" srcId="{88E58D93-C108-4DB2-95BF-11BBA68BA2D5}" destId="{36D3B53B-CC9A-4D67-8EE6-9662B66AE94E}" srcOrd="7" destOrd="0" presId="urn:microsoft.com/office/officeart/2008/layout/LinedList"/>
    <dgm:cxn modelId="{79F043D6-A358-477B-9D67-4F16679B98E8}" type="presParOf" srcId="{36D3B53B-CC9A-4D67-8EE6-9662B66AE94E}" destId="{AB3D720F-5406-4D47-9047-FC1BF6AF63ED}" srcOrd="0" destOrd="0" presId="urn:microsoft.com/office/officeart/2008/layout/LinedList"/>
    <dgm:cxn modelId="{122024E6-6950-477C-B5D9-8C144E01C5C5}" type="presParOf" srcId="{36D3B53B-CC9A-4D67-8EE6-9662B66AE94E}" destId="{6C95E0D5-ADA3-4130-86E0-0A1F0CF9CC20}" srcOrd="1" destOrd="0" presId="urn:microsoft.com/office/officeart/2008/layout/LinedList"/>
    <dgm:cxn modelId="{75D53EB7-2330-4BA8-A9FE-160C4961E949}" type="presParOf" srcId="{88E58D93-C108-4DB2-95BF-11BBA68BA2D5}" destId="{E59B9022-035A-481E-8898-E6328C1E2324}" srcOrd="8" destOrd="0" presId="urn:microsoft.com/office/officeart/2008/layout/LinedList"/>
    <dgm:cxn modelId="{855DF7A1-691B-41DC-8150-99D0E6EBB75B}" type="presParOf" srcId="{88E58D93-C108-4DB2-95BF-11BBA68BA2D5}" destId="{9C720C93-86CB-4C1A-A34A-863BDAE7C5F5}" srcOrd="9" destOrd="0" presId="urn:microsoft.com/office/officeart/2008/layout/LinedList"/>
    <dgm:cxn modelId="{8F537794-775B-457F-A663-D238A27957C9}" type="presParOf" srcId="{9C720C93-86CB-4C1A-A34A-863BDAE7C5F5}" destId="{3082CCA1-5E3B-45B9-B463-C893D1D8FE2C}" srcOrd="0" destOrd="0" presId="urn:microsoft.com/office/officeart/2008/layout/LinedList"/>
    <dgm:cxn modelId="{7E381D48-3D63-4FD9-AEE6-1F7438348D03}" type="presParOf" srcId="{9C720C93-86CB-4C1A-A34A-863BDAE7C5F5}" destId="{B08EBB1B-C448-4779-97BE-E68C9A288A95}"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7F274E3-1400-4C48-96F7-12A5164DFC36}" type="doc">
      <dgm:prSet loTypeId="urn:microsoft.com/office/officeart/2005/8/layout/matrix3" loCatId="matrix" qsTypeId="urn:microsoft.com/office/officeart/2005/8/quickstyle/simple1" qsCatId="simple" csTypeId="urn:microsoft.com/office/officeart/2005/8/colors/accent2_1" csCatId="accent2"/>
      <dgm:spPr/>
      <dgm:t>
        <a:bodyPr/>
        <a:lstStyle/>
        <a:p>
          <a:endParaRPr lang="en-US"/>
        </a:p>
      </dgm:t>
    </dgm:pt>
    <dgm:pt modelId="{DA255895-EFF3-49EA-8FC0-C467139455AE}">
      <dgm:prSet custT="1"/>
      <dgm:spPr/>
      <dgm:t>
        <a:bodyPr/>
        <a:lstStyle/>
        <a:p>
          <a:r>
            <a:rPr lang="en-US" sz="2400" b="1" baseline="0"/>
            <a:t>Standardized</a:t>
          </a:r>
          <a:r>
            <a:rPr lang="en-US" sz="2400" baseline="0"/>
            <a:t> GUI components</a:t>
          </a:r>
          <a:endParaRPr lang="en-US" sz="2400"/>
        </a:p>
      </dgm:t>
    </dgm:pt>
    <dgm:pt modelId="{CB1B2FA4-EEA7-4676-8515-7914CC633EA7}" type="parTrans" cxnId="{46EE5612-8D15-49F4-B3EF-DDEF6877F5A3}">
      <dgm:prSet/>
      <dgm:spPr/>
      <dgm:t>
        <a:bodyPr/>
        <a:lstStyle/>
        <a:p>
          <a:endParaRPr lang="en-US" sz="2400"/>
        </a:p>
      </dgm:t>
    </dgm:pt>
    <dgm:pt modelId="{D06755F5-2284-43AC-B271-2FD245771E35}" type="sibTrans" cxnId="{46EE5612-8D15-49F4-B3EF-DDEF6877F5A3}">
      <dgm:prSet/>
      <dgm:spPr/>
      <dgm:t>
        <a:bodyPr/>
        <a:lstStyle/>
        <a:p>
          <a:endParaRPr lang="en-US" sz="2400"/>
        </a:p>
      </dgm:t>
    </dgm:pt>
    <dgm:pt modelId="{71B683A1-63BC-4B74-93FA-A6A6185EFB5E}">
      <dgm:prSet custT="1"/>
      <dgm:spPr/>
      <dgm:t>
        <a:bodyPr/>
        <a:lstStyle/>
        <a:p>
          <a:r>
            <a:rPr lang="en-US" sz="2400" baseline="0"/>
            <a:t>Located in the </a:t>
          </a:r>
          <a:r>
            <a:rPr lang="en-US" sz="2400" b="1" baseline="0"/>
            <a:t>toolbox tab </a:t>
          </a:r>
          <a:r>
            <a:rPr lang="en-US" sz="2400" baseline="0"/>
            <a:t>of Visual Studio</a:t>
          </a:r>
          <a:endParaRPr lang="en-US" sz="2400"/>
        </a:p>
      </dgm:t>
    </dgm:pt>
    <dgm:pt modelId="{13F560B8-2817-4A72-A13A-313EF6266F0D}" type="parTrans" cxnId="{0C4A621D-2B87-4F9F-AE03-D0DB35ACC36E}">
      <dgm:prSet/>
      <dgm:spPr/>
      <dgm:t>
        <a:bodyPr/>
        <a:lstStyle/>
        <a:p>
          <a:endParaRPr lang="en-US" sz="2400"/>
        </a:p>
      </dgm:t>
    </dgm:pt>
    <dgm:pt modelId="{92E9858D-B5A7-40A4-814C-74CD6D414764}" type="sibTrans" cxnId="{0C4A621D-2B87-4F9F-AE03-D0DB35ACC36E}">
      <dgm:prSet/>
      <dgm:spPr/>
      <dgm:t>
        <a:bodyPr/>
        <a:lstStyle/>
        <a:p>
          <a:endParaRPr lang="en-US" sz="2400"/>
        </a:p>
      </dgm:t>
    </dgm:pt>
    <dgm:pt modelId="{46067D65-125B-46A4-85EA-E57C8709210B}">
      <dgm:prSet custT="1"/>
      <dgm:spPr/>
      <dgm:t>
        <a:bodyPr/>
        <a:lstStyle/>
        <a:p>
          <a:r>
            <a:rPr lang="en-US" sz="2400" b="1" baseline="0"/>
            <a:t>Around 50 </a:t>
          </a:r>
          <a:r>
            <a:rPr lang="en-US" sz="2400" baseline="0"/>
            <a:t>available out of the box</a:t>
          </a:r>
          <a:endParaRPr lang="en-US" sz="2400"/>
        </a:p>
      </dgm:t>
    </dgm:pt>
    <dgm:pt modelId="{533C8917-50FC-4079-9D6E-9FDD5D156AFE}" type="parTrans" cxnId="{7CE20FA7-6C28-4A98-83E7-80957C2A2044}">
      <dgm:prSet/>
      <dgm:spPr/>
      <dgm:t>
        <a:bodyPr/>
        <a:lstStyle/>
        <a:p>
          <a:endParaRPr lang="en-US" sz="2400"/>
        </a:p>
      </dgm:t>
    </dgm:pt>
    <dgm:pt modelId="{948A8F0F-924D-46D3-9C64-EBB05058F43E}" type="sibTrans" cxnId="{7CE20FA7-6C28-4A98-83E7-80957C2A2044}">
      <dgm:prSet/>
      <dgm:spPr/>
      <dgm:t>
        <a:bodyPr/>
        <a:lstStyle/>
        <a:p>
          <a:endParaRPr lang="en-US" sz="2400"/>
        </a:p>
      </dgm:t>
    </dgm:pt>
    <dgm:pt modelId="{705655C8-C64D-4BE8-9572-088F388C76E6}">
      <dgm:prSet custT="1"/>
      <dgm:spPr/>
      <dgm:t>
        <a:bodyPr/>
        <a:lstStyle/>
        <a:p>
          <a:r>
            <a:rPr lang="en-US" sz="2400" b="0" baseline="0"/>
            <a:t>Custom controls </a:t>
          </a:r>
          <a:r>
            <a:rPr lang="en-US" sz="2400" baseline="0"/>
            <a:t>can be </a:t>
          </a:r>
          <a:r>
            <a:rPr lang="en-US" sz="2400" b="1" baseline="0"/>
            <a:t>created</a:t>
          </a:r>
          <a:r>
            <a:rPr lang="en-US" sz="2400" baseline="0"/>
            <a:t> or downloaded </a:t>
          </a:r>
          <a:endParaRPr lang="en-US" sz="2400"/>
        </a:p>
      </dgm:t>
    </dgm:pt>
    <dgm:pt modelId="{1C78B560-51C1-4B89-9E8B-5879D2BA6F41}" type="parTrans" cxnId="{4F53065D-32BE-4E44-9E75-FBDF05128607}">
      <dgm:prSet/>
      <dgm:spPr/>
      <dgm:t>
        <a:bodyPr/>
        <a:lstStyle/>
        <a:p>
          <a:endParaRPr lang="en-US" sz="2400"/>
        </a:p>
      </dgm:t>
    </dgm:pt>
    <dgm:pt modelId="{D70F1FF5-5D13-46E7-A8E4-EAA80E6D2B3A}" type="sibTrans" cxnId="{4F53065D-32BE-4E44-9E75-FBDF05128607}">
      <dgm:prSet/>
      <dgm:spPr/>
      <dgm:t>
        <a:bodyPr/>
        <a:lstStyle/>
        <a:p>
          <a:endParaRPr lang="en-US" sz="2400"/>
        </a:p>
      </dgm:t>
    </dgm:pt>
    <dgm:pt modelId="{DFD87CEF-3909-4A2F-A518-837161DE75E8}" type="pres">
      <dgm:prSet presAssocID="{67F274E3-1400-4C48-96F7-12A5164DFC36}" presName="matrix" presStyleCnt="0">
        <dgm:presLayoutVars>
          <dgm:chMax val="1"/>
          <dgm:dir/>
          <dgm:resizeHandles val="exact"/>
        </dgm:presLayoutVars>
      </dgm:prSet>
      <dgm:spPr/>
    </dgm:pt>
    <dgm:pt modelId="{F7F1253E-3D25-407F-96EB-8A6378F65E52}" type="pres">
      <dgm:prSet presAssocID="{67F274E3-1400-4C48-96F7-12A5164DFC36}" presName="diamond" presStyleLbl="bgShp" presStyleIdx="0" presStyleCnt="1"/>
      <dgm:spPr/>
    </dgm:pt>
    <dgm:pt modelId="{6135A7AC-EF2C-4FA0-9899-9033C173DB5B}" type="pres">
      <dgm:prSet presAssocID="{67F274E3-1400-4C48-96F7-12A5164DFC36}" presName="quad1" presStyleLbl="node1" presStyleIdx="0" presStyleCnt="4">
        <dgm:presLayoutVars>
          <dgm:chMax val="0"/>
          <dgm:chPref val="0"/>
          <dgm:bulletEnabled val="1"/>
        </dgm:presLayoutVars>
      </dgm:prSet>
      <dgm:spPr/>
    </dgm:pt>
    <dgm:pt modelId="{34DDADF4-5ED8-4C47-8721-C32631536E19}" type="pres">
      <dgm:prSet presAssocID="{67F274E3-1400-4C48-96F7-12A5164DFC36}" presName="quad2" presStyleLbl="node1" presStyleIdx="1" presStyleCnt="4">
        <dgm:presLayoutVars>
          <dgm:chMax val="0"/>
          <dgm:chPref val="0"/>
          <dgm:bulletEnabled val="1"/>
        </dgm:presLayoutVars>
      </dgm:prSet>
      <dgm:spPr/>
    </dgm:pt>
    <dgm:pt modelId="{33550CDE-45B3-458B-AD2A-33F0F505AE6C}" type="pres">
      <dgm:prSet presAssocID="{67F274E3-1400-4C48-96F7-12A5164DFC36}" presName="quad3" presStyleLbl="node1" presStyleIdx="2" presStyleCnt="4">
        <dgm:presLayoutVars>
          <dgm:chMax val="0"/>
          <dgm:chPref val="0"/>
          <dgm:bulletEnabled val="1"/>
        </dgm:presLayoutVars>
      </dgm:prSet>
      <dgm:spPr/>
    </dgm:pt>
    <dgm:pt modelId="{A1B06AB3-2F33-447D-976A-6CEA995454E8}" type="pres">
      <dgm:prSet presAssocID="{67F274E3-1400-4C48-96F7-12A5164DFC36}" presName="quad4" presStyleLbl="node1" presStyleIdx="3" presStyleCnt="4">
        <dgm:presLayoutVars>
          <dgm:chMax val="0"/>
          <dgm:chPref val="0"/>
          <dgm:bulletEnabled val="1"/>
        </dgm:presLayoutVars>
      </dgm:prSet>
      <dgm:spPr/>
    </dgm:pt>
  </dgm:ptLst>
  <dgm:cxnLst>
    <dgm:cxn modelId="{8270EC07-1CDB-456F-8707-245A18815CF6}" type="presOf" srcId="{67F274E3-1400-4C48-96F7-12A5164DFC36}" destId="{DFD87CEF-3909-4A2F-A518-837161DE75E8}" srcOrd="0" destOrd="0" presId="urn:microsoft.com/office/officeart/2005/8/layout/matrix3"/>
    <dgm:cxn modelId="{46EE5612-8D15-49F4-B3EF-DDEF6877F5A3}" srcId="{67F274E3-1400-4C48-96F7-12A5164DFC36}" destId="{DA255895-EFF3-49EA-8FC0-C467139455AE}" srcOrd="0" destOrd="0" parTransId="{CB1B2FA4-EEA7-4676-8515-7914CC633EA7}" sibTransId="{D06755F5-2284-43AC-B271-2FD245771E35}"/>
    <dgm:cxn modelId="{13CB0D18-201F-4BA6-BD5F-789B1FAB5B0C}" type="presOf" srcId="{71B683A1-63BC-4B74-93FA-A6A6185EFB5E}" destId="{34DDADF4-5ED8-4C47-8721-C32631536E19}" srcOrd="0" destOrd="0" presId="urn:microsoft.com/office/officeart/2005/8/layout/matrix3"/>
    <dgm:cxn modelId="{0C4A621D-2B87-4F9F-AE03-D0DB35ACC36E}" srcId="{67F274E3-1400-4C48-96F7-12A5164DFC36}" destId="{71B683A1-63BC-4B74-93FA-A6A6185EFB5E}" srcOrd="1" destOrd="0" parTransId="{13F560B8-2817-4A72-A13A-313EF6266F0D}" sibTransId="{92E9858D-B5A7-40A4-814C-74CD6D414764}"/>
    <dgm:cxn modelId="{4F53065D-32BE-4E44-9E75-FBDF05128607}" srcId="{67F274E3-1400-4C48-96F7-12A5164DFC36}" destId="{705655C8-C64D-4BE8-9572-088F388C76E6}" srcOrd="3" destOrd="0" parTransId="{1C78B560-51C1-4B89-9E8B-5879D2BA6F41}" sibTransId="{D70F1FF5-5D13-46E7-A8E4-EAA80E6D2B3A}"/>
    <dgm:cxn modelId="{7CE20FA7-6C28-4A98-83E7-80957C2A2044}" srcId="{67F274E3-1400-4C48-96F7-12A5164DFC36}" destId="{46067D65-125B-46A4-85EA-E57C8709210B}" srcOrd="2" destOrd="0" parTransId="{533C8917-50FC-4079-9D6E-9FDD5D156AFE}" sibTransId="{948A8F0F-924D-46D3-9C64-EBB05058F43E}"/>
    <dgm:cxn modelId="{784F68BD-19B0-48CD-9386-C09C4048615A}" type="presOf" srcId="{705655C8-C64D-4BE8-9572-088F388C76E6}" destId="{A1B06AB3-2F33-447D-976A-6CEA995454E8}" srcOrd="0" destOrd="0" presId="urn:microsoft.com/office/officeart/2005/8/layout/matrix3"/>
    <dgm:cxn modelId="{449FBFCD-7A78-457E-B28A-5DA19A501B74}" type="presOf" srcId="{46067D65-125B-46A4-85EA-E57C8709210B}" destId="{33550CDE-45B3-458B-AD2A-33F0F505AE6C}" srcOrd="0" destOrd="0" presId="urn:microsoft.com/office/officeart/2005/8/layout/matrix3"/>
    <dgm:cxn modelId="{50F0A9CE-39BE-4B59-BCCD-C802DB9CF39C}" type="presOf" srcId="{DA255895-EFF3-49EA-8FC0-C467139455AE}" destId="{6135A7AC-EF2C-4FA0-9899-9033C173DB5B}" srcOrd="0" destOrd="0" presId="urn:microsoft.com/office/officeart/2005/8/layout/matrix3"/>
    <dgm:cxn modelId="{7408DB6A-C552-4B6F-A348-BCBDE7E563BE}" type="presParOf" srcId="{DFD87CEF-3909-4A2F-A518-837161DE75E8}" destId="{F7F1253E-3D25-407F-96EB-8A6378F65E52}" srcOrd="0" destOrd="0" presId="urn:microsoft.com/office/officeart/2005/8/layout/matrix3"/>
    <dgm:cxn modelId="{A52E68D4-A581-46D0-8618-23B2B02F55B3}" type="presParOf" srcId="{DFD87CEF-3909-4A2F-A518-837161DE75E8}" destId="{6135A7AC-EF2C-4FA0-9899-9033C173DB5B}" srcOrd="1" destOrd="0" presId="urn:microsoft.com/office/officeart/2005/8/layout/matrix3"/>
    <dgm:cxn modelId="{78035BEE-8C6F-48F6-8213-E3E1B1A28DF6}" type="presParOf" srcId="{DFD87CEF-3909-4A2F-A518-837161DE75E8}" destId="{34DDADF4-5ED8-4C47-8721-C32631536E19}" srcOrd="2" destOrd="0" presId="urn:microsoft.com/office/officeart/2005/8/layout/matrix3"/>
    <dgm:cxn modelId="{286419E6-6C73-41A4-BA50-6C9FF24F7956}" type="presParOf" srcId="{DFD87CEF-3909-4A2F-A518-837161DE75E8}" destId="{33550CDE-45B3-458B-AD2A-33F0F505AE6C}" srcOrd="3" destOrd="0" presId="urn:microsoft.com/office/officeart/2005/8/layout/matrix3"/>
    <dgm:cxn modelId="{3C93819C-B6D3-4B61-BCB6-28FB6EB1761E}" type="presParOf" srcId="{DFD87CEF-3909-4A2F-A518-837161DE75E8}" destId="{A1B06AB3-2F33-447D-976A-6CEA995454E8}" srcOrd="4" destOrd="0" presId="urn:microsoft.com/office/officeart/2005/8/layout/matrix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A1B3692-9A8F-4498-A6FB-C0EBFD8D2D8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39643E64-3C66-4B4E-952E-816765C4875B}">
      <dgm:prSet phldrT="[Text]" custT="1"/>
      <dgm:spPr/>
      <dgm:t>
        <a:bodyPr/>
        <a:lstStyle/>
        <a:p>
          <a:r>
            <a:rPr lang="en-US" sz="2400" b="1"/>
            <a:t>Every</a:t>
          </a:r>
          <a:r>
            <a:rPr lang="en-US" sz="2400"/>
            <a:t> control must be in a group</a:t>
          </a:r>
        </a:p>
      </dgm:t>
    </dgm:pt>
    <dgm:pt modelId="{9D8A408D-6536-4C8A-8AF9-A4CB07D76F81}" type="parTrans" cxnId="{1C66EC16-C17F-4E40-A325-78F2109D4845}">
      <dgm:prSet/>
      <dgm:spPr/>
      <dgm:t>
        <a:bodyPr/>
        <a:lstStyle/>
        <a:p>
          <a:endParaRPr lang="en-US" sz="2000"/>
        </a:p>
      </dgm:t>
    </dgm:pt>
    <dgm:pt modelId="{ED680DE0-3307-43B4-9758-234F69DCC864}" type="sibTrans" cxnId="{1C66EC16-C17F-4E40-A325-78F2109D4845}">
      <dgm:prSet/>
      <dgm:spPr/>
      <dgm:t>
        <a:bodyPr/>
        <a:lstStyle/>
        <a:p>
          <a:endParaRPr lang="en-US" sz="2000"/>
        </a:p>
      </dgm:t>
    </dgm:pt>
    <dgm:pt modelId="{7C9C9BE2-8CE9-49B4-9AC3-89BFA660831A}">
      <dgm:prSet phldrT="[Text]" custT="1"/>
      <dgm:spPr/>
      <dgm:t>
        <a:bodyPr/>
        <a:lstStyle/>
        <a:p>
          <a:r>
            <a:rPr lang="en-US" sz="2000" b="1"/>
            <a:t>Dock Panel </a:t>
          </a:r>
          <a:r>
            <a:rPr lang="en-US" sz="2000"/>
            <a:t>– used to set anchor points for relative placement</a:t>
          </a:r>
        </a:p>
      </dgm:t>
    </dgm:pt>
    <dgm:pt modelId="{CA88C427-49A0-46D4-BD32-FC9BDA338C9F}" type="parTrans" cxnId="{F818D336-279C-46DA-94A4-A96DBD372B31}">
      <dgm:prSet/>
      <dgm:spPr/>
      <dgm:t>
        <a:bodyPr/>
        <a:lstStyle/>
        <a:p>
          <a:endParaRPr lang="en-US" sz="2000"/>
        </a:p>
      </dgm:t>
    </dgm:pt>
    <dgm:pt modelId="{9A80EC45-2EE7-4440-9A3F-6CE1ACBCFA7A}" type="sibTrans" cxnId="{F818D336-279C-46DA-94A4-A96DBD372B31}">
      <dgm:prSet/>
      <dgm:spPr/>
      <dgm:t>
        <a:bodyPr/>
        <a:lstStyle/>
        <a:p>
          <a:endParaRPr lang="en-US" sz="2000"/>
        </a:p>
      </dgm:t>
    </dgm:pt>
    <dgm:pt modelId="{E72297D3-D1DD-41F3-9615-44814BF0A035}">
      <dgm:prSet phldrT="[Text]" custT="1"/>
      <dgm:spPr/>
      <dgm:t>
        <a:bodyPr/>
        <a:lstStyle/>
        <a:p>
          <a:r>
            <a:rPr lang="en-US" sz="2000"/>
            <a:t>Groups are used to </a:t>
          </a:r>
          <a:r>
            <a:rPr lang="en-US" sz="2000" b="1"/>
            <a:t>organize</a:t>
          </a:r>
          <a:r>
            <a:rPr lang="en-US" sz="2000"/>
            <a:t> and </a:t>
          </a:r>
          <a:r>
            <a:rPr lang="en-US" sz="2000" b="1"/>
            <a:t>align</a:t>
          </a:r>
          <a:r>
            <a:rPr lang="en-US" sz="2000"/>
            <a:t> controls</a:t>
          </a:r>
        </a:p>
      </dgm:t>
    </dgm:pt>
    <dgm:pt modelId="{70B5760D-5D16-4054-8F1E-5088B6C3668C}" type="parTrans" cxnId="{4C49E762-6785-40BC-B7EC-C4E4CC79E02F}">
      <dgm:prSet/>
      <dgm:spPr/>
      <dgm:t>
        <a:bodyPr/>
        <a:lstStyle/>
        <a:p>
          <a:endParaRPr lang="en-US" sz="2000"/>
        </a:p>
      </dgm:t>
    </dgm:pt>
    <dgm:pt modelId="{B5A833F9-5D1D-45B9-BED2-1CFF501BD1E0}" type="sibTrans" cxnId="{4C49E762-6785-40BC-B7EC-C4E4CC79E02F}">
      <dgm:prSet/>
      <dgm:spPr/>
      <dgm:t>
        <a:bodyPr/>
        <a:lstStyle/>
        <a:p>
          <a:endParaRPr lang="en-US" sz="2000"/>
        </a:p>
      </dgm:t>
    </dgm:pt>
    <dgm:pt modelId="{EE715321-1489-4124-BD85-DBA1B34E3C5E}">
      <dgm:prSet phldrT="[Text]" custT="1"/>
      <dgm:spPr/>
      <dgm:t>
        <a:bodyPr/>
        <a:lstStyle/>
        <a:p>
          <a:r>
            <a:rPr lang="en-US" sz="2000" b="1"/>
            <a:t>Tab controls </a:t>
          </a:r>
          <a:r>
            <a:rPr lang="en-US" sz="2000"/>
            <a:t>– allows multiple tabs</a:t>
          </a:r>
        </a:p>
      </dgm:t>
    </dgm:pt>
    <dgm:pt modelId="{39FF80CB-8B02-4C0A-9362-A1FF0EA1ADA3}" type="parTrans" cxnId="{C848F08E-952C-4721-B3FE-49CD7496E4EF}">
      <dgm:prSet/>
      <dgm:spPr/>
      <dgm:t>
        <a:bodyPr/>
        <a:lstStyle/>
        <a:p>
          <a:endParaRPr lang="en-US" sz="2000"/>
        </a:p>
      </dgm:t>
    </dgm:pt>
    <dgm:pt modelId="{278B9CC7-1364-47F0-BCD0-C6DA777156D4}" type="sibTrans" cxnId="{C848F08E-952C-4721-B3FE-49CD7496E4EF}">
      <dgm:prSet/>
      <dgm:spPr/>
      <dgm:t>
        <a:bodyPr/>
        <a:lstStyle/>
        <a:p>
          <a:endParaRPr lang="en-US" sz="2000"/>
        </a:p>
      </dgm:t>
    </dgm:pt>
    <dgm:pt modelId="{6E66E7E4-E8CD-4E66-9C01-214F09A675E6}">
      <dgm:prSet phldrT="[Text]" custT="1"/>
      <dgm:spPr/>
      <dgm:t>
        <a:bodyPr/>
        <a:lstStyle/>
        <a:p>
          <a:r>
            <a:rPr lang="en-US" sz="2000" b="1"/>
            <a:t>Expander</a:t>
          </a:r>
          <a:r>
            <a:rPr lang="en-US" sz="2000"/>
            <a:t> – </a:t>
          </a:r>
          <a:r>
            <a:rPr lang="en-US" sz="2000" b="0" i="0"/>
            <a:t>expand/collapse areas of the GUI</a:t>
          </a:r>
          <a:endParaRPr lang="en-US" sz="2000"/>
        </a:p>
      </dgm:t>
    </dgm:pt>
    <dgm:pt modelId="{1FA4852A-2556-4026-99E5-0713D8F97170}" type="parTrans" cxnId="{1D913F78-9042-4746-A393-7D40CE1FDE3B}">
      <dgm:prSet/>
      <dgm:spPr/>
      <dgm:t>
        <a:bodyPr/>
        <a:lstStyle/>
        <a:p>
          <a:endParaRPr lang="en-US" sz="2000"/>
        </a:p>
      </dgm:t>
    </dgm:pt>
    <dgm:pt modelId="{CFA21C7D-7034-4A5F-9605-7DE5D1C25020}" type="sibTrans" cxnId="{1D913F78-9042-4746-A393-7D40CE1FDE3B}">
      <dgm:prSet/>
      <dgm:spPr/>
      <dgm:t>
        <a:bodyPr/>
        <a:lstStyle/>
        <a:p>
          <a:endParaRPr lang="en-US" sz="2000"/>
        </a:p>
      </dgm:t>
    </dgm:pt>
    <dgm:pt modelId="{EB326C80-6316-44A7-9B19-4F202B15A26E}">
      <dgm:prSet phldrT="[Text]" custT="1"/>
      <dgm:spPr/>
      <dgm:t>
        <a:bodyPr/>
        <a:lstStyle/>
        <a:p>
          <a:r>
            <a:rPr lang="en-US" sz="2400" b="1"/>
            <a:t>WPF</a:t>
          </a:r>
          <a:r>
            <a:rPr lang="en-US" sz="2400"/>
            <a:t> has many options including:</a:t>
          </a:r>
        </a:p>
      </dgm:t>
    </dgm:pt>
    <dgm:pt modelId="{D3C797DC-12F1-46F7-BC10-259E0E1A0DBF}" type="parTrans" cxnId="{36654606-3D83-4864-826C-3E75FD674040}">
      <dgm:prSet/>
      <dgm:spPr/>
      <dgm:t>
        <a:bodyPr/>
        <a:lstStyle/>
        <a:p>
          <a:endParaRPr lang="en-US" sz="2000"/>
        </a:p>
      </dgm:t>
    </dgm:pt>
    <dgm:pt modelId="{35A4AE9F-B824-4356-8C4A-FB3F32082A1A}" type="sibTrans" cxnId="{36654606-3D83-4864-826C-3E75FD674040}">
      <dgm:prSet/>
      <dgm:spPr/>
      <dgm:t>
        <a:bodyPr/>
        <a:lstStyle/>
        <a:p>
          <a:endParaRPr lang="en-US" sz="2000"/>
        </a:p>
      </dgm:t>
    </dgm:pt>
    <dgm:pt modelId="{6933B1E2-42AD-4570-A50F-A643DB4B599E}">
      <dgm:prSet phldrT="[Text]" custT="1"/>
      <dgm:spPr/>
      <dgm:t>
        <a:bodyPr/>
        <a:lstStyle/>
        <a:p>
          <a:r>
            <a:rPr lang="en-US" sz="2000"/>
            <a:t>Ex. </a:t>
          </a:r>
          <a:r>
            <a:rPr lang="en-US" sz="2000" b="1"/>
            <a:t>Radio buttons </a:t>
          </a:r>
          <a:r>
            <a:rPr lang="en-US" sz="2000"/>
            <a:t>inside a group are linked</a:t>
          </a:r>
        </a:p>
      </dgm:t>
    </dgm:pt>
    <dgm:pt modelId="{5D1DBF77-779A-43B3-9525-7D89EEE42334}" type="parTrans" cxnId="{63756F2E-BE06-4238-A97C-BD2FC309E221}">
      <dgm:prSet/>
      <dgm:spPr/>
      <dgm:t>
        <a:bodyPr/>
        <a:lstStyle/>
        <a:p>
          <a:endParaRPr lang="en-US" sz="2000"/>
        </a:p>
      </dgm:t>
    </dgm:pt>
    <dgm:pt modelId="{893B86F4-6108-4669-A37D-E1F27DD76F00}" type="sibTrans" cxnId="{63756F2E-BE06-4238-A97C-BD2FC309E221}">
      <dgm:prSet/>
      <dgm:spPr/>
      <dgm:t>
        <a:bodyPr/>
        <a:lstStyle/>
        <a:p>
          <a:endParaRPr lang="en-US" sz="2000"/>
        </a:p>
      </dgm:t>
    </dgm:pt>
    <dgm:pt modelId="{D56C2A19-F2A8-4F59-9606-3CE73984C04C}">
      <dgm:prSet phldrT="[Text]" custT="1"/>
      <dgm:spPr/>
      <dgm:t>
        <a:bodyPr/>
        <a:lstStyle/>
        <a:p>
          <a:r>
            <a:rPr lang="en-US" sz="2000" b="1"/>
            <a:t>Grid</a:t>
          </a:r>
          <a:r>
            <a:rPr lang="en-US" sz="2000"/>
            <a:t> (default)</a:t>
          </a:r>
          <a:r>
            <a:rPr lang="en-US" sz="2000" b="0"/>
            <a:t> – </a:t>
          </a:r>
          <a:r>
            <a:rPr lang="en-US" sz="2000"/>
            <a:t>uses XY coordinates, rows, and columns</a:t>
          </a:r>
        </a:p>
      </dgm:t>
    </dgm:pt>
    <dgm:pt modelId="{7ACA82AC-C9B2-4725-AEA8-9A096AE08B88}" type="parTrans" cxnId="{2278FBD0-F942-4752-93E4-95B617570C0B}">
      <dgm:prSet/>
      <dgm:spPr/>
      <dgm:t>
        <a:bodyPr/>
        <a:lstStyle/>
        <a:p>
          <a:endParaRPr lang="en-US" sz="2000"/>
        </a:p>
      </dgm:t>
    </dgm:pt>
    <dgm:pt modelId="{5F01A122-1DC0-4070-9F91-89B55CFED956}" type="sibTrans" cxnId="{2278FBD0-F942-4752-93E4-95B617570C0B}">
      <dgm:prSet/>
      <dgm:spPr/>
      <dgm:t>
        <a:bodyPr/>
        <a:lstStyle/>
        <a:p>
          <a:endParaRPr lang="en-US" sz="2000"/>
        </a:p>
      </dgm:t>
    </dgm:pt>
    <dgm:pt modelId="{C5D816A8-BD29-456E-989E-55A9FF61F5BC}">
      <dgm:prSet phldrT="[Text]" custT="1"/>
      <dgm:spPr/>
      <dgm:t>
        <a:bodyPr/>
        <a:lstStyle/>
        <a:p>
          <a:r>
            <a:rPr lang="en-US" sz="2000" b="1"/>
            <a:t>Stack Panel </a:t>
          </a:r>
          <a:r>
            <a:rPr lang="en-US" sz="2000"/>
            <a:t>– </a:t>
          </a:r>
          <a:r>
            <a:rPr lang="en-US" sz="2000" b="0" i="0"/>
            <a:t>stacks child elements automatically within bounds</a:t>
          </a:r>
          <a:endParaRPr lang="en-US" sz="2000"/>
        </a:p>
      </dgm:t>
    </dgm:pt>
    <dgm:pt modelId="{0C35209A-1A9C-4C77-BE18-700C8D6A611C}" type="parTrans" cxnId="{8D74F2AB-4022-4661-9EE1-9EBAEC042CAA}">
      <dgm:prSet/>
      <dgm:spPr/>
      <dgm:t>
        <a:bodyPr/>
        <a:lstStyle/>
        <a:p>
          <a:endParaRPr lang="en-US" sz="2000"/>
        </a:p>
      </dgm:t>
    </dgm:pt>
    <dgm:pt modelId="{1EAE54F2-0F48-4779-889E-8B85C10AEE33}" type="sibTrans" cxnId="{8D74F2AB-4022-4661-9EE1-9EBAEC042CAA}">
      <dgm:prSet/>
      <dgm:spPr/>
      <dgm:t>
        <a:bodyPr/>
        <a:lstStyle/>
        <a:p>
          <a:endParaRPr lang="en-US" sz="2000"/>
        </a:p>
      </dgm:t>
    </dgm:pt>
    <dgm:pt modelId="{46892D56-FFB1-4198-85CC-523DF88B65E3}">
      <dgm:prSet phldrT="[Text]" custT="1"/>
      <dgm:spPr/>
      <dgm:t>
        <a:bodyPr/>
        <a:lstStyle/>
        <a:p>
          <a:r>
            <a:rPr lang="en-US" sz="2000" b="1"/>
            <a:t>Group</a:t>
          </a:r>
          <a:r>
            <a:rPr lang="en-US" sz="2000"/>
            <a:t> </a:t>
          </a:r>
          <a:r>
            <a:rPr lang="en-US" sz="2000" b="1"/>
            <a:t>box</a:t>
          </a:r>
          <a:r>
            <a:rPr lang="en-US" sz="2000"/>
            <a:t> – </a:t>
          </a:r>
          <a:r>
            <a:rPr lang="en-US" sz="2000" b="0" i="0"/>
            <a:t>link controls together with header and border</a:t>
          </a:r>
          <a:endParaRPr lang="en-US" sz="2000"/>
        </a:p>
      </dgm:t>
    </dgm:pt>
    <dgm:pt modelId="{CAF95ADD-219A-4740-B02B-6AD5D7536C63}" type="parTrans" cxnId="{769853CC-05EF-4BD4-A251-8A2EBE8D804D}">
      <dgm:prSet/>
      <dgm:spPr/>
      <dgm:t>
        <a:bodyPr/>
        <a:lstStyle/>
        <a:p>
          <a:endParaRPr lang="en-US" sz="2000"/>
        </a:p>
      </dgm:t>
    </dgm:pt>
    <dgm:pt modelId="{DFFE775F-DEEF-4CAE-980C-261A047548F6}" type="sibTrans" cxnId="{769853CC-05EF-4BD4-A251-8A2EBE8D804D}">
      <dgm:prSet/>
      <dgm:spPr/>
      <dgm:t>
        <a:bodyPr/>
        <a:lstStyle/>
        <a:p>
          <a:endParaRPr lang="en-US" sz="2000"/>
        </a:p>
      </dgm:t>
    </dgm:pt>
    <dgm:pt modelId="{D80E17EF-7861-4C88-9FB8-2E4420E3AD9C}">
      <dgm:prSet phldrT="[Text]" custT="1"/>
      <dgm:spPr/>
      <dgm:t>
        <a:bodyPr/>
        <a:lstStyle/>
        <a:p>
          <a:r>
            <a:rPr lang="en-US" sz="2000" b="1"/>
            <a:t>Toolbar </a:t>
          </a:r>
          <a:r>
            <a:rPr lang="en-US" sz="2000"/>
            <a:t>– contains buttons for commands (usually menus)</a:t>
          </a:r>
          <a:endParaRPr lang="en-US" sz="2000" b="1"/>
        </a:p>
      </dgm:t>
    </dgm:pt>
    <dgm:pt modelId="{BD1977EC-0E6E-49FF-BD17-3952FF8E5DB9}" type="parTrans" cxnId="{9A78DD1D-584D-4543-B2EA-B41C8CCDC46C}">
      <dgm:prSet/>
      <dgm:spPr/>
      <dgm:t>
        <a:bodyPr/>
        <a:lstStyle/>
        <a:p>
          <a:endParaRPr lang="en-US" sz="2000"/>
        </a:p>
      </dgm:t>
    </dgm:pt>
    <dgm:pt modelId="{AEDB20CE-57B3-4422-B7CE-0F32C1ABD4EA}" type="sibTrans" cxnId="{9A78DD1D-584D-4543-B2EA-B41C8CCDC46C}">
      <dgm:prSet/>
      <dgm:spPr/>
      <dgm:t>
        <a:bodyPr/>
        <a:lstStyle/>
        <a:p>
          <a:endParaRPr lang="en-US" sz="2000"/>
        </a:p>
      </dgm:t>
    </dgm:pt>
    <dgm:pt modelId="{174DB4BB-BDBE-4D22-9757-4FC7D697494B}">
      <dgm:prSet phldrT="[Text]" custT="1"/>
      <dgm:spPr/>
      <dgm:t>
        <a:bodyPr/>
        <a:lstStyle/>
        <a:p>
          <a:r>
            <a:rPr lang="en-US" sz="2000" b="1" err="1"/>
            <a:t>Statusbar</a:t>
          </a:r>
          <a:r>
            <a:rPr lang="en-US" sz="2000" b="1"/>
            <a:t> </a:t>
          </a:r>
          <a:r>
            <a:rPr lang="en-US" sz="2000"/>
            <a:t>– docked at the bottom to display status info</a:t>
          </a:r>
        </a:p>
      </dgm:t>
    </dgm:pt>
    <dgm:pt modelId="{2CBB7829-912D-4512-9A37-E389CCBBD203}" type="parTrans" cxnId="{8F201222-9D49-4212-A2A7-E91E9FB56D88}">
      <dgm:prSet/>
      <dgm:spPr/>
      <dgm:t>
        <a:bodyPr/>
        <a:lstStyle/>
        <a:p>
          <a:endParaRPr lang="en-US"/>
        </a:p>
      </dgm:t>
    </dgm:pt>
    <dgm:pt modelId="{CCC593DA-2866-4172-8E0D-A18832EFBB28}" type="sibTrans" cxnId="{8F201222-9D49-4212-A2A7-E91E9FB56D88}">
      <dgm:prSet/>
      <dgm:spPr/>
      <dgm:t>
        <a:bodyPr/>
        <a:lstStyle/>
        <a:p>
          <a:endParaRPr lang="en-US"/>
        </a:p>
      </dgm:t>
    </dgm:pt>
    <dgm:pt modelId="{773A36C2-4404-4A1B-98D8-E968A7F09633}">
      <dgm:prSet phldrT="[Text]" custT="1"/>
      <dgm:spPr/>
      <dgm:t>
        <a:bodyPr/>
        <a:lstStyle/>
        <a:p>
          <a:r>
            <a:rPr lang="en-US" sz="2000" b="1"/>
            <a:t>Menu </a:t>
          </a:r>
          <a:r>
            <a:rPr lang="en-US" sz="2000"/>
            <a:t>– hierarchical information linked to commands (buttons)</a:t>
          </a:r>
          <a:endParaRPr lang="en-US" sz="2000" b="1"/>
        </a:p>
      </dgm:t>
    </dgm:pt>
    <dgm:pt modelId="{3DA43588-AFD8-431E-B8A2-9C7F3EB7B840}" type="parTrans" cxnId="{5864CE79-5E80-4896-AFFB-145E860D5AEF}">
      <dgm:prSet/>
      <dgm:spPr/>
      <dgm:t>
        <a:bodyPr/>
        <a:lstStyle/>
        <a:p>
          <a:endParaRPr lang="en-US"/>
        </a:p>
      </dgm:t>
    </dgm:pt>
    <dgm:pt modelId="{402892CC-388D-4374-8415-C941822796BF}" type="sibTrans" cxnId="{5864CE79-5E80-4896-AFFB-145E860D5AEF}">
      <dgm:prSet/>
      <dgm:spPr/>
      <dgm:t>
        <a:bodyPr/>
        <a:lstStyle/>
        <a:p>
          <a:endParaRPr lang="en-US"/>
        </a:p>
      </dgm:t>
    </dgm:pt>
    <dgm:pt modelId="{92286713-0793-4CCA-A0F4-E55F00CDBAE6}" type="pres">
      <dgm:prSet presAssocID="{0A1B3692-9A8F-4498-A6FB-C0EBFD8D2D81}" presName="linear" presStyleCnt="0">
        <dgm:presLayoutVars>
          <dgm:animLvl val="lvl"/>
          <dgm:resizeHandles val="exact"/>
        </dgm:presLayoutVars>
      </dgm:prSet>
      <dgm:spPr/>
    </dgm:pt>
    <dgm:pt modelId="{7660838E-1DFB-43B9-A2EA-80E0C83CF8A5}" type="pres">
      <dgm:prSet presAssocID="{39643E64-3C66-4B4E-952E-816765C4875B}" presName="parentText" presStyleLbl="node1" presStyleIdx="0" presStyleCnt="2">
        <dgm:presLayoutVars>
          <dgm:chMax val="0"/>
          <dgm:bulletEnabled val="1"/>
        </dgm:presLayoutVars>
      </dgm:prSet>
      <dgm:spPr/>
    </dgm:pt>
    <dgm:pt modelId="{EA983A13-7149-4067-94B6-3719D9F986E0}" type="pres">
      <dgm:prSet presAssocID="{39643E64-3C66-4B4E-952E-816765C4875B}" presName="childText" presStyleLbl="revTx" presStyleIdx="0" presStyleCnt="2">
        <dgm:presLayoutVars>
          <dgm:bulletEnabled val="1"/>
        </dgm:presLayoutVars>
      </dgm:prSet>
      <dgm:spPr/>
    </dgm:pt>
    <dgm:pt modelId="{ADF8FE63-013F-4191-8866-40407CFE1E33}" type="pres">
      <dgm:prSet presAssocID="{EB326C80-6316-44A7-9B19-4F202B15A26E}" presName="parentText" presStyleLbl="node1" presStyleIdx="1" presStyleCnt="2">
        <dgm:presLayoutVars>
          <dgm:chMax val="0"/>
          <dgm:bulletEnabled val="1"/>
        </dgm:presLayoutVars>
      </dgm:prSet>
      <dgm:spPr/>
    </dgm:pt>
    <dgm:pt modelId="{D99B95FF-3380-459A-8F8F-47CA9B2930DA}" type="pres">
      <dgm:prSet presAssocID="{EB326C80-6316-44A7-9B19-4F202B15A26E}" presName="childText" presStyleLbl="revTx" presStyleIdx="1" presStyleCnt="2">
        <dgm:presLayoutVars>
          <dgm:bulletEnabled val="1"/>
        </dgm:presLayoutVars>
      </dgm:prSet>
      <dgm:spPr/>
    </dgm:pt>
  </dgm:ptLst>
  <dgm:cxnLst>
    <dgm:cxn modelId="{806B8301-1FD0-4E24-B1A0-7FA366226F3A}" type="presOf" srcId="{46892D56-FFB1-4198-85CC-523DF88B65E3}" destId="{D99B95FF-3380-459A-8F8F-47CA9B2930DA}" srcOrd="0" destOrd="5" presId="urn:microsoft.com/office/officeart/2005/8/layout/vList2"/>
    <dgm:cxn modelId="{36654606-3D83-4864-826C-3E75FD674040}" srcId="{0A1B3692-9A8F-4498-A6FB-C0EBFD8D2D81}" destId="{EB326C80-6316-44A7-9B19-4F202B15A26E}" srcOrd="1" destOrd="0" parTransId="{D3C797DC-12F1-46F7-BC10-259E0E1A0DBF}" sibTransId="{35A4AE9F-B824-4356-8C4A-FB3F32082A1A}"/>
    <dgm:cxn modelId="{1C66EC16-C17F-4E40-A325-78F2109D4845}" srcId="{0A1B3692-9A8F-4498-A6FB-C0EBFD8D2D81}" destId="{39643E64-3C66-4B4E-952E-816765C4875B}" srcOrd="0" destOrd="0" parTransId="{9D8A408D-6536-4C8A-8AF9-A4CB07D76F81}" sibTransId="{ED680DE0-3307-43B4-9758-234F69DCC864}"/>
    <dgm:cxn modelId="{9A78DD1D-584D-4543-B2EA-B41C8CCDC46C}" srcId="{EB326C80-6316-44A7-9B19-4F202B15A26E}" destId="{D80E17EF-7861-4C88-9FB8-2E4420E3AD9C}" srcOrd="6" destOrd="0" parTransId="{BD1977EC-0E6E-49FF-BD17-3952FF8E5DB9}" sibTransId="{AEDB20CE-57B3-4422-B7CE-0F32C1ABD4EA}"/>
    <dgm:cxn modelId="{8F201222-9D49-4212-A2A7-E91E9FB56D88}" srcId="{EB326C80-6316-44A7-9B19-4F202B15A26E}" destId="{174DB4BB-BDBE-4D22-9757-4FC7D697494B}" srcOrd="7" destOrd="0" parTransId="{2CBB7829-912D-4512-9A37-E389CCBBD203}" sibTransId="{CCC593DA-2866-4172-8E0D-A18832EFBB28}"/>
    <dgm:cxn modelId="{63756F2E-BE06-4238-A97C-BD2FC309E221}" srcId="{39643E64-3C66-4B4E-952E-816765C4875B}" destId="{6933B1E2-42AD-4570-A50F-A643DB4B599E}" srcOrd="1" destOrd="0" parTransId="{5D1DBF77-779A-43B3-9525-7D89EEE42334}" sibTransId="{893B86F4-6108-4669-A37D-E1F27DD76F00}"/>
    <dgm:cxn modelId="{F818D336-279C-46DA-94A4-A96DBD372B31}" srcId="{EB326C80-6316-44A7-9B19-4F202B15A26E}" destId="{7C9C9BE2-8CE9-49B4-9AC3-89BFA660831A}" srcOrd="4" destOrd="0" parTransId="{CA88C427-49A0-46D4-BD32-FC9BDA338C9F}" sibTransId="{9A80EC45-2EE7-4440-9A3F-6CE1ACBCFA7A}"/>
    <dgm:cxn modelId="{62103E3A-3C69-45DB-8029-A5EDB385AF92}" type="presOf" srcId="{EE715321-1489-4124-BD85-DBA1B34E3C5E}" destId="{D99B95FF-3380-459A-8F8F-47CA9B2930DA}" srcOrd="0" destOrd="2" presId="urn:microsoft.com/office/officeart/2005/8/layout/vList2"/>
    <dgm:cxn modelId="{21BDA13A-1D51-4AD5-B7F1-7C010D569605}" type="presOf" srcId="{6E66E7E4-E8CD-4E66-9C01-214F09A675E6}" destId="{D99B95FF-3380-459A-8F8F-47CA9B2930DA}" srcOrd="0" destOrd="3" presId="urn:microsoft.com/office/officeart/2005/8/layout/vList2"/>
    <dgm:cxn modelId="{C54AE63C-74F0-4A9B-AA95-6D62AF211D29}" type="presOf" srcId="{D80E17EF-7861-4C88-9FB8-2E4420E3AD9C}" destId="{D99B95FF-3380-459A-8F8F-47CA9B2930DA}" srcOrd="0" destOrd="6" presId="urn:microsoft.com/office/officeart/2005/8/layout/vList2"/>
    <dgm:cxn modelId="{4C49E762-6785-40BC-B7EC-C4E4CC79E02F}" srcId="{39643E64-3C66-4B4E-952E-816765C4875B}" destId="{E72297D3-D1DD-41F3-9615-44814BF0A035}" srcOrd="0" destOrd="0" parTransId="{70B5760D-5D16-4054-8F1E-5088B6C3668C}" sibTransId="{B5A833F9-5D1D-45B9-BED2-1CFF501BD1E0}"/>
    <dgm:cxn modelId="{098E6D44-28A5-4089-91D8-CEE27DB254D9}" type="presOf" srcId="{0A1B3692-9A8F-4498-A6FB-C0EBFD8D2D81}" destId="{92286713-0793-4CCA-A0F4-E55F00CDBAE6}" srcOrd="0" destOrd="0" presId="urn:microsoft.com/office/officeart/2005/8/layout/vList2"/>
    <dgm:cxn modelId="{BB381656-87FF-4263-8950-6F7955E7430F}" type="presOf" srcId="{6933B1E2-42AD-4570-A50F-A643DB4B599E}" destId="{EA983A13-7149-4067-94B6-3719D9F986E0}" srcOrd="0" destOrd="1" presId="urn:microsoft.com/office/officeart/2005/8/layout/vList2"/>
    <dgm:cxn modelId="{1D913F78-9042-4746-A393-7D40CE1FDE3B}" srcId="{EB326C80-6316-44A7-9B19-4F202B15A26E}" destId="{6E66E7E4-E8CD-4E66-9C01-214F09A675E6}" srcOrd="3" destOrd="0" parTransId="{1FA4852A-2556-4026-99E5-0713D8F97170}" sibTransId="{CFA21C7D-7034-4A5F-9605-7DE5D1C25020}"/>
    <dgm:cxn modelId="{5864CE79-5E80-4896-AFFB-145E860D5AEF}" srcId="{EB326C80-6316-44A7-9B19-4F202B15A26E}" destId="{773A36C2-4404-4A1B-98D8-E968A7F09633}" srcOrd="8" destOrd="0" parTransId="{3DA43588-AFD8-431E-B8A2-9C7F3EB7B840}" sibTransId="{402892CC-388D-4374-8415-C941822796BF}"/>
    <dgm:cxn modelId="{C848F08E-952C-4721-B3FE-49CD7496E4EF}" srcId="{EB326C80-6316-44A7-9B19-4F202B15A26E}" destId="{EE715321-1489-4124-BD85-DBA1B34E3C5E}" srcOrd="2" destOrd="0" parTransId="{39FF80CB-8B02-4C0A-9362-A1FF0EA1ADA3}" sibTransId="{278B9CC7-1364-47F0-BCD0-C6DA777156D4}"/>
    <dgm:cxn modelId="{21B3FBA2-63E0-414F-943D-8C5B80E86634}" type="presOf" srcId="{7C9C9BE2-8CE9-49B4-9AC3-89BFA660831A}" destId="{D99B95FF-3380-459A-8F8F-47CA9B2930DA}" srcOrd="0" destOrd="4" presId="urn:microsoft.com/office/officeart/2005/8/layout/vList2"/>
    <dgm:cxn modelId="{5C46EDA9-1C59-4974-B074-C42948425E50}" type="presOf" srcId="{39643E64-3C66-4B4E-952E-816765C4875B}" destId="{7660838E-1DFB-43B9-A2EA-80E0C83CF8A5}" srcOrd="0" destOrd="0" presId="urn:microsoft.com/office/officeart/2005/8/layout/vList2"/>
    <dgm:cxn modelId="{8D74F2AB-4022-4661-9EE1-9EBAEC042CAA}" srcId="{EB326C80-6316-44A7-9B19-4F202B15A26E}" destId="{C5D816A8-BD29-456E-989E-55A9FF61F5BC}" srcOrd="1" destOrd="0" parTransId="{0C35209A-1A9C-4C77-BE18-700C8D6A611C}" sibTransId="{1EAE54F2-0F48-4779-889E-8B85C10AEE33}"/>
    <dgm:cxn modelId="{2C7812B6-E58E-492D-8125-A82B5EDFEDA6}" type="presOf" srcId="{C5D816A8-BD29-456E-989E-55A9FF61F5BC}" destId="{D99B95FF-3380-459A-8F8F-47CA9B2930DA}" srcOrd="0" destOrd="1" presId="urn:microsoft.com/office/officeart/2005/8/layout/vList2"/>
    <dgm:cxn modelId="{769853CC-05EF-4BD4-A251-8A2EBE8D804D}" srcId="{EB326C80-6316-44A7-9B19-4F202B15A26E}" destId="{46892D56-FFB1-4198-85CC-523DF88B65E3}" srcOrd="5" destOrd="0" parTransId="{CAF95ADD-219A-4740-B02B-6AD5D7536C63}" sibTransId="{DFFE775F-DEEF-4CAE-980C-261A047548F6}"/>
    <dgm:cxn modelId="{2278FBD0-F942-4752-93E4-95B617570C0B}" srcId="{EB326C80-6316-44A7-9B19-4F202B15A26E}" destId="{D56C2A19-F2A8-4F59-9606-3CE73984C04C}" srcOrd="0" destOrd="0" parTransId="{7ACA82AC-C9B2-4725-AEA8-9A096AE08B88}" sibTransId="{5F01A122-1DC0-4070-9F91-89B55CFED956}"/>
    <dgm:cxn modelId="{B2FDFAD1-973C-4023-BCF8-97944A4BD045}" type="presOf" srcId="{D56C2A19-F2A8-4F59-9606-3CE73984C04C}" destId="{D99B95FF-3380-459A-8F8F-47CA9B2930DA}" srcOrd="0" destOrd="0" presId="urn:microsoft.com/office/officeart/2005/8/layout/vList2"/>
    <dgm:cxn modelId="{072705DB-A8E8-4235-A16B-1C8EB04421F8}" type="presOf" srcId="{773A36C2-4404-4A1B-98D8-E968A7F09633}" destId="{D99B95FF-3380-459A-8F8F-47CA9B2930DA}" srcOrd="0" destOrd="8" presId="urn:microsoft.com/office/officeart/2005/8/layout/vList2"/>
    <dgm:cxn modelId="{D226A5E3-D226-4E8F-A8F6-05AEFFD7B1E9}" type="presOf" srcId="{E72297D3-D1DD-41F3-9615-44814BF0A035}" destId="{EA983A13-7149-4067-94B6-3719D9F986E0}" srcOrd="0" destOrd="0" presId="urn:microsoft.com/office/officeart/2005/8/layout/vList2"/>
    <dgm:cxn modelId="{E8B08BE5-5485-4BD5-B469-16981635705C}" type="presOf" srcId="{EB326C80-6316-44A7-9B19-4F202B15A26E}" destId="{ADF8FE63-013F-4191-8866-40407CFE1E33}" srcOrd="0" destOrd="0" presId="urn:microsoft.com/office/officeart/2005/8/layout/vList2"/>
    <dgm:cxn modelId="{9123ACE5-383E-4556-9632-A66AAD7E0E55}" type="presOf" srcId="{174DB4BB-BDBE-4D22-9757-4FC7D697494B}" destId="{D99B95FF-3380-459A-8F8F-47CA9B2930DA}" srcOrd="0" destOrd="7" presId="urn:microsoft.com/office/officeart/2005/8/layout/vList2"/>
    <dgm:cxn modelId="{5565D39F-2E83-4905-A2F3-32B892F25AE1}" type="presParOf" srcId="{92286713-0793-4CCA-A0F4-E55F00CDBAE6}" destId="{7660838E-1DFB-43B9-A2EA-80E0C83CF8A5}" srcOrd="0" destOrd="0" presId="urn:microsoft.com/office/officeart/2005/8/layout/vList2"/>
    <dgm:cxn modelId="{67BFA8CF-E21F-4070-8493-0CF0788B6E8F}" type="presParOf" srcId="{92286713-0793-4CCA-A0F4-E55F00CDBAE6}" destId="{EA983A13-7149-4067-94B6-3719D9F986E0}" srcOrd="1" destOrd="0" presId="urn:microsoft.com/office/officeart/2005/8/layout/vList2"/>
    <dgm:cxn modelId="{17992B6A-A2E2-4452-BE77-24ECCF47009B}" type="presParOf" srcId="{92286713-0793-4CCA-A0F4-E55F00CDBAE6}" destId="{ADF8FE63-013F-4191-8866-40407CFE1E33}" srcOrd="2" destOrd="0" presId="urn:microsoft.com/office/officeart/2005/8/layout/vList2"/>
    <dgm:cxn modelId="{E7185FAE-8642-43D2-9F57-7C144465713B}" type="presParOf" srcId="{92286713-0793-4CCA-A0F4-E55F00CDBAE6}" destId="{D99B95FF-3380-459A-8F8F-47CA9B2930DA}"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FDE66656-FE16-4901-B9CD-D9542C103BB0}"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6FE06B1-8E90-42D3-8A1B-8DA6D178F9D0}">
      <dgm:prSet custT="1"/>
      <dgm:spPr/>
      <dgm:t>
        <a:bodyPr/>
        <a:lstStyle/>
        <a:p>
          <a:r>
            <a:rPr lang="en-US" sz="2000"/>
            <a:t>Aim for </a:t>
          </a:r>
          <a:r>
            <a:rPr lang="en-US" sz="2000" b="1"/>
            <a:t>clear</a:t>
          </a:r>
          <a:r>
            <a:rPr lang="en-US" sz="2000"/>
            <a:t>, </a:t>
          </a:r>
          <a:r>
            <a:rPr lang="en-US" sz="2000" b="1"/>
            <a:t>simple</a:t>
          </a:r>
          <a:r>
            <a:rPr lang="en-US" sz="2000"/>
            <a:t>, intuitive GUIs</a:t>
          </a:r>
        </a:p>
      </dgm:t>
    </dgm:pt>
    <dgm:pt modelId="{82801069-D6A3-49FA-A8B1-314471743E43}" type="parTrans" cxnId="{CC1B301A-6B29-4E25-A9A7-09CA508473D3}">
      <dgm:prSet/>
      <dgm:spPr/>
      <dgm:t>
        <a:bodyPr/>
        <a:lstStyle/>
        <a:p>
          <a:endParaRPr lang="en-US" sz="2000"/>
        </a:p>
      </dgm:t>
    </dgm:pt>
    <dgm:pt modelId="{5E470A1C-EDFA-4571-A87E-5A3BE8D858EB}" type="sibTrans" cxnId="{CC1B301A-6B29-4E25-A9A7-09CA508473D3}">
      <dgm:prSet/>
      <dgm:spPr/>
      <dgm:t>
        <a:bodyPr/>
        <a:lstStyle/>
        <a:p>
          <a:endParaRPr lang="en-US" sz="2000"/>
        </a:p>
      </dgm:t>
    </dgm:pt>
    <dgm:pt modelId="{4255E1C4-CC03-4A07-B1BC-D9FFF24EC912}">
      <dgm:prSet custT="1"/>
      <dgm:spPr/>
      <dgm:t>
        <a:bodyPr/>
        <a:lstStyle/>
        <a:p>
          <a:r>
            <a:rPr lang="en-US" sz="2000" b="1"/>
            <a:t>Minimize</a:t>
          </a:r>
          <a:r>
            <a:rPr lang="en-US" sz="2000"/>
            <a:t> the number of GUI controls</a:t>
          </a:r>
        </a:p>
      </dgm:t>
    </dgm:pt>
    <dgm:pt modelId="{EACF5183-D2F1-408E-A9E2-DDFCDAD6251F}" type="parTrans" cxnId="{C60DBF52-1125-4DC0-AD34-1F1ED6BA6C49}">
      <dgm:prSet/>
      <dgm:spPr/>
      <dgm:t>
        <a:bodyPr/>
        <a:lstStyle/>
        <a:p>
          <a:endParaRPr lang="en-US" sz="2000"/>
        </a:p>
      </dgm:t>
    </dgm:pt>
    <dgm:pt modelId="{0FAB9040-B0CB-495C-8B46-6325CAAD08E7}" type="sibTrans" cxnId="{C60DBF52-1125-4DC0-AD34-1F1ED6BA6C49}">
      <dgm:prSet/>
      <dgm:spPr/>
      <dgm:t>
        <a:bodyPr/>
        <a:lstStyle/>
        <a:p>
          <a:endParaRPr lang="en-US" sz="2000"/>
        </a:p>
      </dgm:t>
    </dgm:pt>
    <dgm:pt modelId="{3E028682-C0B0-4CE3-98FA-8CCD62CE7B1D}">
      <dgm:prSet custT="1"/>
      <dgm:spPr/>
      <dgm:t>
        <a:bodyPr/>
        <a:lstStyle/>
        <a:p>
          <a:r>
            <a:rPr lang="en-US" sz="2000" b="1"/>
            <a:t>Label</a:t>
          </a:r>
          <a:r>
            <a:rPr lang="en-US" sz="2000"/>
            <a:t> inputs</a:t>
          </a:r>
        </a:p>
      </dgm:t>
    </dgm:pt>
    <dgm:pt modelId="{27042B99-77FF-4050-9C87-864A0847807A}" type="parTrans" cxnId="{F8346B2B-EAD1-4D4F-829E-178CADCE9C8A}">
      <dgm:prSet/>
      <dgm:spPr/>
      <dgm:t>
        <a:bodyPr/>
        <a:lstStyle/>
        <a:p>
          <a:endParaRPr lang="en-US" sz="2000"/>
        </a:p>
      </dgm:t>
    </dgm:pt>
    <dgm:pt modelId="{7D29501F-7162-4D7A-B448-2448406FFE69}" type="sibTrans" cxnId="{F8346B2B-EAD1-4D4F-829E-178CADCE9C8A}">
      <dgm:prSet/>
      <dgm:spPr/>
      <dgm:t>
        <a:bodyPr/>
        <a:lstStyle/>
        <a:p>
          <a:endParaRPr lang="en-US" sz="2000"/>
        </a:p>
      </dgm:t>
    </dgm:pt>
    <dgm:pt modelId="{4F5B0C31-D503-4B78-AA3C-DC096625FAB4}">
      <dgm:prSet custT="1"/>
      <dgm:spPr/>
      <dgm:t>
        <a:bodyPr/>
        <a:lstStyle/>
        <a:p>
          <a:r>
            <a:rPr lang="en-US" sz="2000" b="1"/>
            <a:t>Align</a:t>
          </a:r>
          <a:r>
            <a:rPr lang="en-US" sz="2000"/>
            <a:t> controls </a:t>
          </a:r>
        </a:p>
      </dgm:t>
    </dgm:pt>
    <dgm:pt modelId="{D23A653F-BE0A-4908-BD66-C05CEC7299A3}" type="parTrans" cxnId="{8AD4CD4B-ECD3-4A16-B98E-AF997CBEFA89}">
      <dgm:prSet/>
      <dgm:spPr/>
      <dgm:t>
        <a:bodyPr/>
        <a:lstStyle/>
        <a:p>
          <a:endParaRPr lang="en-US" sz="2000"/>
        </a:p>
      </dgm:t>
    </dgm:pt>
    <dgm:pt modelId="{9A26E82D-447F-4AAD-B7CD-9A3600B2BDAB}" type="sibTrans" cxnId="{8AD4CD4B-ECD3-4A16-B98E-AF997CBEFA89}">
      <dgm:prSet/>
      <dgm:spPr/>
      <dgm:t>
        <a:bodyPr/>
        <a:lstStyle/>
        <a:p>
          <a:endParaRPr lang="en-US" sz="2000"/>
        </a:p>
      </dgm:t>
    </dgm:pt>
    <dgm:pt modelId="{2D06FCE0-3B4D-418C-8EAA-D428FAA54A8B}">
      <dgm:prSet custT="1"/>
      <dgm:spPr/>
      <dgm:t>
        <a:bodyPr/>
        <a:lstStyle/>
        <a:p>
          <a:r>
            <a:rPr lang="en-US" sz="2000"/>
            <a:t>Leverage </a:t>
          </a:r>
          <a:r>
            <a:rPr lang="en-US" sz="2000" b="1"/>
            <a:t>grouping</a:t>
          </a:r>
        </a:p>
      </dgm:t>
    </dgm:pt>
    <dgm:pt modelId="{F560FE2E-C2E1-429F-801D-E93CAD466558}" type="parTrans" cxnId="{4CA91716-A7C1-4AF8-9481-318B2B457681}">
      <dgm:prSet/>
      <dgm:spPr/>
      <dgm:t>
        <a:bodyPr/>
        <a:lstStyle/>
        <a:p>
          <a:endParaRPr lang="en-US" sz="2000"/>
        </a:p>
      </dgm:t>
    </dgm:pt>
    <dgm:pt modelId="{8CF8579D-CE81-4C40-8427-3CE3EEC7F4BA}" type="sibTrans" cxnId="{4CA91716-A7C1-4AF8-9481-318B2B457681}">
      <dgm:prSet/>
      <dgm:spPr/>
      <dgm:t>
        <a:bodyPr/>
        <a:lstStyle/>
        <a:p>
          <a:endParaRPr lang="en-US" sz="2000"/>
        </a:p>
      </dgm:t>
    </dgm:pt>
    <dgm:pt modelId="{BCCF34F1-C6A3-4564-B3B2-DBDA0EE8B937}">
      <dgm:prSet custT="1"/>
      <dgm:spPr/>
      <dgm:t>
        <a:bodyPr/>
        <a:lstStyle/>
        <a:p>
          <a:r>
            <a:rPr lang="en-US" sz="2000"/>
            <a:t>Distinct sections can be moved to </a:t>
          </a:r>
          <a:r>
            <a:rPr lang="en-US" sz="2000" b="1"/>
            <a:t>tabs</a:t>
          </a:r>
        </a:p>
      </dgm:t>
    </dgm:pt>
    <dgm:pt modelId="{ED05AA5F-9D9F-4952-B126-D307B2CF77E6}" type="parTrans" cxnId="{87F9A7FE-36FE-4F89-8CC3-C989FDAC0A93}">
      <dgm:prSet/>
      <dgm:spPr/>
      <dgm:t>
        <a:bodyPr/>
        <a:lstStyle/>
        <a:p>
          <a:endParaRPr lang="en-US" sz="2000"/>
        </a:p>
      </dgm:t>
    </dgm:pt>
    <dgm:pt modelId="{CA4BE35D-A772-4251-BFCF-8C8D78CDBD4F}" type="sibTrans" cxnId="{87F9A7FE-36FE-4F89-8CC3-C989FDAC0A93}">
      <dgm:prSet/>
      <dgm:spPr/>
      <dgm:t>
        <a:bodyPr/>
        <a:lstStyle/>
        <a:p>
          <a:endParaRPr lang="en-US" sz="2000"/>
        </a:p>
      </dgm:t>
    </dgm:pt>
    <dgm:pt modelId="{EF3E2F09-2C3F-4B3E-B9F2-B012C8E39944}">
      <dgm:prSet custT="1"/>
      <dgm:spPr/>
      <dgm:t>
        <a:bodyPr/>
        <a:lstStyle/>
        <a:p>
          <a:r>
            <a:rPr lang="en-US" sz="2000"/>
            <a:t>Settings not needed all the time can be put in </a:t>
          </a:r>
          <a:r>
            <a:rPr lang="en-US" sz="2000" b="1"/>
            <a:t>expanders</a:t>
          </a:r>
        </a:p>
      </dgm:t>
    </dgm:pt>
    <dgm:pt modelId="{8B7C5930-AE4D-4D29-812D-24FA663D0E85}" type="parTrans" cxnId="{C3B97C55-A1A4-4176-BDFF-6C3B6D6291D9}">
      <dgm:prSet/>
      <dgm:spPr/>
      <dgm:t>
        <a:bodyPr/>
        <a:lstStyle/>
        <a:p>
          <a:endParaRPr lang="en-US" sz="2000"/>
        </a:p>
      </dgm:t>
    </dgm:pt>
    <dgm:pt modelId="{CB655E11-AE56-46CE-AAE4-303FDDCFA7CA}" type="sibTrans" cxnId="{C3B97C55-A1A4-4176-BDFF-6C3B6D6291D9}">
      <dgm:prSet/>
      <dgm:spPr/>
      <dgm:t>
        <a:bodyPr/>
        <a:lstStyle/>
        <a:p>
          <a:endParaRPr lang="en-US" sz="2000"/>
        </a:p>
      </dgm:t>
    </dgm:pt>
    <dgm:pt modelId="{DDA421CD-2EC0-43A0-A40C-FD51535DBC5F}">
      <dgm:prSet custT="1"/>
      <dgm:spPr/>
      <dgm:t>
        <a:bodyPr/>
        <a:lstStyle/>
        <a:p>
          <a:r>
            <a:rPr lang="en-US" sz="2000"/>
            <a:t>Pay attention to </a:t>
          </a:r>
          <a:r>
            <a:rPr lang="en-US" sz="2000" b="1"/>
            <a:t>scaling</a:t>
          </a:r>
        </a:p>
      </dgm:t>
    </dgm:pt>
    <dgm:pt modelId="{2177768A-7BEE-483E-ABBB-F554905F1BDD}" type="parTrans" cxnId="{40566804-2BCF-41D9-9BA1-3EFF0831ACBA}">
      <dgm:prSet/>
      <dgm:spPr/>
      <dgm:t>
        <a:bodyPr/>
        <a:lstStyle/>
        <a:p>
          <a:endParaRPr lang="en-US" sz="2000"/>
        </a:p>
      </dgm:t>
    </dgm:pt>
    <dgm:pt modelId="{352FFE53-CD86-4483-8F85-443900CBB884}" type="sibTrans" cxnId="{40566804-2BCF-41D9-9BA1-3EFF0831ACBA}">
      <dgm:prSet/>
      <dgm:spPr/>
      <dgm:t>
        <a:bodyPr/>
        <a:lstStyle/>
        <a:p>
          <a:endParaRPr lang="en-US" sz="2000"/>
        </a:p>
      </dgm:t>
    </dgm:pt>
    <dgm:pt modelId="{0A684502-91DF-4C0C-BE02-E76EBCBA2878}">
      <dgm:prSet custT="1"/>
      <dgm:spPr/>
      <dgm:t>
        <a:bodyPr/>
        <a:lstStyle/>
        <a:p>
          <a:r>
            <a:rPr lang="en-US" sz="2000"/>
            <a:t>WPF has robust support for this, not covered in this workshop</a:t>
          </a:r>
        </a:p>
      </dgm:t>
    </dgm:pt>
    <dgm:pt modelId="{3FB4A0D1-EE00-40D4-9D73-8FA93E8D3E22}" type="parTrans" cxnId="{92812A2F-FB8A-4E76-8FEA-33456A9D9EC1}">
      <dgm:prSet/>
      <dgm:spPr/>
      <dgm:t>
        <a:bodyPr/>
        <a:lstStyle/>
        <a:p>
          <a:endParaRPr lang="en-US" sz="2000"/>
        </a:p>
      </dgm:t>
    </dgm:pt>
    <dgm:pt modelId="{75D216CE-E306-41EB-9D85-2E29BCB7EB57}" type="sibTrans" cxnId="{92812A2F-FB8A-4E76-8FEA-33456A9D9EC1}">
      <dgm:prSet/>
      <dgm:spPr/>
      <dgm:t>
        <a:bodyPr/>
        <a:lstStyle/>
        <a:p>
          <a:endParaRPr lang="en-US" sz="2000"/>
        </a:p>
      </dgm:t>
    </dgm:pt>
    <dgm:pt modelId="{6BA718F6-174D-4FDA-B310-DC91C32AE3CA}">
      <dgm:prSet custT="1"/>
      <dgm:spPr/>
      <dgm:t>
        <a:bodyPr/>
        <a:lstStyle/>
        <a:p>
          <a:r>
            <a:rPr lang="en-US" sz="2000"/>
            <a:t>Windows, images, </a:t>
          </a:r>
          <a:r>
            <a:rPr lang="en-US" sz="2000" err="1"/>
            <a:t>etc</a:t>
          </a:r>
          <a:endParaRPr lang="en-US" sz="2000"/>
        </a:p>
      </dgm:t>
    </dgm:pt>
    <dgm:pt modelId="{BA11A7C1-8004-4667-BB08-C2618FD1800B}" type="parTrans" cxnId="{F44A39B2-8E81-455C-931E-49D90FEEBC85}">
      <dgm:prSet/>
      <dgm:spPr/>
      <dgm:t>
        <a:bodyPr/>
        <a:lstStyle/>
        <a:p>
          <a:endParaRPr lang="en-US"/>
        </a:p>
      </dgm:t>
    </dgm:pt>
    <dgm:pt modelId="{ACAF55E7-75F1-4FF6-84A8-0FC9B44005C9}" type="sibTrans" cxnId="{F44A39B2-8E81-455C-931E-49D90FEEBC85}">
      <dgm:prSet/>
      <dgm:spPr/>
      <dgm:t>
        <a:bodyPr/>
        <a:lstStyle/>
        <a:p>
          <a:endParaRPr lang="en-US"/>
        </a:p>
      </dgm:t>
    </dgm:pt>
    <dgm:pt modelId="{2550AEAB-2A74-4989-A059-4E96AA7630F5}" type="pres">
      <dgm:prSet presAssocID="{FDE66656-FE16-4901-B9CD-D9542C103BB0}" presName="linear" presStyleCnt="0">
        <dgm:presLayoutVars>
          <dgm:dir/>
          <dgm:animLvl val="lvl"/>
          <dgm:resizeHandles val="exact"/>
        </dgm:presLayoutVars>
      </dgm:prSet>
      <dgm:spPr/>
    </dgm:pt>
    <dgm:pt modelId="{FADBC131-6029-4115-B7C4-BD6C0B090F68}" type="pres">
      <dgm:prSet presAssocID="{E6FE06B1-8E90-42D3-8A1B-8DA6D178F9D0}" presName="parentLin" presStyleCnt="0"/>
      <dgm:spPr/>
    </dgm:pt>
    <dgm:pt modelId="{F5D814FB-90D3-4AEE-B5C6-669FE46D2220}" type="pres">
      <dgm:prSet presAssocID="{E6FE06B1-8E90-42D3-8A1B-8DA6D178F9D0}" presName="parentLeftMargin" presStyleLbl="node1" presStyleIdx="0" presStyleCnt="3"/>
      <dgm:spPr/>
    </dgm:pt>
    <dgm:pt modelId="{93EC8244-B84F-412C-BE1C-43971BD0178C}" type="pres">
      <dgm:prSet presAssocID="{E6FE06B1-8E90-42D3-8A1B-8DA6D178F9D0}" presName="parentText" presStyleLbl="node1" presStyleIdx="0" presStyleCnt="3">
        <dgm:presLayoutVars>
          <dgm:chMax val="0"/>
          <dgm:bulletEnabled val="1"/>
        </dgm:presLayoutVars>
      </dgm:prSet>
      <dgm:spPr/>
    </dgm:pt>
    <dgm:pt modelId="{3D23A1FB-A73C-4E30-A330-E50CCFFC9019}" type="pres">
      <dgm:prSet presAssocID="{E6FE06B1-8E90-42D3-8A1B-8DA6D178F9D0}" presName="negativeSpace" presStyleCnt="0"/>
      <dgm:spPr/>
    </dgm:pt>
    <dgm:pt modelId="{9DF03ACB-66CC-48CC-B1F9-AC359C00A35C}" type="pres">
      <dgm:prSet presAssocID="{E6FE06B1-8E90-42D3-8A1B-8DA6D178F9D0}" presName="childText" presStyleLbl="conFgAcc1" presStyleIdx="0" presStyleCnt="3">
        <dgm:presLayoutVars>
          <dgm:bulletEnabled val="1"/>
        </dgm:presLayoutVars>
      </dgm:prSet>
      <dgm:spPr/>
    </dgm:pt>
    <dgm:pt modelId="{FFF24D39-3E48-42C5-845D-1719021AAFB4}" type="pres">
      <dgm:prSet presAssocID="{5E470A1C-EDFA-4571-A87E-5A3BE8D858EB}" presName="spaceBetweenRectangles" presStyleCnt="0"/>
      <dgm:spPr/>
    </dgm:pt>
    <dgm:pt modelId="{C9F0C3F6-DBB2-47E5-A7D3-41F02D4AB5F1}" type="pres">
      <dgm:prSet presAssocID="{2D06FCE0-3B4D-418C-8EAA-D428FAA54A8B}" presName="parentLin" presStyleCnt="0"/>
      <dgm:spPr/>
    </dgm:pt>
    <dgm:pt modelId="{8712EEB0-1152-4F40-B5C7-3D19D680F7C9}" type="pres">
      <dgm:prSet presAssocID="{2D06FCE0-3B4D-418C-8EAA-D428FAA54A8B}" presName="parentLeftMargin" presStyleLbl="node1" presStyleIdx="0" presStyleCnt="3"/>
      <dgm:spPr/>
    </dgm:pt>
    <dgm:pt modelId="{0A28C65A-7FB6-406F-9B5A-F695F316E3C0}" type="pres">
      <dgm:prSet presAssocID="{2D06FCE0-3B4D-418C-8EAA-D428FAA54A8B}" presName="parentText" presStyleLbl="node1" presStyleIdx="1" presStyleCnt="3">
        <dgm:presLayoutVars>
          <dgm:chMax val="0"/>
          <dgm:bulletEnabled val="1"/>
        </dgm:presLayoutVars>
      </dgm:prSet>
      <dgm:spPr/>
    </dgm:pt>
    <dgm:pt modelId="{B86A71D1-F43D-4B53-BDD1-AED03CD199E9}" type="pres">
      <dgm:prSet presAssocID="{2D06FCE0-3B4D-418C-8EAA-D428FAA54A8B}" presName="negativeSpace" presStyleCnt="0"/>
      <dgm:spPr/>
    </dgm:pt>
    <dgm:pt modelId="{B34165A5-7E74-4145-9AC3-CDC74F247386}" type="pres">
      <dgm:prSet presAssocID="{2D06FCE0-3B4D-418C-8EAA-D428FAA54A8B}" presName="childText" presStyleLbl="conFgAcc1" presStyleIdx="1" presStyleCnt="3">
        <dgm:presLayoutVars>
          <dgm:bulletEnabled val="1"/>
        </dgm:presLayoutVars>
      </dgm:prSet>
      <dgm:spPr/>
    </dgm:pt>
    <dgm:pt modelId="{E31818FD-0C89-444B-B287-5D7ADCE58A83}" type="pres">
      <dgm:prSet presAssocID="{8CF8579D-CE81-4C40-8427-3CE3EEC7F4BA}" presName="spaceBetweenRectangles" presStyleCnt="0"/>
      <dgm:spPr/>
    </dgm:pt>
    <dgm:pt modelId="{7A6CC881-02CF-42E9-BFEC-36C72153D2B1}" type="pres">
      <dgm:prSet presAssocID="{DDA421CD-2EC0-43A0-A40C-FD51535DBC5F}" presName="parentLin" presStyleCnt="0"/>
      <dgm:spPr/>
    </dgm:pt>
    <dgm:pt modelId="{75127867-3500-4DE5-ACDC-9564B2D6D770}" type="pres">
      <dgm:prSet presAssocID="{DDA421CD-2EC0-43A0-A40C-FD51535DBC5F}" presName="parentLeftMargin" presStyleLbl="node1" presStyleIdx="1" presStyleCnt="3"/>
      <dgm:spPr/>
    </dgm:pt>
    <dgm:pt modelId="{22362824-C6FD-4C93-B06A-10305197D407}" type="pres">
      <dgm:prSet presAssocID="{DDA421CD-2EC0-43A0-A40C-FD51535DBC5F}" presName="parentText" presStyleLbl="node1" presStyleIdx="2" presStyleCnt="3">
        <dgm:presLayoutVars>
          <dgm:chMax val="0"/>
          <dgm:bulletEnabled val="1"/>
        </dgm:presLayoutVars>
      </dgm:prSet>
      <dgm:spPr/>
    </dgm:pt>
    <dgm:pt modelId="{F87EA9E4-2884-4277-A48C-796DCD3C10C6}" type="pres">
      <dgm:prSet presAssocID="{DDA421CD-2EC0-43A0-A40C-FD51535DBC5F}" presName="negativeSpace" presStyleCnt="0"/>
      <dgm:spPr/>
    </dgm:pt>
    <dgm:pt modelId="{57A23C58-1130-4A37-9455-847F82317C48}" type="pres">
      <dgm:prSet presAssocID="{DDA421CD-2EC0-43A0-A40C-FD51535DBC5F}" presName="childText" presStyleLbl="conFgAcc1" presStyleIdx="2" presStyleCnt="3">
        <dgm:presLayoutVars>
          <dgm:bulletEnabled val="1"/>
        </dgm:presLayoutVars>
      </dgm:prSet>
      <dgm:spPr/>
    </dgm:pt>
  </dgm:ptLst>
  <dgm:cxnLst>
    <dgm:cxn modelId="{5A5D1801-93A6-407A-AA90-0EDBA830CA91}" type="presOf" srcId="{E6FE06B1-8E90-42D3-8A1B-8DA6D178F9D0}" destId="{93EC8244-B84F-412C-BE1C-43971BD0178C}" srcOrd="1" destOrd="0" presId="urn:microsoft.com/office/officeart/2005/8/layout/list1"/>
    <dgm:cxn modelId="{019F6D01-4EC5-4174-B953-F95483185FC4}" type="presOf" srcId="{DDA421CD-2EC0-43A0-A40C-FD51535DBC5F}" destId="{75127867-3500-4DE5-ACDC-9564B2D6D770}" srcOrd="0" destOrd="0" presId="urn:microsoft.com/office/officeart/2005/8/layout/list1"/>
    <dgm:cxn modelId="{40566804-2BCF-41D9-9BA1-3EFF0831ACBA}" srcId="{FDE66656-FE16-4901-B9CD-D9542C103BB0}" destId="{DDA421CD-2EC0-43A0-A40C-FD51535DBC5F}" srcOrd="2" destOrd="0" parTransId="{2177768A-7BEE-483E-ABBB-F554905F1BDD}" sibTransId="{352FFE53-CD86-4483-8F85-443900CBB884}"/>
    <dgm:cxn modelId="{4CA91716-A7C1-4AF8-9481-318B2B457681}" srcId="{FDE66656-FE16-4901-B9CD-D9542C103BB0}" destId="{2D06FCE0-3B4D-418C-8EAA-D428FAA54A8B}" srcOrd="1" destOrd="0" parTransId="{F560FE2E-C2E1-429F-801D-E93CAD466558}" sibTransId="{8CF8579D-CE81-4C40-8427-3CE3EEC7F4BA}"/>
    <dgm:cxn modelId="{CC1B301A-6B29-4E25-A9A7-09CA508473D3}" srcId="{FDE66656-FE16-4901-B9CD-D9542C103BB0}" destId="{E6FE06B1-8E90-42D3-8A1B-8DA6D178F9D0}" srcOrd="0" destOrd="0" parTransId="{82801069-D6A3-49FA-A8B1-314471743E43}" sibTransId="{5E470A1C-EDFA-4571-A87E-5A3BE8D858EB}"/>
    <dgm:cxn modelId="{AA06E41E-6F06-4CA2-9D99-D2BE747A13CE}" type="presOf" srcId="{FDE66656-FE16-4901-B9CD-D9542C103BB0}" destId="{2550AEAB-2A74-4989-A059-4E96AA7630F5}" srcOrd="0" destOrd="0" presId="urn:microsoft.com/office/officeart/2005/8/layout/list1"/>
    <dgm:cxn modelId="{FEF7CE24-95FF-44BF-8B92-E312AA254693}" type="presOf" srcId="{BCCF34F1-C6A3-4564-B3B2-DBDA0EE8B937}" destId="{B34165A5-7E74-4145-9AC3-CDC74F247386}" srcOrd="0" destOrd="0" presId="urn:microsoft.com/office/officeart/2005/8/layout/list1"/>
    <dgm:cxn modelId="{F8346B2B-EAD1-4D4F-829E-178CADCE9C8A}" srcId="{E6FE06B1-8E90-42D3-8A1B-8DA6D178F9D0}" destId="{3E028682-C0B0-4CE3-98FA-8CCD62CE7B1D}" srcOrd="1" destOrd="0" parTransId="{27042B99-77FF-4050-9C87-864A0847807A}" sibTransId="{7D29501F-7162-4D7A-B448-2448406FFE69}"/>
    <dgm:cxn modelId="{92812A2F-FB8A-4E76-8FEA-33456A9D9EC1}" srcId="{DDA421CD-2EC0-43A0-A40C-FD51535DBC5F}" destId="{0A684502-91DF-4C0C-BE02-E76EBCBA2878}" srcOrd="1" destOrd="0" parTransId="{3FB4A0D1-EE00-40D4-9D73-8FA93E8D3E22}" sibTransId="{75D216CE-E306-41EB-9D85-2E29BCB7EB57}"/>
    <dgm:cxn modelId="{4280013D-4185-4118-88B7-97790E0ABE52}" type="presOf" srcId="{4255E1C4-CC03-4A07-B1BC-D9FFF24EC912}" destId="{9DF03ACB-66CC-48CC-B1F9-AC359C00A35C}" srcOrd="0" destOrd="0" presId="urn:microsoft.com/office/officeart/2005/8/layout/list1"/>
    <dgm:cxn modelId="{DAF3AA61-0515-4DF1-9D0F-A2C672548EF0}" type="presOf" srcId="{4F5B0C31-D503-4B78-AA3C-DC096625FAB4}" destId="{9DF03ACB-66CC-48CC-B1F9-AC359C00A35C}" srcOrd="0" destOrd="2" presId="urn:microsoft.com/office/officeart/2005/8/layout/list1"/>
    <dgm:cxn modelId="{8B161066-D254-48CC-8292-EC627BA01FDC}" type="presOf" srcId="{EF3E2F09-2C3F-4B3E-B9F2-B012C8E39944}" destId="{B34165A5-7E74-4145-9AC3-CDC74F247386}" srcOrd="0" destOrd="1" presId="urn:microsoft.com/office/officeart/2005/8/layout/list1"/>
    <dgm:cxn modelId="{8AD4CD4B-ECD3-4A16-B98E-AF997CBEFA89}" srcId="{E6FE06B1-8E90-42D3-8A1B-8DA6D178F9D0}" destId="{4F5B0C31-D503-4B78-AA3C-DC096625FAB4}" srcOrd="2" destOrd="0" parTransId="{D23A653F-BE0A-4908-BD66-C05CEC7299A3}" sibTransId="{9A26E82D-447F-4AAD-B7CD-9A3600B2BDAB}"/>
    <dgm:cxn modelId="{C60DBF52-1125-4DC0-AD34-1F1ED6BA6C49}" srcId="{E6FE06B1-8E90-42D3-8A1B-8DA6D178F9D0}" destId="{4255E1C4-CC03-4A07-B1BC-D9FFF24EC912}" srcOrd="0" destOrd="0" parTransId="{EACF5183-D2F1-408E-A9E2-DDFCDAD6251F}" sibTransId="{0FAB9040-B0CB-495C-8B46-6325CAAD08E7}"/>
    <dgm:cxn modelId="{8D2A0D53-CFFE-48C5-8B45-77E761750E38}" type="presOf" srcId="{6BA718F6-174D-4FDA-B310-DC91C32AE3CA}" destId="{57A23C58-1130-4A37-9455-847F82317C48}" srcOrd="0" destOrd="0" presId="urn:microsoft.com/office/officeart/2005/8/layout/list1"/>
    <dgm:cxn modelId="{B946C174-39FD-4A4E-A731-0FFBAAA164A9}" type="presOf" srcId="{E6FE06B1-8E90-42D3-8A1B-8DA6D178F9D0}" destId="{F5D814FB-90D3-4AEE-B5C6-669FE46D2220}" srcOrd="0" destOrd="0" presId="urn:microsoft.com/office/officeart/2005/8/layout/list1"/>
    <dgm:cxn modelId="{C3B97C55-A1A4-4176-BDFF-6C3B6D6291D9}" srcId="{2D06FCE0-3B4D-418C-8EAA-D428FAA54A8B}" destId="{EF3E2F09-2C3F-4B3E-B9F2-B012C8E39944}" srcOrd="1" destOrd="0" parTransId="{8B7C5930-AE4D-4D29-812D-24FA663D0E85}" sibTransId="{CB655E11-AE56-46CE-AAE4-303FDDCFA7CA}"/>
    <dgm:cxn modelId="{6262C877-8B0E-4095-81C6-27A87027D973}" type="presOf" srcId="{0A684502-91DF-4C0C-BE02-E76EBCBA2878}" destId="{57A23C58-1130-4A37-9455-847F82317C48}" srcOrd="0" destOrd="1" presId="urn:microsoft.com/office/officeart/2005/8/layout/list1"/>
    <dgm:cxn modelId="{BF697888-05B5-47E4-B2A1-ADC1D15C4BDC}" type="presOf" srcId="{2D06FCE0-3B4D-418C-8EAA-D428FAA54A8B}" destId="{0A28C65A-7FB6-406F-9B5A-F695F316E3C0}" srcOrd="1" destOrd="0" presId="urn:microsoft.com/office/officeart/2005/8/layout/list1"/>
    <dgm:cxn modelId="{1A2FA689-6202-4FCB-A00B-43AF73EF3F9A}" type="presOf" srcId="{2D06FCE0-3B4D-418C-8EAA-D428FAA54A8B}" destId="{8712EEB0-1152-4F40-B5C7-3D19D680F7C9}" srcOrd="0" destOrd="0" presId="urn:microsoft.com/office/officeart/2005/8/layout/list1"/>
    <dgm:cxn modelId="{67714894-0A51-44AE-B414-1D5FAB92E960}" type="presOf" srcId="{DDA421CD-2EC0-43A0-A40C-FD51535DBC5F}" destId="{22362824-C6FD-4C93-B06A-10305197D407}" srcOrd="1" destOrd="0" presId="urn:microsoft.com/office/officeart/2005/8/layout/list1"/>
    <dgm:cxn modelId="{F44A39B2-8E81-455C-931E-49D90FEEBC85}" srcId="{DDA421CD-2EC0-43A0-A40C-FD51535DBC5F}" destId="{6BA718F6-174D-4FDA-B310-DC91C32AE3CA}" srcOrd="0" destOrd="0" parTransId="{BA11A7C1-8004-4667-BB08-C2618FD1800B}" sibTransId="{ACAF55E7-75F1-4FF6-84A8-0FC9B44005C9}"/>
    <dgm:cxn modelId="{5D7891BB-B9AD-4BAD-AD4E-733C3D2777B4}" type="presOf" srcId="{3E028682-C0B0-4CE3-98FA-8CCD62CE7B1D}" destId="{9DF03ACB-66CC-48CC-B1F9-AC359C00A35C}" srcOrd="0" destOrd="1" presId="urn:microsoft.com/office/officeart/2005/8/layout/list1"/>
    <dgm:cxn modelId="{87F9A7FE-36FE-4F89-8CC3-C989FDAC0A93}" srcId="{2D06FCE0-3B4D-418C-8EAA-D428FAA54A8B}" destId="{BCCF34F1-C6A3-4564-B3B2-DBDA0EE8B937}" srcOrd="0" destOrd="0" parTransId="{ED05AA5F-9D9F-4952-B126-D307B2CF77E6}" sibTransId="{CA4BE35D-A772-4251-BFCF-8C8D78CDBD4F}"/>
    <dgm:cxn modelId="{23497793-34A0-4FB1-83F9-205A937C855A}" type="presParOf" srcId="{2550AEAB-2A74-4989-A059-4E96AA7630F5}" destId="{FADBC131-6029-4115-B7C4-BD6C0B090F68}" srcOrd="0" destOrd="0" presId="urn:microsoft.com/office/officeart/2005/8/layout/list1"/>
    <dgm:cxn modelId="{0349B498-EDAB-43F6-91AF-06C7899EFE9A}" type="presParOf" srcId="{FADBC131-6029-4115-B7C4-BD6C0B090F68}" destId="{F5D814FB-90D3-4AEE-B5C6-669FE46D2220}" srcOrd="0" destOrd="0" presId="urn:microsoft.com/office/officeart/2005/8/layout/list1"/>
    <dgm:cxn modelId="{6763876B-971C-43BE-84F3-97450E6FE929}" type="presParOf" srcId="{FADBC131-6029-4115-B7C4-BD6C0B090F68}" destId="{93EC8244-B84F-412C-BE1C-43971BD0178C}" srcOrd="1" destOrd="0" presId="urn:microsoft.com/office/officeart/2005/8/layout/list1"/>
    <dgm:cxn modelId="{08F4E203-EADC-4EDF-96CF-7D952447D5C3}" type="presParOf" srcId="{2550AEAB-2A74-4989-A059-4E96AA7630F5}" destId="{3D23A1FB-A73C-4E30-A330-E50CCFFC9019}" srcOrd="1" destOrd="0" presId="urn:microsoft.com/office/officeart/2005/8/layout/list1"/>
    <dgm:cxn modelId="{FE7A6344-82BD-4BA8-A754-89A598875F39}" type="presParOf" srcId="{2550AEAB-2A74-4989-A059-4E96AA7630F5}" destId="{9DF03ACB-66CC-48CC-B1F9-AC359C00A35C}" srcOrd="2" destOrd="0" presId="urn:microsoft.com/office/officeart/2005/8/layout/list1"/>
    <dgm:cxn modelId="{24F8DD90-8D34-4F60-BFB4-A560065D3B8F}" type="presParOf" srcId="{2550AEAB-2A74-4989-A059-4E96AA7630F5}" destId="{FFF24D39-3E48-42C5-845D-1719021AAFB4}" srcOrd="3" destOrd="0" presId="urn:microsoft.com/office/officeart/2005/8/layout/list1"/>
    <dgm:cxn modelId="{A630796A-175F-49F6-AC92-F33E2E41C168}" type="presParOf" srcId="{2550AEAB-2A74-4989-A059-4E96AA7630F5}" destId="{C9F0C3F6-DBB2-47E5-A7D3-41F02D4AB5F1}" srcOrd="4" destOrd="0" presId="urn:microsoft.com/office/officeart/2005/8/layout/list1"/>
    <dgm:cxn modelId="{59A0E66F-6CBF-4419-8432-D166A390A649}" type="presParOf" srcId="{C9F0C3F6-DBB2-47E5-A7D3-41F02D4AB5F1}" destId="{8712EEB0-1152-4F40-B5C7-3D19D680F7C9}" srcOrd="0" destOrd="0" presId="urn:microsoft.com/office/officeart/2005/8/layout/list1"/>
    <dgm:cxn modelId="{ECEBE59F-5B35-4523-8651-F0E52106FF00}" type="presParOf" srcId="{C9F0C3F6-DBB2-47E5-A7D3-41F02D4AB5F1}" destId="{0A28C65A-7FB6-406F-9B5A-F695F316E3C0}" srcOrd="1" destOrd="0" presId="urn:microsoft.com/office/officeart/2005/8/layout/list1"/>
    <dgm:cxn modelId="{EB98344B-28AF-4DE1-801A-D01F5C15A9B8}" type="presParOf" srcId="{2550AEAB-2A74-4989-A059-4E96AA7630F5}" destId="{B86A71D1-F43D-4B53-BDD1-AED03CD199E9}" srcOrd="5" destOrd="0" presId="urn:microsoft.com/office/officeart/2005/8/layout/list1"/>
    <dgm:cxn modelId="{4E9B3C62-CFD1-4E74-BA82-1418CEF673D7}" type="presParOf" srcId="{2550AEAB-2A74-4989-A059-4E96AA7630F5}" destId="{B34165A5-7E74-4145-9AC3-CDC74F247386}" srcOrd="6" destOrd="0" presId="urn:microsoft.com/office/officeart/2005/8/layout/list1"/>
    <dgm:cxn modelId="{E2C09EB6-84DD-4E52-BF3D-B2F6B71CC722}" type="presParOf" srcId="{2550AEAB-2A74-4989-A059-4E96AA7630F5}" destId="{E31818FD-0C89-444B-B287-5D7ADCE58A83}" srcOrd="7" destOrd="0" presId="urn:microsoft.com/office/officeart/2005/8/layout/list1"/>
    <dgm:cxn modelId="{9CF046A5-99C2-4B74-96E4-58253DF556F7}" type="presParOf" srcId="{2550AEAB-2A74-4989-A059-4E96AA7630F5}" destId="{7A6CC881-02CF-42E9-BFEC-36C72153D2B1}" srcOrd="8" destOrd="0" presId="urn:microsoft.com/office/officeart/2005/8/layout/list1"/>
    <dgm:cxn modelId="{553CBB89-367E-445D-AB8E-005BD18896A0}" type="presParOf" srcId="{7A6CC881-02CF-42E9-BFEC-36C72153D2B1}" destId="{75127867-3500-4DE5-ACDC-9564B2D6D770}" srcOrd="0" destOrd="0" presId="urn:microsoft.com/office/officeart/2005/8/layout/list1"/>
    <dgm:cxn modelId="{330464F6-5ABD-4E8D-A942-41DF432AE1EF}" type="presParOf" srcId="{7A6CC881-02CF-42E9-BFEC-36C72153D2B1}" destId="{22362824-C6FD-4C93-B06A-10305197D407}" srcOrd="1" destOrd="0" presId="urn:microsoft.com/office/officeart/2005/8/layout/list1"/>
    <dgm:cxn modelId="{3B4C86D1-35FC-40C2-BFBE-1F7B330C3BAD}" type="presParOf" srcId="{2550AEAB-2A74-4989-A059-4E96AA7630F5}" destId="{F87EA9E4-2884-4277-A48C-796DCD3C10C6}" srcOrd="9" destOrd="0" presId="urn:microsoft.com/office/officeart/2005/8/layout/list1"/>
    <dgm:cxn modelId="{75F843D6-B646-4C7A-9911-C482FA3D0584}" type="presParOf" srcId="{2550AEAB-2A74-4989-A059-4E96AA7630F5}" destId="{57A23C58-1130-4A37-9455-847F82317C48}" srcOrd="10"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BC2F5308-1E32-4296-9281-BD4A07EB3143}" type="doc">
      <dgm:prSet loTypeId="urn:microsoft.com/office/officeart/2009/3/layout/RandomtoResultProcess" loCatId="process" qsTypeId="urn:microsoft.com/office/officeart/2005/8/quickstyle/simple1" qsCatId="simple" csTypeId="urn:microsoft.com/office/officeart/2005/8/colors/colorful1" csCatId="colorful" phldr="1"/>
      <dgm:spPr/>
      <dgm:t>
        <a:bodyPr/>
        <a:lstStyle/>
        <a:p>
          <a:endParaRPr lang="en-US"/>
        </a:p>
      </dgm:t>
    </dgm:pt>
    <dgm:pt modelId="{A7C0043D-E398-45B8-8AA1-4674413032DF}">
      <dgm:prSet phldrT="[Text]" custT="1"/>
      <dgm:spPr/>
      <dgm:t>
        <a:bodyPr/>
        <a:lstStyle/>
        <a:p>
          <a:r>
            <a:rPr lang="en-US" sz="2300" b="0"/>
            <a:t>Design GUI</a:t>
          </a:r>
        </a:p>
      </dgm:t>
    </dgm:pt>
    <dgm:pt modelId="{812625DF-B9B8-46FE-8A07-35B43C818403}" type="parTrans" cxnId="{B3C96AC8-FFD4-4D32-B6D1-2E29FBFCE2BA}">
      <dgm:prSet/>
      <dgm:spPr/>
      <dgm:t>
        <a:bodyPr/>
        <a:lstStyle/>
        <a:p>
          <a:endParaRPr lang="en-US" sz="2300" b="0"/>
        </a:p>
      </dgm:t>
    </dgm:pt>
    <dgm:pt modelId="{E07D06D6-6BA6-4779-AEB9-970BB1CCF4DB}" type="sibTrans" cxnId="{B3C96AC8-FFD4-4D32-B6D1-2E29FBFCE2BA}">
      <dgm:prSet/>
      <dgm:spPr/>
      <dgm:t>
        <a:bodyPr/>
        <a:lstStyle/>
        <a:p>
          <a:endParaRPr lang="en-US" sz="2300" b="0"/>
        </a:p>
      </dgm:t>
    </dgm:pt>
    <dgm:pt modelId="{B6E57DE7-EE5F-42DD-A4AC-81CB511DE7F1}">
      <dgm:prSet phldrT="[Text]" custT="1"/>
      <dgm:spPr/>
      <dgm:t>
        <a:bodyPr/>
        <a:lstStyle/>
        <a:p>
          <a:r>
            <a:rPr lang="en-US" sz="2300" b="0"/>
            <a:t>Import XAML into PowerShell</a:t>
          </a:r>
        </a:p>
      </dgm:t>
    </dgm:pt>
    <dgm:pt modelId="{84E3083F-9789-4807-BE88-66D6A93B8D01}" type="parTrans" cxnId="{2F4EC5BF-55E2-4D1B-BBD7-1BC7A4655D75}">
      <dgm:prSet/>
      <dgm:spPr/>
      <dgm:t>
        <a:bodyPr/>
        <a:lstStyle/>
        <a:p>
          <a:endParaRPr lang="en-US" sz="2300" b="0"/>
        </a:p>
      </dgm:t>
    </dgm:pt>
    <dgm:pt modelId="{1CE87015-6B53-46D6-A2B6-EF667B3AAE30}" type="sibTrans" cxnId="{2F4EC5BF-55E2-4D1B-BBD7-1BC7A4655D75}">
      <dgm:prSet/>
      <dgm:spPr/>
      <dgm:t>
        <a:bodyPr/>
        <a:lstStyle/>
        <a:p>
          <a:endParaRPr lang="en-US" sz="2300" b="0"/>
        </a:p>
      </dgm:t>
    </dgm:pt>
    <dgm:pt modelId="{D3FF3347-54C9-4D65-A26F-86496D34D79B}">
      <dgm:prSet phldrT="[Text]" custT="1"/>
      <dgm:spPr/>
      <dgm:t>
        <a:bodyPr/>
        <a:lstStyle/>
        <a:p>
          <a:r>
            <a:rPr lang="en-US" sz="2300" b="0"/>
            <a:t>Write </a:t>
          </a:r>
          <a:br>
            <a:rPr lang="en-US" sz="2300" b="0"/>
          </a:br>
          <a:r>
            <a:rPr lang="en-US" sz="2300" b="0"/>
            <a:t>PowerShell code</a:t>
          </a:r>
        </a:p>
      </dgm:t>
    </dgm:pt>
    <dgm:pt modelId="{43855012-86DF-4D14-845A-8C3F791AE8BB}" type="parTrans" cxnId="{43279362-C596-4653-8D3E-630E38412391}">
      <dgm:prSet/>
      <dgm:spPr/>
      <dgm:t>
        <a:bodyPr/>
        <a:lstStyle/>
        <a:p>
          <a:endParaRPr lang="en-US" sz="2300" b="0"/>
        </a:p>
      </dgm:t>
    </dgm:pt>
    <dgm:pt modelId="{7172EFCC-A4DD-49F7-AAE5-ED4975E14562}" type="sibTrans" cxnId="{43279362-C596-4653-8D3E-630E38412391}">
      <dgm:prSet/>
      <dgm:spPr/>
      <dgm:t>
        <a:bodyPr/>
        <a:lstStyle/>
        <a:p>
          <a:endParaRPr lang="en-US" sz="2300" b="0"/>
        </a:p>
      </dgm:t>
    </dgm:pt>
    <dgm:pt modelId="{9FFC5A33-FFE0-4860-9FB7-6413A15C2B73}">
      <dgm:prSet phldrT="[Text]" custT="1">
        <dgm:style>
          <a:lnRef idx="2">
            <a:schemeClr val="accent4"/>
          </a:lnRef>
          <a:fillRef idx="1">
            <a:schemeClr val="lt1"/>
          </a:fillRef>
          <a:effectRef idx="0">
            <a:schemeClr val="accent4"/>
          </a:effectRef>
          <a:fontRef idx="minor">
            <a:schemeClr val="dk1"/>
          </a:fontRef>
        </dgm:style>
      </dgm:prSet>
      <dgm:spPr/>
      <dgm:t>
        <a:bodyPr/>
        <a:lstStyle/>
        <a:p>
          <a:r>
            <a:rPr lang="en-US" sz="2300" b="0"/>
            <a:t>Display GUI</a:t>
          </a:r>
        </a:p>
      </dgm:t>
    </dgm:pt>
    <dgm:pt modelId="{3C641BBB-D5BB-4BBF-9049-751FD2CA6779}" type="parTrans" cxnId="{1393B8E9-EC09-43E3-B34C-8C5C4F724FDC}">
      <dgm:prSet/>
      <dgm:spPr/>
      <dgm:t>
        <a:bodyPr/>
        <a:lstStyle/>
        <a:p>
          <a:endParaRPr lang="en-US" sz="2300" b="0"/>
        </a:p>
      </dgm:t>
    </dgm:pt>
    <dgm:pt modelId="{F0A72088-CD78-402A-A2E1-E01011563472}" type="sibTrans" cxnId="{1393B8E9-EC09-43E3-B34C-8C5C4F724FDC}">
      <dgm:prSet/>
      <dgm:spPr/>
      <dgm:t>
        <a:bodyPr/>
        <a:lstStyle/>
        <a:p>
          <a:endParaRPr lang="en-US" sz="2300" b="0"/>
        </a:p>
      </dgm:t>
    </dgm:pt>
    <dgm:pt modelId="{BB957DA6-D7AE-452C-B9E8-664A42B7BBD1}" type="pres">
      <dgm:prSet presAssocID="{BC2F5308-1E32-4296-9281-BD4A07EB3143}" presName="Name0" presStyleCnt="0">
        <dgm:presLayoutVars>
          <dgm:dir/>
          <dgm:animOne val="branch"/>
          <dgm:animLvl val="lvl"/>
        </dgm:presLayoutVars>
      </dgm:prSet>
      <dgm:spPr/>
    </dgm:pt>
    <dgm:pt modelId="{B4888638-21F9-41B7-B59F-1C985C17C1BF}" type="pres">
      <dgm:prSet presAssocID="{A7C0043D-E398-45B8-8AA1-4674413032DF}" presName="chaos" presStyleCnt="0"/>
      <dgm:spPr/>
    </dgm:pt>
    <dgm:pt modelId="{9E33710C-240D-45CF-BA5D-2504087F96E3}" type="pres">
      <dgm:prSet presAssocID="{A7C0043D-E398-45B8-8AA1-4674413032DF}" presName="parTx1" presStyleLbl="revTx" presStyleIdx="0" presStyleCnt="3"/>
      <dgm:spPr/>
    </dgm:pt>
    <dgm:pt modelId="{012A5B0F-909B-45AE-A84B-39127D3959A5}" type="pres">
      <dgm:prSet presAssocID="{A7C0043D-E398-45B8-8AA1-4674413032DF}" presName="c1" presStyleLbl="node1" presStyleIdx="0" presStyleCnt="19"/>
      <dgm:spPr/>
    </dgm:pt>
    <dgm:pt modelId="{FD2A7030-B6F7-4B85-9A8E-8806C28B265A}" type="pres">
      <dgm:prSet presAssocID="{A7C0043D-E398-45B8-8AA1-4674413032DF}" presName="c2" presStyleLbl="node1" presStyleIdx="1" presStyleCnt="19"/>
      <dgm:spPr/>
    </dgm:pt>
    <dgm:pt modelId="{BE1288F5-61A7-4478-AB1C-7972A364DCFC}" type="pres">
      <dgm:prSet presAssocID="{A7C0043D-E398-45B8-8AA1-4674413032DF}" presName="c3" presStyleLbl="node1" presStyleIdx="2" presStyleCnt="19"/>
      <dgm:spPr/>
    </dgm:pt>
    <dgm:pt modelId="{513425C6-6AD5-4D61-B4D6-BD137861BC04}" type="pres">
      <dgm:prSet presAssocID="{A7C0043D-E398-45B8-8AA1-4674413032DF}" presName="c4" presStyleLbl="node1" presStyleIdx="3" presStyleCnt="19"/>
      <dgm:spPr/>
    </dgm:pt>
    <dgm:pt modelId="{7AFFC669-4447-4E2E-943A-0C92612CE083}" type="pres">
      <dgm:prSet presAssocID="{A7C0043D-E398-45B8-8AA1-4674413032DF}" presName="c5" presStyleLbl="node1" presStyleIdx="4" presStyleCnt="19"/>
      <dgm:spPr/>
    </dgm:pt>
    <dgm:pt modelId="{2E0F8663-21D7-42EF-9535-FA2C103DAC7E}" type="pres">
      <dgm:prSet presAssocID="{A7C0043D-E398-45B8-8AA1-4674413032DF}" presName="c6" presStyleLbl="node1" presStyleIdx="5" presStyleCnt="19"/>
      <dgm:spPr/>
    </dgm:pt>
    <dgm:pt modelId="{DC5F899D-BA35-438F-BBB6-13C531C357BD}" type="pres">
      <dgm:prSet presAssocID="{A7C0043D-E398-45B8-8AA1-4674413032DF}" presName="c7" presStyleLbl="node1" presStyleIdx="6" presStyleCnt="19"/>
      <dgm:spPr/>
    </dgm:pt>
    <dgm:pt modelId="{02561056-6823-4886-8BB7-2B96580B2A95}" type="pres">
      <dgm:prSet presAssocID="{A7C0043D-E398-45B8-8AA1-4674413032DF}" presName="c8" presStyleLbl="node1" presStyleIdx="7" presStyleCnt="19"/>
      <dgm:spPr/>
    </dgm:pt>
    <dgm:pt modelId="{21FB6173-AA81-410F-A424-C07AD59E2DD4}" type="pres">
      <dgm:prSet presAssocID="{A7C0043D-E398-45B8-8AA1-4674413032DF}" presName="c9" presStyleLbl="node1" presStyleIdx="8" presStyleCnt="19"/>
      <dgm:spPr/>
    </dgm:pt>
    <dgm:pt modelId="{85A81B85-F7F9-469E-9730-E4B217E1F41B}" type="pres">
      <dgm:prSet presAssocID="{A7C0043D-E398-45B8-8AA1-4674413032DF}" presName="c10" presStyleLbl="node1" presStyleIdx="9" presStyleCnt="19"/>
      <dgm:spPr/>
    </dgm:pt>
    <dgm:pt modelId="{294DB1CF-006B-4B73-9D1A-5CC0B9C70B77}" type="pres">
      <dgm:prSet presAssocID="{A7C0043D-E398-45B8-8AA1-4674413032DF}" presName="c11" presStyleLbl="node1" presStyleIdx="10" presStyleCnt="19"/>
      <dgm:spPr/>
    </dgm:pt>
    <dgm:pt modelId="{48DC6BA4-3BB2-4A67-8C70-AE66E3448F5D}" type="pres">
      <dgm:prSet presAssocID="{A7C0043D-E398-45B8-8AA1-4674413032DF}" presName="c12" presStyleLbl="node1" presStyleIdx="11" presStyleCnt="19"/>
      <dgm:spPr/>
    </dgm:pt>
    <dgm:pt modelId="{57A9F703-207F-4EAB-93CE-4A6D5258BAA7}" type="pres">
      <dgm:prSet presAssocID="{A7C0043D-E398-45B8-8AA1-4674413032DF}" presName="c13" presStyleLbl="node1" presStyleIdx="12" presStyleCnt="19"/>
      <dgm:spPr/>
    </dgm:pt>
    <dgm:pt modelId="{20CC1123-33FD-43CF-96CB-A4DC2313B21F}" type="pres">
      <dgm:prSet presAssocID="{A7C0043D-E398-45B8-8AA1-4674413032DF}" presName="c14" presStyleLbl="node1" presStyleIdx="13" presStyleCnt="19"/>
      <dgm:spPr/>
    </dgm:pt>
    <dgm:pt modelId="{ABE6CEDA-73F7-42E8-B2B0-8EFCBDCD866C}" type="pres">
      <dgm:prSet presAssocID="{A7C0043D-E398-45B8-8AA1-4674413032DF}" presName="c15" presStyleLbl="node1" presStyleIdx="14" presStyleCnt="19"/>
      <dgm:spPr/>
    </dgm:pt>
    <dgm:pt modelId="{DF9ECFE0-344B-4627-89AB-F77EB7C388FE}" type="pres">
      <dgm:prSet presAssocID="{A7C0043D-E398-45B8-8AA1-4674413032DF}" presName="c16" presStyleLbl="node1" presStyleIdx="15" presStyleCnt="19"/>
      <dgm:spPr/>
    </dgm:pt>
    <dgm:pt modelId="{B7C93ED8-B35D-4068-BD5A-271FD6ACE267}" type="pres">
      <dgm:prSet presAssocID="{A7C0043D-E398-45B8-8AA1-4674413032DF}" presName="c17" presStyleLbl="node1" presStyleIdx="16" presStyleCnt="19"/>
      <dgm:spPr/>
    </dgm:pt>
    <dgm:pt modelId="{BDD4D1C9-FEB1-41DB-91E4-B4B4A7D607CC}" type="pres">
      <dgm:prSet presAssocID="{A7C0043D-E398-45B8-8AA1-4674413032DF}" presName="c18" presStyleLbl="node1" presStyleIdx="17" presStyleCnt="19"/>
      <dgm:spPr/>
    </dgm:pt>
    <dgm:pt modelId="{70FF9202-3FA2-4576-9257-2E9C33802E7B}" type="pres">
      <dgm:prSet presAssocID="{E07D06D6-6BA6-4779-AEB9-970BB1CCF4DB}" presName="chevronComposite1" presStyleCnt="0"/>
      <dgm:spPr/>
    </dgm:pt>
    <dgm:pt modelId="{5C0C7AA2-F75A-4363-87CF-31A03F61554C}" type="pres">
      <dgm:prSet presAssocID="{E07D06D6-6BA6-4779-AEB9-970BB1CCF4DB}" presName="chevron1" presStyleLbl="sibTrans2D1" presStyleIdx="0" presStyleCnt="3"/>
      <dgm:spPr/>
    </dgm:pt>
    <dgm:pt modelId="{891F780C-2435-44B4-8F69-155173ABEA61}" type="pres">
      <dgm:prSet presAssocID="{E07D06D6-6BA6-4779-AEB9-970BB1CCF4DB}" presName="spChevron1" presStyleCnt="0"/>
      <dgm:spPr/>
    </dgm:pt>
    <dgm:pt modelId="{7A52C355-2D79-4374-B960-1AA9ECAD5A05}" type="pres">
      <dgm:prSet presAssocID="{B6E57DE7-EE5F-42DD-A4AC-81CB511DE7F1}" presName="middle" presStyleCnt="0"/>
      <dgm:spPr/>
    </dgm:pt>
    <dgm:pt modelId="{6E09DEDE-47E1-46A9-8FEA-CFEFA0114840}" type="pres">
      <dgm:prSet presAssocID="{B6E57DE7-EE5F-42DD-A4AC-81CB511DE7F1}" presName="parTxMid" presStyleLbl="revTx" presStyleIdx="1" presStyleCnt="3"/>
      <dgm:spPr/>
    </dgm:pt>
    <dgm:pt modelId="{EE86E294-7A2D-4878-9812-D01BF5786EB7}" type="pres">
      <dgm:prSet presAssocID="{B6E57DE7-EE5F-42DD-A4AC-81CB511DE7F1}" presName="spMid" presStyleCnt="0"/>
      <dgm:spPr/>
    </dgm:pt>
    <dgm:pt modelId="{3B8AC7C2-E8F5-47AD-A4C9-A9B96622BC24}" type="pres">
      <dgm:prSet presAssocID="{1CE87015-6B53-46D6-A2B6-EF667B3AAE30}" presName="chevronComposite1" presStyleCnt="0"/>
      <dgm:spPr/>
    </dgm:pt>
    <dgm:pt modelId="{F23511A9-30C7-4455-9A00-960B009AB94B}" type="pres">
      <dgm:prSet presAssocID="{1CE87015-6B53-46D6-A2B6-EF667B3AAE30}" presName="chevron1" presStyleLbl="sibTrans2D1" presStyleIdx="1" presStyleCnt="3"/>
      <dgm:spPr/>
    </dgm:pt>
    <dgm:pt modelId="{FA0D29B1-0397-4A8D-B20E-E3E3E8ECEDBB}" type="pres">
      <dgm:prSet presAssocID="{1CE87015-6B53-46D6-A2B6-EF667B3AAE30}" presName="spChevron1" presStyleCnt="0"/>
      <dgm:spPr/>
    </dgm:pt>
    <dgm:pt modelId="{0FE042D4-17DC-4D15-8C88-CF4CE73DAE79}" type="pres">
      <dgm:prSet presAssocID="{D3FF3347-54C9-4D65-A26F-86496D34D79B}" presName="middle" presStyleCnt="0"/>
      <dgm:spPr/>
    </dgm:pt>
    <dgm:pt modelId="{7B5D0295-DECF-44B2-9F3D-7E24410EE119}" type="pres">
      <dgm:prSet presAssocID="{D3FF3347-54C9-4D65-A26F-86496D34D79B}" presName="parTxMid" presStyleLbl="revTx" presStyleIdx="2" presStyleCnt="3" custScaleX="108688"/>
      <dgm:spPr/>
    </dgm:pt>
    <dgm:pt modelId="{59AC4D3E-7C4E-4049-A299-5BEBDA485FFF}" type="pres">
      <dgm:prSet presAssocID="{D3FF3347-54C9-4D65-A26F-86496D34D79B}" presName="spMid" presStyleCnt="0"/>
      <dgm:spPr/>
    </dgm:pt>
    <dgm:pt modelId="{C248813B-F2B0-4C56-AF81-B54C8D469B7E}" type="pres">
      <dgm:prSet presAssocID="{7172EFCC-A4DD-49F7-AAE5-ED4975E14562}" presName="chevronComposite1" presStyleCnt="0"/>
      <dgm:spPr/>
    </dgm:pt>
    <dgm:pt modelId="{3C0AE4DB-96B2-496A-AA47-5EF653878DD8}" type="pres">
      <dgm:prSet presAssocID="{7172EFCC-A4DD-49F7-AAE5-ED4975E14562}" presName="chevron1" presStyleLbl="sibTrans2D1" presStyleIdx="2" presStyleCnt="3"/>
      <dgm:spPr/>
    </dgm:pt>
    <dgm:pt modelId="{17D815B7-0930-45A9-8FD8-C3E4E4DA9206}" type="pres">
      <dgm:prSet presAssocID="{7172EFCC-A4DD-49F7-AAE5-ED4975E14562}" presName="spChevron1" presStyleCnt="0"/>
      <dgm:spPr/>
    </dgm:pt>
    <dgm:pt modelId="{B6D44D93-8263-4B6E-9B8A-A650C77FA4D4}" type="pres">
      <dgm:prSet presAssocID="{9FFC5A33-FFE0-4860-9FB7-6413A15C2B73}" presName="last" presStyleCnt="0"/>
      <dgm:spPr/>
    </dgm:pt>
    <dgm:pt modelId="{04A8BF7E-6D36-4A8D-8F7C-896687294A81}" type="pres">
      <dgm:prSet presAssocID="{9FFC5A33-FFE0-4860-9FB7-6413A15C2B73}" presName="circleTx" presStyleLbl="node1" presStyleIdx="18" presStyleCnt="19" custScaleX="111303" custScaleY="78647" custLinFactNeighborX="2048"/>
      <dgm:spPr>
        <a:prstGeom prst="cloud">
          <a:avLst/>
        </a:prstGeom>
      </dgm:spPr>
    </dgm:pt>
    <dgm:pt modelId="{BB661986-D212-4AFF-80D7-41D6B39F6BB2}" type="pres">
      <dgm:prSet presAssocID="{9FFC5A33-FFE0-4860-9FB7-6413A15C2B73}" presName="spN" presStyleCnt="0"/>
      <dgm:spPr/>
    </dgm:pt>
  </dgm:ptLst>
  <dgm:cxnLst>
    <dgm:cxn modelId="{A2457E39-C36B-4F9D-A529-16D86B91EFBF}" type="presOf" srcId="{A7C0043D-E398-45B8-8AA1-4674413032DF}" destId="{9E33710C-240D-45CF-BA5D-2504087F96E3}" srcOrd="0" destOrd="0" presId="urn:microsoft.com/office/officeart/2009/3/layout/RandomtoResultProcess"/>
    <dgm:cxn modelId="{43279362-C596-4653-8D3E-630E38412391}" srcId="{BC2F5308-1E32-4296-9281-BD4A07EB3143}" destId="{D3FF3347-54C9-4D65-A26F-86496D34D79B}" srcOrd="2" destOrd="0" parTransId="{43855012-86DF-4D14-845A-8C3F791AE8BB}" sibTransId="{7172EFCC-A4DD-49F7-AAE5-ED4975E14562}"/>
    <dgm:cxn modelId="{3893B188-42A7-4CFC-9838-8FEA07FE4EEA}" type="presOf" srcId="{B6E57DE7-EE5F-42DD-A4AC-81CB511DE7F1}" destId="{6E09DEDE-47E1-46A9-8FEA-CFEFA0114840}" srcOrd="0" destOrd="0" presId="urn:microsoft.com/office/officeart/2009/3/layout/RandomtoResultProcess"/>
    <dgm:cxn modelId="{2F4EC5BF-55E2-4D1B-BBD7-1BC7A4655D75}" srcId="{BC2F5308-1E32-4296-9281-BD4A07EB3143}" destId="{B6E57DE7-EE5F-42DD-A4AC-81CB511DE7F1}" srcOrd="1" destOrd="0" parTransId="{84E3083F-9789-4807-BE88-66D6A93B8D01}" sibTransId="{1CE87015-6B53-46D6-A2B6-EF667B3AAE30}"/>
    <dgm:cxn modelId="{5EFF12C0-0038-4F3B-A614-D63052325644}" type="presOf" srcId="{BC2F5308-1E32-4296-9281-BD4A07EB3143}" destId="{BB957DA6-D7AE-452C-B9E8-664A42B7BBD1}" srcOrd="0" destOrd="0" presId="urn:microsoft.com/office/officeart/2009/3/layout/RandomtoResultProcess"/>
    <dgm:cxn modelId="{B3C96AC8-FFD4-4D32-B6D1-2E29FBFCE2BA}" srcId="{BC2F5308-1E32-4296-9281-BD4A07EB3143}" destId="{A7C0043D-E398-45B8-8AA1-4674413032DF}" srcOrd="0" destOrd="0" parTransId="{812625DF-B9B8-46FE-8A07-35B43C818403}" sibTransId="{E07D06D6-6BA6-4779-AEB9-970BB1CCF4DB}"/>
    <dgm:cxn modelId="{A0A61CCF-1D68-4E47-A47E-F92C4937633C}" type="presOf" srcId="{9FFC5A33-FFE0-4860-9FB7-6413A15C2B73}" destId="{04A8BF7E-6D36-4A8D-8F7C-896687294A81}" srcOrd="0" destOrd="0" presId="urn:microsoft.com/office/officeart/2009/3/layout/RandomtoResultProcess"/>
    <dgm:cxn modelId="{CEA822E8-B207-454D-8946-54110A13B67D}" type="presOf" srcId="{D3FF3347-54C9-4D65-A26F-86496D34D79B}" destId="{7B5D0295-DECF-44B2-9F3D-7E24410EE119}" srcOrd="0" destOrd="0" presId="urn:microsoft.com/office/officeart/2009/3/layout/RandomtoResultProcess"/>
    <dgm:cxn modelId="{1393B8E9-EC09-43E3-B34C-8C5C4F724FDC}" srcId="{BC2F5308-1E32-4296-9281-BD4A07EB3143}" destId="{9FFC5A33-FFE0-4860-9FB7-6413A15C2B73}" srcOrd="3" destOrd="0" parTransId="{3C641BBB-D5BB-4BBF-9049-751FD2CA6779}" sibTransId="{F0A72088-CD78-402A-A2E1-E01011563472}"/>
    <dgm:cxn modelId="{657625E4-2E3A-40D2-AB13-A30A7F3962EB}" type="presParOf" srcId="{BB957DA6-D7AE-452C-B9E8-664A42B7BBD1}" destId="{B4888638-21F9-41B7-B59F-1C985C17C1BF}" srcOrd="0" destOrd="0" presId="urn:microsoft.com/office/officeart/2009/3/layout/RandomtoResultProcess"/>
    <dgm:cxn modelId="{2236994E-F2FD-4B51-B5B9-B79BEB5001D1}" type="presParOf" srcId="{B4888638-21F9-41B7-B59F-1C985C17C1BF}" destId="{9E33710C-240D-45CF-BA5D-2504087F96E3}" srcOrd="0" destOrd="0" presId="urn:microsoft.com/office/officeart/2009/3/layout/RandomtoResultProcess"/>
    <dgm:cxn modelId="{B7BCD629-1298-463A-A27D-314F968392A2}" type="presParOf" srcId="{B4888638-21F9-41B7-B59F-1C985C17C1BF}" destId="{012A5B0F-909B-45AE-A84B-39127D3959A5}" srcOrd="1" destOrd="0" presId="urn:microsoft.com/office/officeart/2009/3/layout/RandomtoResultProcess"/>
    <dgm:cxn modelId="{DA32594C-1F75-4CF7-A8C4-342E36AF218C}" type="presParOf" srcId="{B4888638-21F9-41B7-B59F-1C985C17C1BF}" destId="{FD2A7030-B6F7-4B85-9A8E-8806C28B265A}" srcOrd="2" destOrd="0" presId="urn:microsoft.com/office/officeart/2009/3/layout/RandomtoResultProcess"/>
    <dgm:cxn modelId="{1F6D0FE2-A0DD-4C63-976F-8D7E0D6E3DED}" type="presParOf" srcId="{B4888638-21F9-41B7-B59F-1C985C17C1BF}" destId="{BE1288F5-61A7-4478-AB1C-7972A364DCFC}" srcOrd="3" destOrd="0" presId="urn:microsoft.com/office/officeart/2009/3/layout/RandomtoResultProcess"/>
    <dgm:cxn modelId="{492E4112-6A67-4CB5-A0F2-7779B2862EF1}" type="presParOf" srcId="{B4888638-21F9-41B7-B59F-1C985C17C1BF}" destId="{513425C6-6AD5-4D61-B4D6-BD137861BC04}" srcOrd="4" destOrd="0" presId="urn:microsoft.com/office/officeart/2009/3/layout/RandomtoResultProcess"/>
    <dgm:cxn modelId="{D8C8742B-79A8-48C6-B7A8-FFA8976CD906}" type="presParOf" srcId="{B4888638-21F9-41B7-B59F-1C985C17C1BF}" destId="{7AFFC669-4447-4E2E-943A-0C92612CE083}" srcOrd="5" destOrd="0" presId="urn:microsoft.com/office/officeart/2009/3/layout/RandomtoResultProcess"/>
    <dgm:cxn modelId="{D0B0F637-2099-4251-A9F8-6FC16AD223A6}" type="presParOf" srcId="{B4888638-21F9-41B7-B59F-1C985C17C1BF}" destId="{2E0F8663-21D7-42EF-9535-FA2C103DAC7E}" srcOrd="6" destOrd="0" presId="urn:microsoft.com/office/officeart/2009/3/layout/RandomtoResultProcess"/>
    <dgm:cxn modelId="{5B9D1650-FADE-4D54-A084-0CFB36170687}" type="presParOf" srcId="{B4888638-21F9-41B7-B59F-1C985C17C1BF}" destId="{DC5F899D-BA35-438F-BBB6-13C531C357BD}" srcOrd="7" destOrd="0" presId="urn:microsoft.com/office/officeart/2009/3/layout/RandomtoResultProcess"/>
    <dgm:cxn modelId="{828C76FF-63F3-47F7-B97C-03ACD407B10A}" type="presParOf" srcId="{B4888638-21F9-41B7-B59F-1C985C17C1BF}" destId="{02561056-6823-4886-8BB7-2B96580B2A95}" srcOrd="8" destOrd="0" presId="urn:microsoft.com/office/officeart/2009/3/layout/RandomtoResultProcess"/>
    <dgm:cxn modelId="{28FC9B19-EF6B-4FC9-B7DE-119E827296C5}" type="presParOf" srcId="{B4888638-21F9-41B7-B59F-1C985C17C1BF}" destId="{21FB6173-AA81-410F-A424-C07AD59E2DD4}" srcOrd="9" destOrd="0" presId="urn:microsoft.com/office/officeart/2009/3/layout/RandomtoResultProcess"/>
    <dgm:cxn modelId="{B5605242-98DF-487D-BC74-E4C1FF959520}" type="presParOf" srcId="{B4888638-21F9-41B7-B59F-1C985C17C1BF}" destId="{85A81B85-F7F9-469E-9730-E4B217E1F41B}" srcOrd="10" destOrd="0" presId="urn:microsoft.com/office/officeart/2009/3/layout/RandomtoResultProcess"/>
    <dgm:cxn modelId="{C40CDF20-CB99-4963-9654-09F585EFEEF4}" type="presParOf" srcId="{B4888638-21F9-41B7-B59F-1C985C17C1BF}" destId="{294DB1CF-006B-4B73-9D1A-5CC0B9C70B77}" srcOrd="11" destOrd="0" presId="urn:microsoft.com/office/officeart/2009/3/layout/RandomtoResultProcess"/>
    <dgm:cxn modelId="{77DC7D58-5661-4240-ADB6-425850323EF9}" type="presParOf" srcId="{B4888638-21F9-41B7-B59F-1C985C17C1BF}" destId="{48DC6BA4-3BB2-4A67-8C70-AE66E3448F5D}" srcOrd="12" destOrd="0" presId="urn:microsoft.com/office/officeart/2009/3/layout/RandomtoResultProcess"/>
    <dgm:cxn modelId="{C4AE5EAA-4497-401E-8898-72905454D52E}" type="presParOf" srcId="{B4888638-21F9-41B7-B59F-1C985C17C1BF}" destId="{57A9F703-207F-4EAB-93CE-4A6D5258BAA7}" srcOrd="13" destOrd="0" presId="urn:microsoft.com/office/officeart/2009/3/layout/RandomtoResultProcess"/>
    <dgm:cxn modelId="{95D75506-D49A-4A2D-A0C2-827B1B2CA90F}" type="presParOf" srcId="{B4888638-21F9-41B7-B59F-1C985C17C1BF}" destId="{20CC1123-33FD-43CF-96CB-A4DC2313B21F}" srcOrd="14" destOrd="0" presId="urn:microsoft.com/office/officeart/2009/3/layout/RandomtoResultProcess"/>
    <dgm:cxn modelId="{A93426B2-FE9A-4558-AF92-4528AF1C2A10}" type="presParOf" srcId="{B4888638-21F9-41B7-B59F-1C985C17C1BF}" destId="{ABE6CEDA-73F7-42E8-B2B0-8EFCBDCD866C}" srcOrd="15" destOrd="0" presId="urn:microsoft.com/office/officeart/2009/3/layout/RandomtoResultProcess"/>
    <dgm:cxn modelId="{AC3805A3-D8C4-4DDF-8740-4F6BF5EC3750}" type="presParOf" srcId="{B4888638-21F9-41B7-B59F-1C985C17C1BF}" destId="{DF9ECFE0-344B-4627-89AB-F77EB7C388FE}" srcOrd="16" destOrd="0" presId="urn:microsoft.com/office/officeart/2009/3/layout/RandomtoResultProcess"/>
    <dgm:cxn modelId="{68B79AFC-FAE5-4285-8C2C-9CE38DC86162}" type="presParOf" srcId="{B4888638-21F9-41B7-B59F-1C985C17C1BF}" destId="{B7C93ED8-B35D-4068-BD5A-271FD6ACE267}" srcOrd="17" destOrd="0" presId="urn:microsoft.com/office/officeart/2009/3/layout/RandomtoResultProcess"/>
    <dgm:cxn modelId="{56D403A4-78C2-4178-BD92-2C500FFADF0D}" type="presParOf" srcId="{B4888638-21F9-41B7-B59F-1C985C17C1BF}" destId="{BDD4D1C9-FEB1-41DB-91E4-B4B4A7D607CC}" srcOrd="18" destOrd="0" presId="urn:microsoft.com/office/officeart/2009/3/layout/RandomtoResultProcess"/>
    <dgm:cxn modelId="{23D6F5DE-B27C-459C-BF10-C0FA1115AE1A}" type="presParOf" srcId="{BB957DA6-D7AE-452C-B9E8-664A42B7BBD1}" destId="{70FF9202-3FA2-4576-9257-2E9C33802E7B}" srcOrd="1" destOrd="0" presId="urn:microsoft.com/office/officeart/2009/3/layout/RandomtoResultProcess"/>
    <dgm:cxn modelId="{CFC5E833-EC7D-4F42-A19A-329E59D20FF4}" type="presParOf" srcId="{70FF9202-3FA2-4576-9257-2E9C33802E7B}" destId="{5C0C7AA2-F75A-4363-87CF-31A03F61554C}" srcOrd="0" destOrd="0" presId="urn:microsoft.com/office/officeart/2009/3/layout/RandomtoResultProcess"/>
    <dgm:cxn modelId="{34EC6E5C-2E69-4393-9BA7-728F585F9DF7}" type="presParOf" srcId="{70FF9202-3FA2-4576-9257-2E9C33802E7B}" destId="{891F780C-2435-44B4-8F69-155173ABEA61}" srcOrd="1" destOrd="0" presId="urn:microsoft.com/office/officeart/2009/3/layout/RandomtoResultProcess"/>
    <dgm:cxn modelId="{9375DFFB-BD81-48FE-848A-6590C18273A4}" type="presParOf" srcId="{BB957DA6-D7AE-452C-B9E8-664A42B7BBD1}" destId="{7A52C355-2D79-4374-B960-1AA9ECAD5A05}" srcOrd="2" destOrd="0" presId="urn:microsoft.com/office/officeart/2009/3/layout/RandomtoResultProcess"/>
    <dgm:cxn modelId="{5DF71EC0-7320-4D67-980D-FFF7497435BD}" type="presParOf" srcId="{7A52C355-2D79-4374-B960-1AA9ECAD5A05}" destId="{6E09DEDE-47E1-46A9-8FEA-CFEFA0114840}" srcOrd="0" destOrd="0" presId="urn:microsoft.com/office/officeart/2009/3/layout/RandomtoResultProcess"/>
    <dgm:cxn modelId="{7B6877DC-DAD2-4C93-8DD5-D421630DCBDC}" type="presParOf" srcId="{7A52C355-2D79-4374-B960-1AA9ECAD5A05}" destId="{EE86E294-7A2D-4878-9812-D01BF5786EB7}" srcOrd="1" destOrd="0" presId="urn:microsoft.com/office/officeart/2009/3/layout/RandomtoResultProcess"/>
    <dgm:cxn modelId="{D5310195-35C9-4869-93B1-8FB569A4389E}" type="presParOf" srcId="{BB957DA6-D7AE-452C-B9E8-664A42B7BBD1}" destId="{3B8AC7C2-E8F5-47AD-A4C9-A9B96622BC24}" srcOrd="3" destOrd="0" presId="urn:microsoft.com/office/officeart/2009/3/layout/RandomtoResultProcess"/>
    <dgm:cxn modelId="{D7D414F0-919E-4C19-94A4-93135E87477B}" type="presParOf" srcId="{3B8AC7C2-E8F5-47AD-A4C9-A9B96622BC24}" destId="{F23511A9-30C7-4455-9A00-960B009AB94B}" srcOrd="0" destOrd="0" presId="urn:microsoft.com/office/officeart/2009/3/layout/RandomtoResultProcess"/>
    <dgm:cxn modelId="{0D7CCA5E-64A2-44D8-AAA7-7D1467A5B03D}" type="presParOf" srcId="{3B8AC7C2-E8F5-47AD-A4C9-A9B96622BC24}" destId="{FA0D29B1-0397-4A8D-B20E-E3E3E8ECEDBB}" srcOrd="1" destOrd="0" presId="urn:microsoft.com/office/officeart/2009/3/layout/RandomtoResultProcess"/>
    <dgm:cxn modelId="{4B371303-EE0F-4393-985B-3834A8F66EF9}" type="presParOf" srcId="{BB957DA6-D7AE-452C-B9E8-664A42B7BBD1}" destId="{0FE042D4-17DC-4D15-8C88-CF4CE73DAE79}" srcOrd="4" destOrd="0" presId="urn:microsoft.com/office/officeart/2009/3/layout/RandomtoResultProcess"/>
    <dgm:cxn modelId="{DB1BCFA6-5B24-4717-9112-01DF541227D1}" type="presParOf" srcId="{0FE042D4-17DC-4D15-8C88-CF4CE73DAE79}" destId="{7B5D0295-DECF-44B2-9F3D-7E24410EE119}" srcOrd="0" destOrd="0" presId="urn:microsoft.com/office/officeart/2009/3/layout/RandomtoResultProcess"/>
    <dgm:cxn modelId="{B6B5802E-382A-4612-92E8-2E2CA0DA8A47}" type="presParOf" srcId="{0FE042D4-17DC-4D15-8C88-CF4CE73DAE79}" destId="{59AC4D3E-7C4E-4049-A299-5BEBDA485FFF}" srcOrd="1" destOrd="0" presId="urn:microsoft.com/office/officeart/2009/3/layout/RandomtoResultProcess"/>
    <dgm:cxn modelId="{92C53974-DD96-4E35-B8CE-A57F1592EB2F}" type="presParOf" srcId="{BB957DA6-D7AE-452C-B9E8-664A42B7BBD1}" destId="{C248813B-F2B0-4C56-AF81-B54C8D469B7E}" srcOrd="5" destOrd="0" presId="urn:microsoft.com/office/officeart/2009/3/layout/RandomtoResultProcess"/>
    <dgm:cxn modelId="{747CAE47-34AE-40C5-A16B-CF20290454F7}" type="presParOf" srcId="{C248813B-F2B0-4C56-AF81-B54C8D469B7E}" destId="{3C0AE4DB-96B2-496A-AA47-5EF653878DD8}" srcOrd="0" destOrd="0" presId="urn:microsoft.com/office/officeart/2009/3/layout/RandomtoResultProcess"/>
    <dgm:cxn modelId="{F5939EDE-8989-4A08-A452-B0B83FF56847}" type="presParOf" srcId="{C248813B-F2B0-4C56-AF81-B54C8D469B7E}" destId="{17D815B7-0930-45A9-8FD8-C3E4E4DA9206}" srcOrd="1" destOrd="0" presId="urn:microsoft.com/office/officeart/2009/3/layout/RandomtoResultProcess"/>
    <dgm:cxn modelId="{FDD7AE4C-3715-4A23-A291-A539576DFF0D}" type="presParOf" srcId="{BB957DA6-D7AE-452C-B9E8-664A42B7BBD1}" destId="{B6D44D93-8263-4B6E-9B8A-A650C77FA4D4}" srcOrd="6" destOrd="0" presId="urn:microsoft.com/office/officeart/2009/3/layout/RandomtoResultProcess"/>
    <dgm:cxn modelId="{E7E1FF60-7437-4100-86AB-CF08E6B271AC}" type="presParOf" srcId="{B6D44D93-8263-4B6E-9B8A-A650C77FA4D4}" destId="{04A8BF7E-6D36-4A8D-8F7C-896687294A81}" srcOrd="0" destOrd="0" presId="urn:microsoft.com/office/officeart/2009/3/layout/RandomtoResultProcess"/>
    <dgm:cxn modelId="{668CA125-CE38-472D-AAF4-9D1F52509DF1}" type="presParOf" srcId="{B6D44D93-8263-4B6E-9B8A-A650C77FA4D4}" destId="{BB661986-D212-4AFF-80D7-41D6B39F6BB2}" srcOrd="1" destOrd="0" presId="urn:microsoft.com/office/officeart/2009/3/layout/RandomtoResult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A21C493B-C58A-4736-8E45-9262AF6BAE8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7926A2FE-6CD8-40EA-B521-64E416332CDB}">
      <dgm:prSet phldrT="[Text]" custT="1"/>
      <dgm:spPr/>
      <dgm:t>
        <a:bodyPr/>
        <a:lstStyle/>
        <a:p>
          <a:r>
            <a:rPr lang="en-US" sz="2800" b="1"/>
            <a:t>Name</a:t>
          </a:r>
          <a:r>
            <a:rPr lang="en-US" sz="2800"/>
            <a:t> </a:t>
          </a:r>
          <a:r>
            <a:rPr lang="en-US" sz="2800" b="0"/>
            <a:t>all</a:t>
          </a:r>
          <a:r>
            <a:rPr lang="en-US" sz="2800"/>
            <a:t> controls in Visual Studio to </a:t>
          </a:r>
          <a:r>
            <a:rPr lang="en-US" sz="2800" b="1"/>
            <a:t>use</a:t>
          </a:r>
          <a:r>
            <a:rPr lang="en-US" sz="2800"/>
            <a:t> in PowerShell</a:t>
          </a:r>
        </a:p>
      </dgm:t>
    </dgm:pt>
    <dgm:pt modelId="{795C76AD-4CF6-4D31-A60C-90A98D7D3CC3}" type="parTrans" cxnId="{3EBE286A-4C98-4994-8CD2-25A336F500E9}">
      <dgm:prSet/>
      <dgm:spPr/>
      <dgm:t>
        <a:bodyPr/>
        <a:lstStyle/>
        <a:p>
          <a:endParaRPr lang="en-US" sz="2800"/>
        </a:p>
      </dgm:t>
    </dgm:pt>
    <dgm:pt modelId="{B1D57FDF-352F-422B-9C8A-0A101753F829}" type="sibTrans" cxnId="{3EBE286A-4C98-4994-8CD2-25A336F500E9}">
      <dgm:prSet/>
      <dgm:spPr/>
      <dgm:t>
        <a:bodyPr/>
        <a:lstStyle/>
        <a:p>
          <a:endParaRPr lang="en-US" sz="2800"/>
        </a:p>
      </dgm:t>
    </dgm:pt>
    <dgm:pt modelId="{ECCA441C-169A-40F4-85E7-69EA5A524576}">
      <dgm:prSet phldrT="[Text]" custT="1"/>
      <dgm:spPr/>
      <dgm:t>
        <a:bodyPr/>
        <a:lstStyle/>
        <a:p>
          <a:r>
            <a:rPr lang="en-US" sz="2800" b="1"/>
            <a:t>Only</a:t>
          </a:r>
          <a:r>
            <a:rPr lang="en-US" sz="2800" b="0"/>
            <a:t> use </a:t>
          </a:r>
          <a:r>
            <a:rPr lang="en-US" sz="2800" b="1"/>
            <a:t>.XAML </a:t>
          </a:r>
          <a:r>
            <a:rPr lang="en-US" sz="2800" b="0"/>
            <a:t>files – ignore .CS files</a:t>
          </a:r>
        </a:p>
      </dgm:t>
    </dgm:pt>
    <dgm:pt modelId="{D556048C-38E3-4173-8BCE-7C3F40A6BD04}" type="parTrans" cxnId="{4BDEF36B-7AB3-40CD-B001-5F28D820C8FA}">
      <dgm:prSet/>
      <dgm:spPr/>
      <dgm:t>
        <a:bodyPr/>
        <a:lstStyle/>
        <a:p>
          <a:endParaRPr lang="en-US" sz="2800"/>
        </a:p>
      </dgm:t>
    </dgm:pt>
    <dgm:pt modelId="{09B87B3E-A430-4DF3-AC44-3F2F31AEA39A}" type="sibTrans" cxnId="{4BDEF36B-7AB3-40CD-B001-5F28D820C8FA}">
      <dgm:prSet/>
      <dgm:spPr/>
      <dgm:t>
        <a:bodyPr/>
        <a:lstStyle/>
        <a:p>
          <a:endParaRPr lang="en-US" sz="2800"/>
        </a:p>
      </dgm:t>
    </dgm:pt>
    <dgm:pt modelId="{DD28D866-5DAA-4A05-BD8E-1BDF12EEA19A}">
      <dgm:prSet phldrT="[Text]" custT="1"/>
      <dgm:spPr/>
      <dgm:t>
        <a:bodyPr/>
        <a:lstStyle/>
        <a:p>
          <a:r>
            <a:rPr lang="en-US" sz="2800" b="1"/>
            <a:t>Best practice</a:t>
          </a:r>
          <a:r>
            <a:rPr lang="en-US" sz="2800"/>
            <a:t>: Mock-up the GUI </a:t>
          </a:r>
          <a:r>
            <a:rPr lang="en-US" sz="2800" b="1"/>
            <a:t>before</a:t>
          </a:r>
          <a:r>
            <a:rPr lang="en-US" sz="2800"/>
            <a:t> designing it in Visual Studio</a:t>
          </a:r>
        </a:p>
      </dgm:t>
    </dgm:pt>
    <dgm:pt modelId="{A611420E-6128-4C70-9860-10A74CFB7500}" type="parTrans" cxnId="{F2B805CF-4C30-4F6D-96AB-FCD680FEB8C8}">
      <dgm:prSet/>
      <dgm:spPr/>
      <dgm:t>
        <a:bodyPr/>
        <a:lstStyle/>
        <a:p>
          <a:endParaRPr lang="en-US" sz="2800"/>
        </a:p>
      </dgm:t>
    </dgm:pt>
    <dgm:pt modelId="{8B8C4E07-F179-497C-9A77-32EED9D1B472}" type="sibTrans" cxnId="{F2B805CF-4C30-4F6D-96AB-FCD680FEB8C8}">
      <dgm:prSet/>
      <dgm:spPr/>
      <dgm:t>
        <a:bodyPr/>
        <a:lstStyle/>
        <a:p>
          <a:endParaRPr lang="en-US" sz="2800"/>
        </a:p>
      </dgm:t>
    </dgm:pt>
    <dgm:pt modelId="{4F5560ED-9E12-4905-BD65-DE026B23F62D}">
      <dgm:prSet phldrT="[Text]" custT="1"/>
      <dgm:spPr/>
      <dgm:t>
        <a:bodyPr/>
        <a:lstStyle/>
        <a:p>
          <a:r>
            <a:rPr lang="en-US" sz="2800" b="1"/>
            <a:t>Code</a:t>
          </a:r>
          <a:r>
            <a:rPr lang="en-US" sz="2800" b="0"/>
            <a:t> to import XAML is mostly the </a:t>
          </a:r>
          <a:r>
            <a:rPr lang="en-US" sz="2800" b="1"/>
            <a:t>same </a:t>
          </a:r>
          <a:r>
            <a:rPr lang="en-US" sz="2800" b="0"/>
            <a:t>between projects</a:t>
          </a:r>
        </a:p>
      </dgm:t>
    </dgm:pt>
    <dgm:pt modelId="{43B16465-337E-43B0-A14F-E8A1601826E5}" type="parTrans" cxnId="{CACB705E-66BF-4C9D-B22E-440C271277E5}">
      <dgm:prSet/>
      <dgm:spPr/>
      <dgm:t>
        <a:bodyPr/>
        <a:lstStyle/>
        <a:p>
          <a:endParaRPr lang="en-US" sz="2800"/>
        </a:p>
      </dgm:t>
    </dgm:pt>
    <dgm:pt modelId="{5A04A279-AE20-4DF2-A77B-49E1D34195F5}" type="sibTrans" cxnId="{CACB705E-66BF-4C9D-B22E-440C271277E5}">
      <dgm:prSet/>
      <dgm:spPr/>
      <dgm:t>
        <a:bodyPr/>
        <a:lstStyle/>
        <a:p>
          <a:endParaRPr lang="en-US" sz="2800"/>
        </a:p>
      </dgm:t>
    </dgm:pt>
    <dgm:pt modelId="{886006B1-1448-4935-800B-339AFEF909CD}" type="pres">
      <dgm:prSet presAssocID="{A21C493B-C58A-4736-8E45-9262AF6BAE8E}" presName="vert0" presStyleCnt="0">
        <dgm:presLayoutVars>
          <dgm:dir/>
          <dgm:animOne val="branch"/>
          <dgm:animLvl val="lvl"/>
        </dgm:presLayoutVars>
      </dgm:prSet>
      <dgm:spPr/>
    </dgm:pt>
    <dgm:pt modelId="{EC00B192-D726-4C75-A746-6063DB5D8F65}" type="pres">
      <dgm:prSet presAssocID="{7926A2FE-6CD8-40EA-B521-64E416332CDB}" presName="thickLine" presStyleLbl="alignNode1" presStyleIdx="0" presStyleCnt="4"/>
      <dgm:spPr/>
    </dgm:pt>
    <dgm:pt modelId="{B6ED951D-7DE4-42DF-A57C-0E490F9D05AB}" type="pres">
      <dgm:prSet presAssocID="{7926A2FE-6CD8-40EA-B521-64E416332CDB}" presName="horz1" presStyleCnt="0"/>
      <dgm:spPr/>
    </dgm:pt>
    <dgm:pt modelId="{38D92CE9-2E23-45FF-BDBC-5F6C801FD6E2}" type="pres">
      <dgm:prSet presAssocID="{7926A2FE-6CD8-40EA-B521-64E416332CDB}" presName="tx1" presStyleLbl="revTx" presStyleIdx="0" presStyleCnt="4"/>
      <dgm:spPr/>
    </dgm:pt>
    <dgm:pt modelId="{936CD48C-7161-41B1-996A-105405760C18}" type="pres">
      <dgm:prSet presAssocID="{7926A2FE-6CD8-40EA-B521-64E416332CDB}" presName="vert1" presStyleCnt="0"/>
      <dgm:spPr/>
    </dgm:pt>
    <dgm:pt modelId="{DB3DA63D-C452-4A73-B7AB-1E52332E2A70}" type="pres">
      <dgm:prSet presAssocID="{ECCA441C-169A-40F4-85E7-69EA5A524576}" presName="thickLine" presStyleLbl="alignNode1" presStyleIdx="1" presStyleCnt="4"/>
      <dgm:spPr/>
    </dgm:pt>
    <dgm:pt modelId="{C55157B2-A174-4F6E-8220-DEF59BDC1D19}" type="pres">
      <dgm:prSet presAssocID="{ECCA441C-169A-40F4-85E7-69EA5A524576}" presName="horz1" presStyleCnt="0"/>
      <dgm:spPr/>
    </dgm:pt>
    <dgm:pt modelId="{242E3EC1-DFEF-4193-87A0-47B995B156A2}" type="pres">
      <dgm:prSet presAssocID="{ECCA441C-169A-40F4-85E7-69EA5A524576}" presName="tx1" presStyleLbl="revTx" presStyleIdx="1" presStyleCnt="4"/>
      <dgm:spPr/>
    </dgm:pt>
    <dgm:pt modelId="{D72D745D-7AE9-44F2-BED3-9BBFE216B4B3}" type="pres">
      <dgm:prSet presAssocID="{ECCA441C-169A-40F4-85E7-69EA5A524576}" presName="vert1" presStyleCnt="0"/>
      <dgm:spPr/>
    </dgm:pt>
    <dgm:pt modelId="{50A9A61A-7505-42F6-AF20-4FF5C91B8208}" type="pres">
      <dgm:prSet presAssocID="{4F5560ED-9E12-4905-BD65-DE026B23F62D}" presName="thickLine" presStyleLbl="alignNode1" presStyleIdx="2" presStyleCnt="4"/>
      <dgm:spPr/>
    </dgm:pt>
    <dgm:pt modelId="{58E54BDC-D631-48A2-87A2-1F13996D693C}" type="pres">
      <dgm:prSet presAssocID="{4F5560ED-9E12-4905-BD65-DE026B23F62D}" presName="horz1" presStyleCnt="0"/>
      <dgm:spPr/>
    </dgm:pt>
    <dgm:pt modelId="{B1CE0A6E-5F1D-452B-90F2-2B33B1289AB4}" type="pres">
      <dgm:prSet presAssocID="{4F5560ED-9E12-4905-BD65-DE026B23F62D}" presName="tx1" presStyleLbl="revTx" presStyleIdx="2" presStyleCnt="4"/>
      <dgm:spPr/>
    </dgm:pt>
    <dgm:pt modelId="{702971C8-7635-46DD-A4FD-76C19C90D36D}" type="pres">
      <dgm:prSet presAssocID="{4F5560ED-9E12-4905-BD65-DE026B23F62D}" presName="vert1" presStyleCnt="0"/>
      <dgm:spPr/>
    </dgm:pt>
    <dgm:pt modelId="{D87854E0-3D7A-4861-AFCB-E5CBBDD34484}" type="pres">
      <dgm:prSet presAssocID="{DD28D866-5DAA-4A05-BD8E-1BDF12EEA19A}" presName="thickLine" presStyleLbl="alignNode1" presStyleIdx="3" presStyleCnt="4"/>
      <dgm:spPr/>
    </dgm:pt>
    <dgm:pt modelId="{B0F73841-8D51-4110-A332-6B427F53F6C8}" type="pres">
      <dgm:prSet presAssocID="{DD28D866-5DAA-4A05-BD8E-1BDF12EEA19A}" presName="horz1" presStyleCnt="0"/>
      <dgm:spPr/>
    </dgm:pt>
    <dgm:pt modelId="{72088EA8-23CB-4DD4-B882-D4371ECAA24F}" type="pres">
      <dgm:prSet presAssocID="{DD28D866-5DAA-4A05-BD8E-1BDF12EEA19A}" presName="tx1" presStyleLbl="revTx" presStyleIdx="3" presStyleCnt="4"/>
      <dgm:spPr/>
    </dgm:pt>
    <dgm:pt modelId="{25616EC5-6EF3-4CCA-985F-BEE2BD56BFF5}" type="pres">
      <dgm:prSet presAssocID="{DD28D866-5DAA-4A05-BD8E-1BDF12EEA19A}" presName="vert1" presStyleCnt="0"/>
      <dgm:spPr/>
    </dgm:pt>
  </dgm:ptLst>
  <dgm:cxnLst>
    <dgm:cxn modelId="{9F22D015-1D19-4B50-8017-AC4D95D2C6A5}" type="presOf" srcId="{7926A2FE-6CD8-40EA-B521-64E416332CDB}" destId="{38D92CE9-2E23-45FF-BDBC-5F6C801FD6E2}" srcOrd="0" destOrd="0" presId="urn:microsoft.com/office/officeart/2008/layout/LinedList"/>
    <dgm:cxn modelId="{F4625F16-4370-45E6-9003-99239E384976}" type="presOf" srcId="{DD28D866-5DAA-4A05-BD8E-1BDF12EEA19A}" destId="{72088EA8-23CB-4DD4-B882-D4371ECAA24F}" srcOrd="0" destOrd="0" presId="urn:microsoft.com/office/officeart/2008/layout/LinedList"/>
    <dgm:cxn modelId="{CACB705E-66BF-4C9D-B22E-440C271277E5}" srcId="{A21C493B-C58A-4736-8E45-9262AF6BAE8E}" destId="{4F5560ED-9E12-4905-BD65-DE026B23F62D}" srcOrd="2" destOrd="0" parTransId="{43B16465-337E-43B0-A14F-E8A1601826E5}" sibTransId="{5A04A279-AE20-4DF2-A77B-49E1D34195F5}"/>
    <dgm:cxn modelId="{9A584862-B7C5-44A3-B263-784DF4E582FA}" type="presOf" srcId="{A21C493B-C58A-4736-8E45-9262AF6BAE8E}" destId="{886006B1-1448-4935-800B-339AFEF909CD}" srcOrd="0" destOrd="0" presId="urn:microsoft.com/office/officeart/2008/layout/LinedList"/>
    <dgm:cxn modelId="{3EBE286A-4C98-4994-8CD2-25A336F500E9}" srcId="{A21C493B-C58A-4736-8E45-9262AF6BAE8E}" destId="{7926A2FE-6CD8-40EA-B521-64E416332CDB}" srcOrd="0" destOrd="0" parTransId="{795C76AD-4CF6-4D31-A60C-90A98D7D3CC3}" sibTransId="{B1D57FDF-352F-422B-9C8A-0A101753F829}"/>
    <dgm:cxn modelId="{4BDEF36B-7AB3-40CD-B001-5F28D820C8FA}" srcId="{A21C493B-C58A-4736-8E45-9262AF6BAE8E}" destId="{ECCA441C-169A-40F4-85E7-69EA5A524576}" srcOrd="1" destOrd="0" parTransId="{D556048C-38E3-4173-8BCE-7C3F40A6BD04}" sibTransId="{09B87B3E-A430-4DF3-AC44-3F2F31AEA39A}"/>
    <dgm:cxn modelId="{31E3417C-CCEF-455A-A4A0-0DB13D19E571}" type="presOf" srcId="{ECCA441C-169A-40F4-85E7-69EA5A524576}" destId="{242E3EC1-DFEF-4193-87A0-47B995B156A2}" srcOrd="0" destOrd="0" presId="urn:microsoft.com/office/officeart/2008/layout/LinedList"/>
    <dgm:cxn modelId="{80503883-F438-4304-A46B-4ADC48EAB819}" type="presOf" srcId="{4F5560ED-9E12-4905-BD65-DE026B23F62D}" destId="{B1CE0A6E-5F1D-452B-90F2-2B33B1289AB4}" srcOrd="0" destOrd="0" presId="urn:microsoft.com/office/officeart/2008/layout/LinedList"/>
    <dgm:cxn modelId="{F2B805CF-4C30-4F6D-96AB-FCD680FEB8C8}" srcId="{A21C493B-C58A-4736-8E45-9262AF6BAE8E}" destId="{DD28D866-5DAA-4A05-BD8E-1BDF12EEA19A}" srcOrd="3" destOrd="0" parTransId="{A611420E-6128-4C70-9860-10A74CFB7500}" sibTransId="{8B8C4E07-F179-497C-9A77-32EED9D1B472}"/>
    <dgm:cxn modelId="{9BD44475-632C-4849-B9ED-C3C00D464862}" type="presParOf" srcId="{886006B1-1448-4935-800B-339AFEF909CD}" destId="{EC00B192-D726-4C75-A746-6063DB5D8F65}" srcOrd="0" destOrd="0" presId="urn:microsoft.com/office/officeart/2008/layout/LinedList"/>
    <dgm:cxn modelId="{15BF52A8-FB05-4AFB-9AC6-76C3FD053609}" type="presParOf" srcId="{886006B1-1448-4935-800B-339AFEF909CD}" destId="{B6ED951D-7DE4-42DF-A57C-0E490F9D05AB}" srcOrd="1" destOrd="0" presId="urn:microsoft.com/office/officeart/2008/layout/LinedList"/>
    <dgm:cxn modelId="{A8C65078-58DB-4221-84AE-0FE3BFB3427E}" type="presParOf" srcId="{B6ED951D-7DE4-42DF-A57C-0E490F9D05AB}" destId="{38D92CE9-2E23-45FF-BDBC-5F6C801FD6E2}" srcOrd="0" destOrd="0" presId="urn:microsoft.com/office/officeart/2008/layout/LinedList"/>
    <dgm:cxn modelId="{40ADE029-7648-4373-AB6A-EB9F17E3372C}" type="presParOf" srcId="{B6ED951D-7DE4-42DF-A57C-0E490F9D05AB}" destId="{936CD48C-7161-41B1-996A-105405760C18}" srcOrd="1" destOrd="0" presId="urn:microsoft.com/office/officeart/2008/layout/LinedList"/>
    <dgm:cxn modelId="{A97CF946-6C1A-43E2-9CBE-67036427F189}" type="presParOf" srcId="{886006B1-1448-4935-800B-339AFEF909CD}" destId="{DB3DA63D-C452-4A73-B7AB-1E52332E2A70}" srcOrd="2" destOrd="0" presId="urn:microsoft.com/office/officeart/2008/layout/LinedList"/>
    <dgm:cxn modelId="{B267C7D2-757C-400B-96E9-FADD6DB4AB50}" type="presParOf" srcId="{886006B1-1448-4935-800B-339AFEF909CD}" destId="{C55157B2-A174-4F6E-8220-DEF59BDC1D19}" srcOrd="3" destOrd="0" presId="urn:microsoft.com/office/officeart/2008/layout/LinedList"/>
    <dgm:cxn modelId="{5A38D177-47DA-4B18-8205-2FE5F39DF6A2}" type="presParOf" srcId="{C55157B2-A174-4F6E-8220-DEF59BDC1D19}" destId="{242E3EC1-DFEF-4193-87A0-47B995B156A2}" srcOrd="0" destOrd="0" presId="urn:microsoft.com/office/officeart/2008/layout/LinedList"/>
    <dgm:cxn modelId="{1F64833E-77F3-4C45-977F-21B847942E3F}" type="presParOf" srcId="{C55157B2-A174-4F6E-8220-DEF59BDC1D19}" destId="{D72D745D-7AE9-44F2-BED3-9BBFE216B4B3}" srcOrd="1" destOrd="0" presId="urn:microsoft.com/office/officeart/2008/layout/LinedList"/>
    <dgm:cxn modelId="{0F7B0E4C-2F72-450F-B5AC-C0B347F6B8FC}" type="presParOf" srcId="{886006B1-1448-4935-800B-339AFEF909CD}" destId="{50A9A61A-7505-42F6-AF20-4FF5C91B8208}" srcOrd="4" destOrd="0" presId="urn:microsoft.com/office/officeart/2008/layout/LinedList"/>
    <dgm:cxn modelId="{18EA568E-44B3-4982-AC78-6182C1580DDC}" type="presParOf" srcId="{886006B1-1448-4935-800B-339AFEF909CD}" destId="{58E54BDC-D631-48A2-87A2-1F13996D693C}" srcOrd="5" destOrd="0" presId="urn:microsoft.com/office/officeart/2008/layout/LinedList"/>
    <dgm:cxn modelId="{D6F8698A-944D-4294-99E5-04D46B98ED04}" type="presParOf" srcId="{58E54BDC-D631-48A2-87A2-1F13996D693C}" destId="{B1CE0A6E-5F1D-452B-90F2-2B33B1289AB4}" srcOrd="0" destOrd="0" presId="urn:microsoft.com/office/officeart/2008/layout/LinedList"/>
    <dgm:cxn modelId="{D754410A-D8DB-4EE9-99FA-6AB48C96B48A}" type="presParOf" srcId="{58E54BDC-D631-48A2-87A2-1F13996D693C}" destId="{702971C8-7635-46DD-A4FD-76C19C90D36D}" srcOrd="1" destOrd="0" presId="urn:microsoft.com/office/officeart/2008/layout/LinedList"/>
    <dgm:cxn modelId="{F1123394-BCDC-4689-A066-5AAD41C6A5CE}" type="presParOf" srcId="{886006B1-1448-4935-800B-339AFEF909CD}" destId="{D87854E0-3D7A-4861-AFCB-E5CBBDD34484}" srcOrd="6" destOrd="0" presId="urn:microsoft.com/office/officeart/2008/layout/LinedList"/>
    <dgm:cxn modelId="{CC961C53-7B33-4846-8A62-412917AAFC6B}" type="presParOf" srcId="{886006B1-1448-4935-800B-339AFEF909CD}" destId="{B0F73841-8D51-4110-A332-6B427F53F6C8}" srcOrd="7" destOrd="0" presId="urn:microsoft.com/office/officeart/2008/layout/LinedList"/>
    <dgm:cxn modelId="{095D6604-A349-4E78-8430-C1002BA23A06}" type="presParOf" srcId="{B0F73841-8D51-4110-A332-6B427F53F6C8}" destId="{72088EA8-23CB-4DD4-B882-D4371ECAA24F}" srcOrd="0" destOrd="0" presId="urn:microsoft.com/office/officeart/2008/layout/LinedList"/>
    <dgm:cxn modelId="{496C7A68-0D6E-4D7A-9210-7146B474930F}" type="presParOf" srcId="{B0F73841-8D51-4110-A332-6B427F53F6C8}" destId="{25616EC5-6EF3-4CCA-985F-BEE2BD56BFF5}" srcOrd="1" destOrd="0" presId="urn:microsoft.com/office/officeart/2008/layout/LinedLis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A21C493B-C58A-4736-8E45-9262AF6BAE8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7926A2FE-6CD8-40EA-B521-64E416332CDB}">
      <dgm:prSet phldrT="[Text]" custT="1"/>
      <dgm:spPr/>
      <dgm:t>
        <a:bodyPr/>
        <a:lstStyle/>
        <a:p>
          <a:r>
            <a:rPr lang="en-US" sz="2400" b="0"/>
            <a:t>Name controls in the </a:t>
          </a:r>
          <a:r>
            <a:rPr lang="en-US" sz="2400" b="1"/>
            <a:t>properties pane </a:t>
          </a:r>
          <a:r>
            <a:rPr lang="en-US" sz="2400" b="0"/>
            <a:t>in Visual Studio</a:t>
          </a:r>
        </a:p>
      </dgm:t>
    </dgm:pt>
    <dgm:pt modelId="{795C76AD-4CF6-4D31-A60C-90A98D7D3CC3}" type="parTrans" cxnId="{3EBE286A-4C98-4994-8CD2-25A336F500E9}">
      <dgm:prSet/>
      <dgm:spPr/>
      <dgm:t>
        <a:bodyPr/>
        <a:lstStyle/>
        <a:p>
          <a:endParaRPr lang="en-US" sz="2400" b="0"/>
        </a:p>
      </dgm:t>
    </dgm:pt>
    <dgm:pt modelId="{B1D57FDF-352F-422B-9C8A-0A101753F829}" type="sibTrans" cxnId="{3EBE286A-4C98-4994-8CD2-25A336F500E9}">
      <dgm:prSet/>
      <dgm:spPr/>
      <dgm:t>
        <a:bodyPr/>
        <a:lstStyle/>
        <a:p>
          <a:endParaRPr lang="en-US" sz="2400" b="0"/>
        </a:p>
      </dgm:t>
    </dgm:pt>
    <dgm:pt modelId="{ECCA441C-169A-40F4-85E7-69EA5A524576}">
      <dgm:prSet phldrT="[Text]" custT="1"/>
      <dgm:spPr/>
      <dgm:t>
        <a:bodyPr/>
        <a:lstStyle/>
        <a:p>
          <a:r>
            <a:rPr lang="en-US" sz="2400" b="0"/>
            <a:t>Names are stored in the XAML with the </a:t>
          </a:r>
          <a:r>
            <a:rPr lang="en-US" sz="2400" b="1"/>
            <a:t>X:Name </a:t>
          </a:r>
          <a:r>
            <a:rPr lang="en-US" sz="2400" b="0"/>
            <a:t>attribute</a:t>
          </a:r>
        </a:p>
      </dgm:t>
    </dgm:pt>
    <dgm:pt modelId="{D556048C-38E3-4173-8BCE-7C3F40A6BD04}" type="parTrans" cxnId="{4BDEF36B-7AB3-40CD-B001-5F28D820C8FA}">
      <dgm:prSet/>
      <dgm:spPr/>
      <dgm:t>
        <a:bodyPr/>
        <a:lstStyle/>
        <a:p>
          <a:endParaRPr lang="en-US" sz="2400" b="0"/>
        </a:p>
      </dgm:t>
    </dgm:pt>
    <dgm:pt modelId="{09B87B3E-A430-4DF3-AC44-3F2F31AEA39A}" type="sibTrans" cxnId="{4BDEF36B-7AB3-40CD-B001-5F28D820C8FA}">
      <dgm:prSet/>
      <dgm:spPr/>
      <dgm:t>
        <a:bodyPr/>
        <a:lstStyle/>
        <a:p>
          <a:endParaRPr lang="en-US" sz="2400" b="0"/>
        </a:p>
      </dgm:t>
    </dgm:pt>
    <dgm:pt modelId="{4F5560ED-9E12-4905-BD65-DE026B23F62D}">
      <dgm:prSet phldrT="[Text]" custT="1"/>
      <dgm:spPr/>
      <dgm:t>
        <a:bodyPr/>
        <a:lstStyle/>
        <a:p>
          <a:r>
            <a:rPr lang="en-US" sz="2400" b="0"/>
            <a:t>Only </a:t>
          </a:r>
          <a:r>
            <a:rPr lang="en-US" sz="2400" b="1"/>
            <a:t>named</a:t>
          </a:r>
          <a:r>
            <a:rPr lang="en-US" sz="2400" b="0"/>
            <a:t> controls can be </a:t>
          </a:r>
          <a:r>
            <a:rPr lang="en-US" sz="2400" b="1"/>
            <a:t>used </a:t>
          </a:r>
          <a:r>
            <a:rPr lang="en-US" sz="2400" b="0"/>
            <a:t>in the PowerShell code</a:t>
          </a:r>
        </a:p>
      </dgm:t>
    </dgm:pt>
    <dgm:pt modelId="{43B16465-337E-43B0-A14F-E8A1601826E5}" type="parTrans" cxnId="{CACB705E-66BF-4C9D-B22E-440C271277E5}">
      <dgm:prSet/>
      <dgm:spPr/>
      <dgm:t>
        <a:bodyPr/>
        <a:lstStyle/>
        <a:p>
          <a:endParaRPr lang="en-US" sz="2400" b="0"/>
        </a:p>
      </dgm:t>
    </dgm:pt>
    <dgm:pt modelId="{5A04A279-AE20-4DF2-A77B-49E1D34195F5}" type="sibTrans" cxnId="{CACB705E-66BF-4C9D-B22E-440C271277E5}">
      <dgm:prSet/>
      <dgm:spPr/>
      <dgm:t>
        <a:bodyPr/>
        <a:lstStyle/>
        <a:p>
          <a:endParaRPr lang="en-US" sz="2400" b="0"/>
        </a:p>
      </dgm:t>
    </dgm:pt>
    <dgm:pt modelId="{CF42BE00-49FC-40C1-A09E-8F29DF84B57F}">
      <dgm:prSet phldrT="[Text]" custT="1"/>
      <dgm:spPr/>
      <dgm:t>
        <a:bodyPr/>
        <a:lstStyle/>
        <a:p>
          <a:r>
            <a:rPr lang="en-US" sz="2400" b="1"/>
            <a:t>Best practice: </a:t>
          </a:r>
          <a:r>
            <a:rPr lang="en-US" sz="2400" b="0"/>
            <a:t>Use clear, descriptive names</a:t>
          </a:r>
        </a:p>
      </dgm:t>
    </dgm:pt>
    <dgm:pt modelId="{B1D55AC5-7B84-4E4E-9E48-59E71566A83B}" type="parTrans" cxnId="{EC0E3565-D56D-4B18-8B96-59B34FCF60A8}">
      <dgm:prSet/>
      <dgm:spPr/>
      <dgm:t>
        <a:bodyPr/>
        <a:lstStyle/>
        <a:p>
          <a:endParaRPr lang="en-US" sz="2400"/>
        </a:p>
      </dgm:t>
    </dgm:pt>
    <dgm:pt modelId="{93D71C66-F1E2-412C-9FDA-7CDB4272D65C}" type="sibTrans" cxnId="{EC0E3565-D56D-4B18-8B96-59B34FCF60A8}">
      <dgm:prSet/>
      <dgm:spPr/>
      <dgm:t>
        <a:bodyPr/>
        <a:lstStyle/>
        <a:p>
          <a:endParaRPr lang="en-US" sz="2400"/>
        </a:p>
      </dgm:t>
    </dgm:pt>
    <dgm:pt modelId="{886006B1-1448-4935-800B-339AFEF909CD}" type="pres">
      <dgm:prSet presAssocID="{A21C493B-C58A-4736-8E45-9262AF6BAE8E}" presName="vert0" presStyleCnt="0">
        <dgm:presLayoutVars>
          <dgm:dir/>
          <dgm:animOne val="branch"/>
          <dgm:animLvl val="lvl"/>
        </dgm:presLayoutVars>
      </dgm:prSet>
      <dgm:spPr/>
    </dgm:pt>
    <dgm:pt modelId="{EC00B192-D726-4C75-A746-6063DB5D8F65}" type="pres">
      <dgm:prSet presAssocID="{7926A2FE-6CD8-40EA-B521-64E416332CDB}" presName="thickLine" presStyleLbl="alignNode1" presStyleIdx="0" presStyleCnt="4"/>
      <dgm:spPr/>
    </dgm:pt>
    <dgm:pt modelId="{B6ED951D-7DE4-42DF-A57C-0E490F9D05AB}" type="pres">
      <dgm:prSet presAssocID="{7926A2FE-6CD8-40EA-B521-64E416332CDB}" presName="horz1" presStyleCnt="0"/>
      <dgm:spPr/>
    </dgm:pt>
    <dgm:pt modelId="{38D92CE9-2E23-45FF-BDBC-5F6C801FD6E2}" type="pres">
      <dgm:prSet presAssocID="{7926A2FE-6CD8-40EA-B521-64E416332CDB}" presName="tx1" presStyleLbl="revTx" presStyleIdx="0" presStyleCnt="4"/>
      <dgm:spPr/>
    </dgm:pt>
    <dgm:pt modelId="{936CD48C-7161-41B1-996A-105405760C18}" type="pres">
      <dgm:prSet presAssocID="{7926A2FE-6CD8-40EA-B521-64E416332CDB}" presName="vert1" presStyleCnt="0"/>
      <dgm:spPr/>
    </dgm:pt>
    <dgm:pt modelId="{DB3DA63D-C452-4A73-B7AB-1E52332E2A70}" type="pres">
      <dgm:prSet presAssocID="{ECCA441C-169A-40F4-85E7-69EA5A524576}" presName="thickLine" presStyleLbl="alignNode1" presStyleIdx="1" presStyleCnt="4"/>
      <dgm:spPr/>
    </dgm:pt>
    <dgm:pt modelId="{C55157B2-A174-4F6E-8220-DEF59BDC1D19}" type="pres">
      <dgm:prSet presAssocID="{ECCA441C-169A-40F4-85E7-69EA5A524576}" presName="horz1" presStyleCnt="0"/>
      <dgm:spPr/>
    </dgm:pt>
    <dgm:pt modelId="{242E3EC1-DFEF-4193-87A0-47B995B156A2}" type="pres">
      <dgm:prSet presAssocID="{ECCA441C-169A-40F4-85E7-69EA5A524576}" presName="tx1" presStyleLbl="revTx" presStyleIdx="1" presStyleCnt="4"/>
      <dgm:spPr/>
    </dgm:pt>
    <dgm:pt modelId="{D72D745D-7AE9-44F2-BED3-9BBFE216B4B3}" type="pres">
      <dgm:prSet presAssocID="{ECCA441C-169A-40F4-85E7-69EA5A524576}" presName="vert1" presStyleCnt="0"/>
      <dgm:spPr/>
    </dgm:pt>
    <dgm:pt modelId="{50A9A61A-7505-42F6-AF20-4FF5C91B8208}" type="pres">
      <dgm:prSet presAssocID="{4F5560ED-9E12-4905-BD65-DE026B23F62D}" presName="thickLine" presStyleLbl="alignNode1" presStyleIdx="2" presStyleCnt="4"/>
      <dgm:spPr/>
    </dgm:pt>
    <dgm:pt modelId="{58E54BDC-D631-48A2-87A2-1F13996D693C}" type="pres">
      <dgm:prSet presAssocID="{4F5560ED-9E12-4905-BD65-DE026B23F62D}" presName="horz1" presStyleCnt="0"/>
      <dgm:spPr/>
    </dgm:pt>
    <dgm:pt modelId="{B1CE0A6E-5F1D-452B-90F2-2B33B1289AB4}" type="pres">
      <dgm:prSet presAssocID="{4F5560ED-9E12-4905-BD65-DE026B23F62D}" presName="tx1" presStyleLbl="revTx" presStyleIdx="2" presStyleCnt="4"/>
      <dgm:spPr/>
    </dgm:pt>
    <dgm:pt modelId="{702971C8-7635-46DD-A4FD-76C19C90D36D}" type="pres">
      <dgm:prSet presAssocID="{4F5560ED-9E12-4905-BD65-DE026B23F62D}" presName="vert1" presStyleCnt="0"/>
      <dgm:spPr/>
    </dgm:pt>
    <dgm:pt modelId="{AD8DCF2A-8BF7-40C4-941C-9C233D047046}" type="pres">
      <dgm:prSet presAssocID="{CF42BE00-49FC-40C1-A09E-8F29DF84B57F}" presName="thickLine" presStyleLbl="alignNode1" presStyleIdx="3" presStyleCnt="4"/>
      <dgm:spPr/>
    </dgm:pt>
    <dgm:pt modelId="{BEF54DB7-4D22-4182-929C-8D69A49D0580}" type="pres">
      <dgm:prSet presAssocID="{CF42BE00-49FC-40C1-A09E-8F29DF84B57F}" presName="horz1" presStyleCnt="0"/>
      <dgm:spPr/>
    </dgm:pt>
    <dgm:pt modelId="{15E706D9-7E07-4B66-AAE9-984A1279642E}" type="pres">
      <dgm:prSet presAssocID="{CF42BE00-49FC-40C1-A09E-8F29DF84B57F}" presName="tx1" presStyleLbl="revTx" presStyleIdx="3" presStyleCnt="4"/>
      <dgm:spPr/>
    </dgm:pt>
    <dgm:pt modelId="{3AC1CAF3-617F-4E52-87AD-9C84E030BF51}" type="pres">
      <dgm:prSet presAssocID="{CF42BE00-49FC-40C1-A09E-8F29DF84B57F}" presName="vert1" presStyleCnt="0"/>
      <dgm:spPr/>
    </dgm:pt>
  </dgm:ptLst>
  <dgm:cxnLst>
    <dgm:cxn modelId="{9F22D015-1D19-4B50-8017-AC4D95D2C6A5}" type="presOf" srcId="{7926A2FE-6CD8-40EA-B521-64E416332CDB}" destId="{38D92CE9-2E23-45FF-BDBC-5F6C801FD6E2}" srcOrd="0" destOrd="0" presId="urn:microsoft.com/office/officeart/2008/layout/LinedList"/>
    <dgm:cxn modelId="{75FD393F-3954-4880-B82B-735A21E26193}" type="presOf" srcId="{CF42BE00-49FC-40C1-A09E-8F29DF84B57F}" destId="{15E706D9-7E07-4B66-AAE9-984A1279642E}" srcOrd="0" destOrd="0" presId="urn:microsoft.com/office/officeart/2008/layout/LinedList"/>
    <dgm:cxn modelId="{CACB705E-66BF-4C9D-B22E-440C271277E5}" srcId="{A21C493B-C58A-4736-8E45-9262AF6BAE8E}" destId="{4F5560ED-9E12-4905-BD65-DE026B23F62D}" srcOrd="2" destOrd="0" parTransId="{43B16465-337E-43B0-A14F-E8A1601826E5}" sibTransId="{5A04A279-AE20-4DF2-A77B-49E1D34195F5}"/>
    <dgm:cxn modelId="{9A584862-B7C5-44A3-B263-784DF4E582FA}" type="presOf" srcId="{A21C493B-C58A-4736-8E45-9262AF6BAE8E}" destId="{886006B1-1448-4935-800B-339AFEF909CD}" srcOrd="0" destOrd="0" presId="urn:microsoft.com/office/officeart/2008/layout/LinedList"/>
    <dgm:cxn modelId="{EC0E3565-D56D-4B18-8B96-59B34FCF60A8}" srcId="{A21C493B-C58A-4736-8E45-9262AF6BAE8E}" destId="{CF42BE00-49FC-40C1-A09E-8F29DF84B57F}" srcOrd="3" destOrd="0" parTransId="{B1D55AC5-7B84-4E4E-9E48-59E71566A83B}" sibTransId="{93D71C66-F1E2-412C-9FDA-7CDB4272D65C}"/>
    <dgm:cxn modelId="{3EBE286A-4C98-4994-8CD2-25A336F500E9}" srcId="{A21C493B-C58A-4736-8E45-9262AF6BAE8E}" destId="{7926A2FE-6CD8-40EA-B521-64E416332CDB}" srcOrd="0" destOrd="0" parTransId="{795C76AD-4CF6-4D31-A60C-90A98D7D3CC3}" sibTransId="{B1D57FDF-352F-422B-9C8A-0A101753F829}"/>
    <dgm:cxn modelId="{4BDEF36B-7AB3-40CD-B001-5F28D820C8FA}" srcId="{A21C493B-C58A-4736-8E45-9262AF6BAE8E}" destId="{ECCA441C-169A-40F4-85E7-69EA5A524576}" srcOrd="1" destOrd="0" parTransId="{D556048C-38E3-4173-8BCE-7C3F40A6BD04}" sibTransId="{09B87B3E-A430-4DF3-AC44-3F2F31AEA39A}"/>
    <dgm:cxn modelId="{31E3417C-CCEF-455A-A4A0-0DB13D19E571}" type="presOf" srcId="{ECCA441C-169A-40F4-85E7-69EA5A524576}" destId="{242E3EC1-DFEF-4193-87A0-47B995B156A2}" srcOrd="0" destOrd="0" presId="urn:microsoft.com/office/officeart/2008/layout/LinedList"/>
    <dgm:cxn modelId="{80503883-F438-4304-A46B-4ADC48EAB819}" type="presOf" srcId="{4F5560ED-9E12-4905-BD65-DE026B23F62D}" destId="{B1CE0A6E-5F1D-452B-90F2-2B33B1289AB4}" srcOrd="0" destOrd="0" presId="urn:microsoft.com/office/officeart/2008/layout/LinedList"/>
    <dgm:cxn modelId="{9BD44475-632C-4849-B9ED-C3C00D464862}" type="presParOf" srcId="{886006B1-1448-4935-800B-339AFEF909CD}" destId="{EC00B192-D726-4C75-A746-6063DB5D8F65}" srcOrd="0" destOrd="0" presId="urn:microsoft.com/office/officeart/2008/layout/LinedList"/>
    <dgm:cxn modelId="{15BF52A8-FB05-4AFB-9AC6-76C3FD053609}" type="presParOf" srcId="{886006B1-1448-4935-800B-339AFEF909CD}" destId="{B6ED951D-7DE4-42DF-A57C-0E490F9D05AB}" srcOrd="1" destOrd="0" presId="urn:microsoft.com/office/officeart/2008/layout/LinedList"/>
    <dgm:cxn modelId="{A8C65078-58DB-4221-84AE-0FE3BFB3427E}" type="presParOf" srcId="{B6ED951D-7DE4-42DF-A57C-0E490F9D05AB}" destId="{38D92CE9-2E23-45FF-BDBC-5F6C801FD6E2}" srcOrd="0" destOrd="0" presId="urn:microsoft.com/office/officeart/2008/layout/LinedList"/>
    <dgm:cxn modelId="{40ADE029-7648-4373-AB6A-EB9F17E3372C}" type="presParOf" srcId="{B6ED951D-7DE4-42DF-A57C-0E490F9D05AB}" destId="{936CD48C-7161-41B1-996A-105405760C18}" srcOrd="1" destOrd="0" presId="urn:microsoft.com/office/officeart/2008/layout/LinedList"/>
    <dgm:cxn modelId="{A97CF946-6C1A-43E2-9CBE-67036427F189}" type="presParOf" srcId="{886006B1-1448-4935-800B-339AFEF909CD}" destId="{DB3DA63D-C452-4A73-B7AB-1E52332E2A70}" srcOrd="2" destOrd="0" presId="urn:microsoft.com/office/officeart/2008/layout/LinedList"/>
    <dgm:cxn modelId="{B267C7D2-757C-400B-96E9-FADD6DB4AB50}" type="presParOf" srcId="{886006B1-1448-4935-800B-339AFEF909CD}" destId="{C55157B2-A174-4F6E-8220-DEF59BDC1D19}" srcOrd="3" destOrd="0" presId="urn:microsoft.com/office/officeart/2008/layout/LinedList"/>
    <dgm:cxn modelId="{5A38D177-47DA-4B18-8205-2FE5F39DF6A2}" type="presParOf" srcId="{C55157B2-A174-4F6E-8220-DEF59BDC1D19}" destId="{242E3EC1-DFEF-4193-87A0-47B995B156A2}" srcOrd="0" destOrd="0" presId="urn:microsoft.com/office/officeart/2008/layout/LinedList"/>
    <dgm:cxn modelId="{1F64833E-77F3-4C45-977F-21B847942E3F}" type="presParOf" srcId="{C55157B2-A174-4F6E-8220-DEF59BDC1D19}" destId="{D72D745D-7AE9-44F2-BED3-9BBFE216B4B3}" srcOrd="1" destOrd="0" presId="urn:microsoft.com/office/officeart/2008/layout/LinedList"/>
    <dgm:cxn modelId="{0F7B0E4C-2F72-450F-B5AC-C0B347F6B8FC}" type="presParOf" srcId="{886006B1-1448-4935-800B-339AFEF909CD}" destId="{50A9A61A-7505-42F6-AF20-4FF5C91B8208}" srcOrd="4" destOrd="0" presId="urn:microsoft.com/office/officeart/2008/layout/LinedList"/>
    <dgm:cxn modelId="{18EA568E-44B3-4982-AC78-6182C1580DDC}" type="presParOf" srcId="{886006B1-1448-4935-800B-339AFEF909CD}" destId="{58E54BDC-D631-48A2-87A2-1F13996D693C}" srcOrd="5" destOrd="0" presId="urn:microsoft.com/office/officeart/2008/layout/LinedList"/>
    <dgm:cxn modelId="{D6F8698A-944D-4294-99E5-04D46B98ED04}" type="presParOf" srcId="{58E54BDC-D631-48A2-87A2-1F13996D693C}" destId="{B1CE0A6E-5F1D-452B-90F2-2B33B1289AB4}" srcOrd="0" destOrd="0" presId="urn:microsoft.com/office/officeart/2008/layout/LinedList"/>
    <dgm:cxn modelId="{D754410A-D8DB-4EE9-99FA-6AB48C96B48A}" type="presParOf" srcId="{58E54BDC-D631-48A2-87A2-1F13996D693C}" destId="{702971C8-7635-46DD-A4FD-76C19C90D36D}" srcOrd="1" destOrd="0" presId="urn:microsoft.com/office/officeart/2008/layout/LinedList"/>
    <dgm:cxn modelId="{E83584C0-8233-4D76-B05F-BEA7B34F83D1}" type="presParOf" srcId="{886006B1-1448-4935-800B-339AFEF909CD}" destId="{AD8DCF2A-8BF7-40C4-941C-9C233D047046}" srcOrd="6" destOrd="0" presId="urn:microsoft.com/office/officeart/2008/layout/LinedList"/>
    <dgm:cxn modelId="{3F92B3FB-64B2-44CF-AF8E-2243B768AD8D}" type="presParOf" srcId="{886006B1-1448-4935-800B-339AFEF909CD}" destId="{BEF54DB7-4D22-4182-929C-8D69A49D0580}" srcOrd="7" destOrd="0" presId="urn:microsoft.com/office/officeart/2008/layout/LinedList"/>
    <dgm:cxn modelId="{8915E62E-C95C-4DE8-9B86-F61453E08AA6}" type="presParOf" srcId="{BEF54DB7-4D22-4182-929C-8D69A49D0580}" destId="{15E706D9-7E07-4B66-AAE9-984A1279642E}" srcOrd="0" destOrd="0" presId="urn:microsoft.com/office/officeart/2008/layout/LinedList"/>
    <dgm:cxn modelId="{5C0DAA0B-3CB8-4723-B5CB-D6C6D97A920B}" type="presParOf" srcId="{BEF54DB7-4D22-4182-929C-8D69A49D0580}" destId="{3AC1CAF3-617F-4E52-87AD-9C84E030BF51}"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A21C493B-C58A-4736-8E45-9262AF6BAE8E}" type="doc">
      <dgm:prSet loTypeId="urn:microsoft.com/office/officeart/2005/8/layout/matrix1" loCatId="matrix" qsTypeId="urn:microsoft.com/office/officeart/2005/8/quickstyle/simple1" qsCatId="simple" csTypeId="urn:microsoft.com/office/officeart/2005/8/colors/accent1_1" csCatId="accent1" phldr="1"/>
      <dgm:spPr/>
      <dgm:t>
        <a:bodyPr/>
        <a:lstStyle/>
        <a:p>
          <a:endParaRPr lang="en-US"/>
        </a:p>
      </dgm:t>
    </dgm:pt>
    <dgm:pt modelId="{29859055-3C41-454A-B90E-9127DA556D7F}">
      <dgm:prSet custT="1"/>
      <dgm:spPr/>
      <dgm:t>
        <a:bodyPr anchor="t"/>
        <a:lstStyle/>
        <a:p>
          <a:pPr algn="ctr"/>
          <a:r>
            <a:rPr lang="en-US" sz="2000" b="1"/>
            <a:t>Creates</a:t>
          </a:r>
          <a:r>
            <a:rPr lang="en-US" sz="2000"/>
            <a:t> a hash table named </a:t>
          </a:r>
          <a:r>
            <a:rPr lang="en-US" sz="2000" b="1"/>
            <a:t>$GUI </a:t>
          </a:r>
          <a:endParaRPr lang="en-US" sz="2000"/>
        </a:p>
      </dgm:t>
    </dgm:pt>
    <dgm:pt modelId="{42E21192-EC77-47C3-984F-2AD942ACFF53}" type="parTrans" cxnId="{4B65E183-A1A1-4D95-93BB-AF895C0FA7F5}">
      <dgm:prSet/>
      <dgm:spPr/>
      <dgm:t>
        <a:bodyPr/>
        <a:lstStyle/>
        <a:p>
          <a:pPr algn="ctr"/>
          <a:endParaRPr lang="en-US" sz="2000"/>
        </a:p>
      </dgm:t>
    </dgm:pt>
    <dgm:pt modelId="{412CDC4A-9383-4008-A4A7-707FA9B60149}" type="sibTrans" cxnId="{4B65E183-A1A1-4D95-93BB-AF895C0FA7F5}">
      <dgm:prSet/>
      <dgm:spPr/>
      <dgm:t>
        <a:bodyPr/>
        <a:lstStyle/>
        <a:p>
          <a:pPr algn="ctr"/>
          <a:endParaRPr lang="en-US" sz="2000"/>
        </a:p>
      </dgm:t>
    </dgm:pt>
    <dgm:pt modelId="{D4435BFB-CB8E-4895-987C-0EF7E0F8F2B4}">
      <dgm:prSet custT="1"/>
      <dgm:spPr/>
      <dgm:t>
        <a:bodyPr anchor="b"/>
        <a:lstStyle/>
        <a:p>
          <a:pPr algn="ctr"/>
          <a:r>
            <a:rPr lang="en-US" sz="2000" b="1"/>
            <a:t>Keys</a:t>
          </a:r>
          <a:r>
            <a:rPr lang="en-US" sz="2000"/>
            <a:t> in the hash table </a:t>
          </a:r>
          <a:r>
            <a:rPr lang="en-US" sz="2000" b="1"/>
            <a:t>match</a:t>
          </a:r>
          <a:r>
            <a:rPr lang="en-US" sz="2000"/>
            <a:t> </a:t>
          </a:r>
          <a:r>
            <a:rPr lang="en-US" sz="2000" b="1"/>
            <a:t>x:Names</a:t>
          </a:r>
          <a:endParaRPr lang="en-US" sz="2000"/>
        </a:p>
      </dgm:t>
    </dgm:pt>
    <dgm:pt modelId="{548E54B6-3BBE-4791-B40E-70F4F5C99151}" type="parTrans" cxnId="{DA62D13C-EBB4-4540-8165-BD63FB527E74}">
      <dgm:prSet/>
      <dgm:spPr/>
      <dgm:t>
        <a:bodyPr/>
        <a:lstStyle/>
        <a:p>
          <a:pPr algn="ctr"/>
          <a:endParaRPr lang="en-US" sz="2000"/>
        </a:p>
      </dgm:t>
    </dgm:pt>
    <dgm:pt modelId="{964DA554-49CE-4D12-B803-FF54FC067C06}" type="sibTrans" cxnId="{DA62D13C-EBB4-4540-8165-BD63FB527E74}">
      <dgm:prSet/>
      <dgm:spPr/>
      <dgm:t>
        <a:bodyPr/>
        <a:lstStyle/>
        <a:p>
          <a:pPr algn="ctr"/>
          <a:endParaRPr lang="en-US" sz="2000"/>
        </a:p>
      </dgm:t>
    </dgm:pt>
    <dgm:pt modelId="{362C0160-A4C5-4B40-A22F-71988D5CC81F}">
      <dgm:prSet custT="1"/>
      <dgm:spPr/>
      <dgm:t>
        <a:bodyPr anchor="t"/>
        <a:lstStyle/>
        <a:p>
          <a:pPr algn="ctr"/>
          <a:r>
            <a:rPr lang="en-US" sz="2000" b="1"/>
            <a:t>Reusable</a:t>
          </a:r>
          <a:r>
            <a:rPr lang="en-US" sz="2000"/>
            <a:t> code – no need to memorize</a:t>
          </a:r>
        </a:p>
      </dgm:t>
    </dgm:pt>
    <dgm:pt modelId="{EB64AD37-2408-4D3C-A158-C7696C53674B}" type="parTrans" cxnId="{55E54651-320D-4EB9-8973-D566509E3FDE}">
      <dgm:prSet/>
      <dgm:spPr/>
      <dgm:t>
        <a:bodyPr/>
        <a:lstStyle/>
        <a:p>
          <a:pPr algn="ctr"/>
          <a:endParaRPr lang="en-US" sz="2000"/>
        </a:p>
      </dgm:t>
    </dgm:pt>
    <dgm:pt modelId="{889BF4FA-8B05-4908-858D-DA45406BF587}" type="sibTrans" cxnId="{55E54651-320D-4EB9-8973-D566509E3FDE}">
      <dgm:prSet/>
      <dgm:spPr/>
      <dgm:t>
        <a:bodyPr/>
        <a:lstStyle/>
        <a:p>
          <a:pPr algn="ctr"/>
          <a:endParaRPr lang="en-US" sz="2000"/>
        </a:p>
      </dgm:t>
    </dgm:pt>
    <dgm:pt modelId="{2D02D768-907D-4D47-A330-6371A66E7CB2}">
      <dgm:prSet custT="1"/>
      <dgm:spPr>
        <a:noFill/>
      </dgm:spPr>
      <dgm:t>
        <a:bodyPr/>
        <a:lstStyle/>
        <a:p>
          <a:pPr algn="ctr"/>
          <a:endParaRPr lang="en-US" sz="2000"/>
        </a:p>
      </dgm:t>
    </dgm:pt>
    <dgm:pt modelId="{39438BA3-BD60-48A8-9A04-BB17CCA46BE0}" type="parTrans" cxnId="{756C2053-4D12-475E-8B36-731CCE2F04B3}">
      <dgm:prSet/>
      <dgm:spPr/>
      <dgm:t>
        <a:bodyPr/>
        <a:lstStyle/>
        <a:p>
          <a:pPr algn="ctr"/>
          <a:endParaRPr lang="en-US" sz="2000"/>
        </a:p>
      </dgm:t>
    </dgm:pt>
    <dgm:pt modelId="{4FEB908A-B476-42C0-A746-452FD6858195}" type="sibTrans" cxnId="{756C2053-4D12-475E-8B36-731CCE2F04B3}">
      <dgm:prSet/>
      <dgm:spPr/>
      <dgm:t>
        <a:bodyPr/>
        <a:lstStyle/>
        <a:p>
          <a:pPr algn="ctr"/>
          <a:endParaRPr lang="en-US" sz="2000"/>
        </a:p>
      </dgm:t>
    </dgm:pt>
    <dgm:pt modelId="{DE765E1D-A5C5-400F-8D6C-ABB17DFEB8C4}">
      <dgm:prSet custT="1"/>
      <dgm:spPr/>
      <dgm:t>
        <a:bodyPr anchor="b"/>
        <a:lstStyle/>
        <a:p>
          <a:r>
            <a:rPr lang="en-US" sz="2000" b="1"/>
            <a:t>Values</a:t>
          </a:r>
          <a:r>
            <a:rPr lang="en-US" sz="2000"/>
            <a:t> in hash table are the </a:t>
          </a:r>
          <a:r>
            <a:rPr lang="en-US" sz="2000" b="1"/>
            <a:t>control</a:t>
          </a:r>
          <a:r>
            <a:rPr lang="en-US" sz="2000"/>
            <a:t> </a:t>
          </a:r>
          <a:r>
            <a:rPr lang="en-US" sz="2000" b="1"/>
            <a:t>objects</a:t>
          </a:r>
        </a:p>
      </dgm:t>
    </dgm:pt>
    <dgm:pt modelId="{6CCF129E-2EEF-4114-8143-309C6C09AD17}" type="parTrans" cxnId="{B743E311-7DB9-4A11-841B-B3D9D3894ABE}">
      <dgm:prSet/>
      <dgm:spPr/>
      <dgm:t>
        <a:bodyPr/>
        <a:lstStyle/>
        <a:p>
          <a:endParaRPr lang="en-US" sz="2000"/>
        </a:p>
      </dgm:t>
    </dgm:pt>
    <dgm:pt modelId="{D61E6C7B-964C-4A54-8DBD-72FBE5BD1ED4}" type="sibTrans" cxnId="{B743E311-7DB9-4A11-841B-B3D9D3894ABE}">
      <dgm:prSet/>
      <dgm:spPr/>
      <dgm:t>
        <a:bodyPr/>
        <a:lstStyle/>
        <a:p>
          <a:endParaRPr lang="en-US" sz="2000"/>
        </a:p>
      </dgm:t>
    </dgm:pt>
    <dgm:pt modelId="{18102C3D-DD20-4A3A-A1F2-62A5F3EA4311}" type="pres">
      <dgm:prSet presAssocID="{A21C493B-C58A-4736-8E45-9262AF6BAE8E}" presName="diagram" presStyleCnt="0">
        <dgm:presLayoutVars>
          <dgm:chMax val="1"/>
          <dgm:dir/>
          <dgm:animLvl val="ctr"/>
          <dgm:resizeHandles val="exact"/>
        </dgm:presLayoutVars>
      </dgm:prSet>
      <dgm:spPr/>
    </dgm:pt>
    <dgm:pt modelId="{E1E4CBDE-E6EC-41EB-ACE3-B043CF3056AE}" type="pres">
      <dgm:prSet presAssocID="{A21C493B-C58A-4736-8E45-9262AF6BAE8E}" presName="matrix" presStyleCnt="0"/>
      <dgm:spPr/>
    </dgm:pt>
    <dgm:pt modelId="{957B3A1A-7620-4DAA-BD8A-60041AAE5627}" type="pres">
      <dgm:prSet presAssocID="{A21C493B-C58A-4736-8E45-9262AF6BAE8E}" presName="tile1" presStyleLbl="node1" presStyleIdx="0" presStyleCnt="4"/>
      <dgm:spPr/>
    </dgm:pt>
    <dgm:pt modelId="{F88A81E2-43B9-4CB3-9A27-AF8CE71CEE86}" type="pres">
      <dgm:prSet presAssocID="{A21C493B-C58A-4736-8E45-9262AF6BAE8E}" presName="tile1text" presStyleLbl="node1" presStyleIdx="0" presStyleCnt="4">
        <dgm:presLayoutVars>
          <dgm:chMax val="0"/>
          <dgm:chPref val="0"/>
          <dgm:bulletEnabled val="1"/>
        </dgm:presLayoutVars>
      </dgm:prSet>
      <dgm:spPr/>
    </dgm:pt>
    <dgm:pt modelId="{A13A87D4-29AF-43D2-B534-07DB86131877}" type="pres">
      <dgm:prSet presAssocID="{A21C493B-C58A-4736-8E45-9262AF6BAE8E}" presName="tile2" presStyleLbl="node1" presStyleIdx="1" presStyleCnt="4"/>
      <dgm:spPr/>
    </dgm:pt>
    <dgm:pt modelId="{84F926E2-7F76-4A2E-8C67-4FF5FE1CE780}" type="pres">
      <dgm:prSet presAssocID="{A21C493B-C58A-4736-8E45-9262AF6BAE8E}" presName="tile2text" presStyleLbl="node1" presStyleIdx="1" presStyleCnt="4">
        <dgm:presLayoutVars>
          <dgm:chMax val="0"/>
          <dgm:chPref val="0"/>
          <dgm:bulletEnabled val="1"/>
        </dgm:presLayoutVars>
      </dgm:prSet>
      <dgm:spPr/>
    </dgm:pt>
    <dgm:pt modelId="{C95BF5B5-3B27-44F9-A471-895456D8E361}" type="pres">
      <dgm:prSet presAssocID="{A21C493B-C58A-4736-8E45-9262AF6BAE8E}" presName="tile3" presStyleLbl="node1" presStyleIdx="2" presStyleCnt="4"/>
      <dgm:spPr/>
    </dgm:pt>
    <dgm:pt modelId="{120DC130-B393-4C7F-9B2E-85C34911D25E}" type="pres">
      <dgm:prSet presAssocID="{A21C493B-C58A-4736-8E45-9262AF6BAE8E}" presName="tile3text" presStyleLbl="node1" presStyleIdx="2" presStyleCnt="4">
        <dgm:presLayoutVars>
          <dgm:chMax val="0"/>
          <dgm:chPref val="0"/>
          <dgm:bulletEnabled val="1"/>
        </dgm:presLayoutVars>
      </dgm:prSet>
      <dgm:spPr/>
    </dgm:pt>
    <dgm:pt modelId="{BDBFF365-92D8-4DF8-9408-EE03A0B178B5}" type="pres">
      <dgm:prSet presAssocID="{A21C493B-C58A-4736-8E45-9262AF6BAE8E}" presName="tile4" presStyleLbl="node1" presStyleIdx="3" presStyleCnt="4"/>
      <dgm:spPr/>
    </dgm:pt>
    <dgm:pt modelId="{F366A909-10C0-412C-8BC2-9EFA4C060FC0}" type="pres">
      <dgm:prSet presAssocID="{A21C493B-C58A-4736-8E45-9262AF6BAE8E}" presName="tile4text" presStyleLbl="node1" presStyleIdx="3" presStyleCnt="4">
        <dgm:presLayoutVars>
          <dgm:chMax val="0"/>
          <dgm:chPref val="0"/>
          <dgm:bulletEnabled val="1"/>
        </dgm:presLayoutVars>
      </dgm:prSet>
      <dgm:spPr/>
    </dgm:pt>
    <dgm:pt modelId="{3CE51054-70F7-48AC-A75C-486CB78E151E}" type="pres">
      <dgm:prSet presAssocID="{A21C493B-C58A-4736-8E45-9262AF6BAE8E}" presName="centerTile" presStyleLbl="fgShp" presStyleIdx="0" presStyleCnt="1">
        <dgm:presLayoutVars>
          <dgm:chMax val="0"/>
          <dgm:chPref val="0"/>
        </dgm:presLayoutVars>
      </dgm:prSet>
      <dgm:spPr/>
    </dgm:pt>
  </dgm:ptLst>
  <dgm:cxnLst>
    <dgm:cxn modelId="{7FF7B809-0D0F-489C-9774-94E71F0FF104}" type="presOf" srcId="{DE765E1D-A5C5-400F-8D6C-ABB17DFEB8C4}" destId="{F366A909-10C0-412C-8BC2-9EFA4C060FC0}" srcOrd="1" destOrd="0" presId="urn:microsoft.com/office/officeart/2005/8/layout/matrix1"/>
    <dgm:cxn modelId="{0DB7A90C-D893-41B3-9FB1-F7113D0DB8EE}" type="presOf" srcId="{A21C493B-C58A-4736-8E45-9262AF6BAE8E}" destId="{18102C3D-DD20-4A3A-A1F2-62A5F3EA4311}" srcOrd="0" destOrd="0" presId="urn:microsoft.com/office/officeart/2005/8/layout/matrix1"/>
    <dgm:cxn modelId="{B743E311-7DB9-4A11-841B-B3D9D3894ABE}" srcId="{2D02D768-907D-4D47-A330-6371A66E7CB2}" destId="{DE765E1D-A5C5-400F-8D6C-ABB17DFEB8C4}" srcOrd="3" destOrd="0" parTransId="{6CCF129E-2EEF-4114-8143-309C6C09AD17}" sibTransId="{D61E6C7B-964C-4A54-8DBD-72FBE5BD1ED4}"/>
    <dgm:cxn modelId="{DA62D13C-EBB4-4540-8165-BD63FB527E74}" srcId="{2D02D768-907D-4D47-A330-6371A66E7CB2}" destId="{D4435BFB-CB8E-4895-987C-0EF7E0F8F2B4}" srcOrd="2" destOrd="0" parTransId="{548E54B6-3BBE-4791-B40E-70F4F5C99151}" sibTransId="{964DA554-49CE-4D12-B803-FF54FC067C06}"/>
    <dgm:cxn modelId="{A4970666-1EC0-443B-8468-49DD6AAC214C}" type="presOf" srcId="{2D02D768-907D-4D47-A330-6371A66E7CB2}" destId="{3CE51054-70F7-48AC-A75C-486CB78E151E}" srcOrd="0" destOrd="0" presId="urn:microsoft.com/office/officeart/2005/8/layout/matrix1"/>
    <dgm:cxn modelId="{55B5E04E-C775-4016-958F-8857CD83AFC0}" type="presOf" srcId="{29859055-3C41-454A-B90E-9127DA556D7F}" destId="{84F926E2-7F76-4A2E-8C67-4FF5FE1CE780}" srcOrd="1" destOrd="0" presId="urn:microsoft.com/office/officeart/2005/8/layout/matrix1"/>
    <dgm:cxn modelId="{55E54651-320D-4EB9-8973-D566509E3FDE}" srcId="{2D02D768-907D-4D47-A330-6371A66E7CB2}" destId="{362C0160-A4C5-4B40-A22F-71988D5CC81F}" srcOrd="0" destOrd="0" parTransId="{EB64AD37-2408-4D3C-A158-C7696C53674B}" sibTransId="{889BF4FA-8B05-4908-858D-DA45406BF587}"/>
    <dgm:cxn modelId="{756C2053-4D12-475E-8B36-731CCE2F04B3}" srcId="{A21C493B-C58A-4736-8E45-9262AF6BAE8E}" destId="{2D02D768-907D-4D47-A330-6371A66E7CB2}" srcOrd="0" destOrd="0" parTransId="{39438BA3-BD60-48A8-9A04-BB17CCA46BE0}" sibTransId="{4FEB908A-B476-42C0-A746-452FD6858195}"/>
    <dgm:cxn modelId="{4B65E183-A1A1-4D95-93BB-AF895C0FA7F5}" srcId="{2D02D768-907D-4D47-A330-6371A66E7CB2}" destId="{29859055-3C41-454A-B90E-9127DA556D7F}" srcOrd="1" destOrd="0" parTransId="{42E21192-EC77-47C3-984F-2AD942ACFF53}" sibTransId="{412CDC4A-9383-4008-A4A7-707FA9B60149}"/>
    <dgm:cxn modelId="{68E663A7-E4D3-4ADB-9907-6A5A64A2E564}" type="presOf" srcId="{29859055-3C41-454A-B90E-9127DA556D7F}" destId="{A13A87D4-29AF-43D2-B534-07DB86131877}" srcOrd="0" destOrd="0" presId="urn:microsoft.com/office/officeart/2005/8/layout/matrix1"/>
    <dgm:cxn modelId="{B14BC2AB-411E-48EF-8AF8-0B8FF54028DE}" type="presOf" srcId="{362C0160-A4C5-4B40-A22F-71988D5CC81F}" destId="{F88A81E2-43B9-4CB3-9A27-AF8CE71CEE86}" srcOrd="1" destOrd="0" presId="urn:microsoft.com/office/officeart/2005/8/layout/matrix1"/>
    <dgm:cxn modelId="{D1858BF3-B162-4687-9E16-F95A64DA8223}" type="presOf" srcId="{DE765E1D-A5C5-400F-8D6C-ABB17DFEB8C4}" destId="{BDBFF365-92D8-4DF8-9408-EE03A0B178B5}" srcOrd="0" destOrd="0" presId="urn:microsoft.com/office/officeart/2005/8/layout/matrix1"/>
    <dgm:cxn modelId="{F597AFF3-1E8D-412B-BB48-024195E2ADFE}" type="presOf" srcId="{362C0160-A4C5-4B40-A22F-71988D5CC81F}" destId="{957B3A1A-7620-4DAA-BD8A-60041AAE5627}" srcOrd="0" destOrd="0" presId="urn:microsoft.com/office/officeart/2005/8/layout/matrix1"/>
    <dgm:cxn modelId="{14FA42FC-C67C-4186-AC7C-52F76AED58D5}" type="presOf" srcId="{D4435BFB-CB8E-4895-987C-0EF7E0F8F2B4}" destId="{C95BF5B5-3B27-44F9-A471-895456D8E361}" srcOrd="0" destOrd="0" presId="urn:microsoft.com/office/officeart/2005/8/layout/matrix1"/>
    <dgm:cxn modelId="{1D18CAFF-2C58-4CC1-A601-A90F6CE7E00A}" type="presOf" srcId="{D4435BFB-CB8E-4895-987C-0EF7E0F8F2B4}" destId="{120DC130-B393-4C7F-9B2E-85C34911D25E}" srcOrd="1" destOrd="0" presId="urn:microsoft.com/office/officeart/2005/8/layout/matrix1"/>
    <dgm:cxn modelId="{98CA23BE-A886-4CBD-8023-00093084B9E6}" type="presParOf" srcId="{18102C3D-DD20-4A3A-A1F2-62A5F3EA4311}" destId="{E1E4CBDE-E6EC-41EB-ACE3-B043CF3056AE}" srcOrd="0" destOrd="0" presId="urn:microsoft.com/office/officeart/2005/8/layout/matrix1"/>
    <dgm:cxn modelId="{F1EA2751-7C1B-457A-B7EB-71329438192B}" type="presParOf" srcId="{E1E4CBDE-E6EC-41EB-ACE3-B043CF3056AE}" destId="{957B3A1A-7620-4DAA-BD8A-60041AAE5627}" srcOrd="0" destOrd="0" presId="urn:microsoft.com/office/officeart/2005/8/layout/matrix1"/>
    <dgm:cxn modelId="{88A4A68A-B19D-4A38-86B2-E604501A378B}" type="presParOf" srcId="{E1E4CBDE-E6EC-41EB-ACE3-B043CF3056AE}" destId="{F88A81E2-43B9-4CB3-9A27-AF8CE71CEE86}" srcOrd="1" destOrd="0" presId="urn:microsoft.com/office/officeart/2005/8/layout/matrix1"/>
    <dgm:cxn modelId="{61F51894-731E-42AA-9568-D5C32A9515C9}" type="presParOf" srcId="{E1E4CBDE-E6EC-41EB-ACE3-B043CF3056AE}" destId="{A13A87D4-29AF-43D2-B534-07DB86131877}" srcOrd="2" destOrd="0" presId="urn:microsoft.com/office/officeart/2005/8/layout/matrix1"/>
    <dgm:cxn modelId="{E925E44D-A426-4B49-9C5A-8DBE55A4D63E}" type="presParOf" srcId="{E1E4CBDE-E6EC-41EB-ACE3-B043CF3056AE}" destId="{84F926E2-7F76-4A2E-8C67-4FF5FE1CE780}" srcOrd="3" destOrd="0" presId="urn:microsoft.com/office/officeart/2005/8/layout/matrix1"/>
    <dgm:cxn modelId="{CD1CF4C7-9B24-416D-9D73-8CC121CA95AA}" type="presParOf" srcId="{E1E4CBDE-E6EC-41EB-ACE3-B043CF3056AE}" destId="{C95BF5B5-3B27-44F9-A471-895456D8E361}" srcOrd="4" destOrd="0" presId="urn:microsoft.com/office/officeart/2005/8/layout/matrix1"/>
    <dgm:cxn modelId="{814A9153-ED4C-4F65-8A5D-2440C74FC90C}" type="presParOf" srcId="{E1E4CBDE-E6EC-41EB-ACE3-B043CF3056AE}" destId="{120DC130-B393-4C7F-9B2E-85C34911D25E}" srcOrd="5" destOrd="0" presId="urn:microsoft.com/office/officeart/2005/8/layout/matrix1"/>
    <dgm:cxn modelId="{10D0F43C-7EF3-4C15-8685-0EB966E5618C}" type="presParOf" srcId="{E1E4CBDE-E6EC-41EB-ACE3-B043CF3056AE}" destId="{BDBFF365-92D8-4DF8-9408-EE03A0B178B5}" srcOrd="6" destOrd="0" presId="urn:microsoft.com/office/officeart/2005/8/layout/matrix1"/>
    <dgm:cxn modelId="{8E0A0CB7-4376-402B-B380-57D6613D7394}" type="presParOf" srcId="{E1E4CBDE-E6EC-41EB-ACE3-B043CF3056AE}" destId="{F366A909-10C0-412C-8BC2-9EFA4C060FC0}" srcOrd="7" destOrd="0" presId="urn:microsoft.com/office/officeart/2005/8/layout/matrix1"/>
    <dgm:cxn modelId="{2E76EC8C-3B8B-47B3-9F84-990968E2DAFD}" type="presParOf" srcId="{18102C3D-DD20-4A3A-A1F2-62A5F3EA4311}" destId="{3CE51054-70F7-48AC-A75C-486CB78E151E}" srcOrd="1" destOrd="0" presId="urn:microsoft.com/office/officeart/2005/8/layout/matrix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21C493B-C58A-4736-8E45-9262AF6BAE8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85B249D1-2C51-475A-9B50-9F89159B4A1A}">
      <dgm:prSet phldrT="[Text]" custT="1"/>
      <dgm:spPr/>
      <dgm:t>
        <a:bodyPr/>
        <a:lstStyle/>
        <a:p>
          <a:r>
            <a:rPr lang="en-US" sz="2400" b="0"/>
            <a:t>PowerShell code goes </a:t>
          </a:r>
          <a:r>
            <a:rPr lang="en-US" sz="2400" b="1"/>
            <a:t>before</a:t>
          </a:r>
          <a:r>
            <a:rPr lang="en-US" sz="2400" b="0"/>
            <a:t> the $</a:t>
          </a:r>
          <a:r>
            <a:rPr lang="en-US" sz="2400" b="0" err="1"/>
            <a:t>Rawform.</a:t>
          </a:r>
          <a:r>
            <a:rPr lang="en-US" sz="2400" b="1" err="1"/>
            <a:t>ShowDialog</a:t>
          </a:r>
          <a:r>
            <a:rPr lang="en-US" sz="2400" b="0"/>
            <a:t>()</a:t>
          </a:r>
        </a:p>
      </dgm:t>
    </dgm:pt>
    <dgm:pt modelId="{B5B2EF82-E4C5-4EB5-A7FF-54A02770A9C9}" type="parTrans" cxnId="{42AD9C8F-BD81-4902-8D9C-63257B099136}">
      <dgm:prSet/>
      <dgm:spPr/>
      <dgm:t>
        <a:bodyPr/>
        <a:lstStyle/>
        <a:p>
          <a:endParaRPr lang="en-US"/>
        </a:p>
      </dgm:t>
    </dgm:pt>
    <dgm:pt modelId="{6688A735-A64E-49B3-B47C-E4BEB79BA8F4}" type="sibTrans" cxnId="{42AD9C8F-BD81-4902-8D9C-63257B099136}">
      <dgm:prSet/>
      <dgm:spPr/>
      <dgm:t>
        <a:bodyPr/>
        <a:lstStyle/>
        <a:p>
          <a:endParaRPr lang="en-US"/>
        </a:p>
      </dgm:t>
    </dgm:pt>
    <dgm:pt modelId="{886006B1-1448-4935-800B-339AFEF909CD}" type="pres">
      <dgm:prSet presAssocID="{A21C493B-C58A-4736-8E45-9262AF6BAE8E}" presName="vert0" presStyleCnt="0">
        <dgm:presLayoutVars>
          <dgm:dir/>
          <dgm:animOne val="branch"/>
          <dgm:animLvl val="lvl"/>
        </dgm:presLayoutVars>
      </dgm:prSet>
      <dgm:spPr/>
    </dgm:pt>
    <dgm:pt modelId="{5DF5B567-700B-44F5-B6E3-B6C607E8AE23}" type="pres">
      <dgm:prSet presAssocID="{85B249D1-2C51-475A-9B50-9F89159B4A1A}" presName="thickLine" presStyleLbl="alignNode1" presStyleIdx="0" presStyleCnt="1"/>
      <dgm:spPr/>
    </dgm:pt>
    <dgm:pt modelId="{6FD8FE1E-8E51-4EEE-8064-7EDBF86EC9E1}" type="pres">
      <dgm:prSet presAssocID="{85B249D1-2C51-475A-9B50-9F89159B4A1A}" presName="horz1" presStyleCnt="0"/>
      <dgm:spPr/>
    </dgm:pt>
    <dgm:pt modelId="{B0EC9578-95F8-4FA4-A52A-C82C9D91825E}" type="pres">
      <dgm:prSet presAssocID="{85B249D1-2C51-475A-9B50-9F89159B4A1A}" presName="tx1" presStyleLbl="revTx" presStyleIdx="0" presStyleCnt="1"/>
      <dgm:spPr/>
    </dgm:pt>
    <dgm:pt modelId="{0C2B46A3-5E4C-4913-943D-DE46B9679C34}" type="pres">
      <dgm:prSet presAssocID="{85B249D1-2C51-475A-9B50-9F89159B4A1A}" presName="vert1" presStyleCnt="0"/>
      <dgm:spPr/>
    </dgm:pt>
  </dgm:ptLst>
  <dgm:cxnLst>
    <dgm:cxn modelId="{9A584862-B7C5-44A3-B263-784DF4E582FA}" type="presOf" srcId="{A21C493B-C58A-4736-8E45-9262AF6BAE8E}" destId="{886006B1-1448-4935-800B-339AFEF909CD}" srcOrd="0" destOrd="0" presId="urn:microsoft.com/office/officeart/2008/layout/LinedList"/>
    <dgm:cxn modelId="{FDA58148-F1C2-4505-BE3B-11D15DBF8CEE}" type="presOf" srcId="{85B249D1-2C51-475A-9B50-9F89159B4A1A}" destId="{B0EC9578-95F8-4FA4-A52A-C82C9D91825E}" srcOrd="0" destOrd="0" presId="urn:microsoft.com/office/officeart/2008/layout/LinedList"/>
    <dgm:cxn modelId="{42AD9C8F-BD81-4902-8D9C-63257B099136}" srcId="{A21C493B-C58A-4736-8E45-9262AF6BAE8E}" destId="{85B249D1-2C51-475A-9B50-9F89159B4A1A}" srcOrd="0" destOrd="0" parTransId="{B5B2EF82-E4C5-4EB5-A7FF-54A02770A9C9}" sibTransId="{6688A735-A64E-49B3-B47C-E4BEB79BA8F4}"/>
    <dgm:cxn modelId="{3B09F55B-C921-4CB9-B1E1-55DFA7922E08}" type="presParOf" srcId="{886006B1-1448-4935-800B-339AFEF909CD}" destId="{5DF5B567-700B-44F5-B6E3-B6C607E8AE23}" srcOrd="0" destOrd="0" presId="urn:microsoft.com/office/officeart/2008/layout/LinedList"/>
    <dgm:cxn modelId="{C770DC4C-8A62-4E67-853C-7D225B9F9B3A}" type="presParOf" srcId="{886006B1-1448-4935-800B-339AFEF909CD}" destId="{6FD8FE1E-8E51-4EEE-8064-7EDBF86EC9E1}" srcOrd="1" destOrd="0" presId="urn:microsoft.com/office/officeart/2008/layout/LinedList"/>
    <dgm:cxn modelId="{00BB9D8F-39CD-4273-93BB-1B94240CD894}" type="presParOf" srcId="{6FD8FE1E-8E51-4EEE-8064-7EDBF86EC9E1}" destId="{B0EC9578-95F8-4FA4-A52A-C82C9D91825E}" srcOrd="0" destOrd="0" presId="urn:microsoft.com/office/officeart/2008/layout/LinedList"/>
    <dgm:cxn modelId="{2CBD222A-6E98-4F5A-97EC-FC155C364BE6}" type="presParOf" srcId="{6FD8FE1E-8E51-4EEE-8064-7EDBF86EC9E1}" destId="{0C2B46A3-5E4C-4913-943D-DE46B9679C34}"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78B0F27B-25E1-4BA8-8E44-CB07CD27F540}" type="doc">
      <dgm:prSet loTypeId="urn:microsoft.com/office/officeart/2005/8/layout/pList1" loCatId="list" qsTypeId="urn:microsoft.com/office/officeart/2005/8/quickstyle/simple1" qsCatId="simple" csTypeId="urn:microsoft.com/office/officeart/2005/8/colors/colorful1" csCatId="colorful" phldr="1"/>
      <dgm:spPr/>
      <dgm:t>
        <a:bodyPr/>
        <a:lstStyle/>
        <a:p>
          <a:endParaRPr lang="en-US"/>
        </a:p>
      </dgm:t>
    </dgm:pt>
    <dgm:pt modelId="{DCAB880F-315C-4249-80F2-7B13CC1383A5}">
      <dgm:prSet custT="1"/>
      <dgm:spPr/>
      <dgm:t>
        <a:bodyPr/>
        <a:lstStyle/>
        <a:p>
          <a:r>
            <a:rPr lang="en-US" sz="2400" b="1"/>
            <a:t>$GUI hash table </a:t>
          </a:r>
          <a:r>
            <a:rPr lang="en-US" sz="2400" b="0"/>
            <a:t>allows</a:t>
          </a:r>
          <a:r>
            <a:rPr lang="en-US" sz="2400" b="1"/>
            <a:t> access </a:t>
          </a:r>
          <a:r>
            <a:rPr lang="en-US" sz="2400" b="0"/>
            <a:t>to</a:t>
          </a:r>
          <a:r>
            <a:rPr lang="en-US" sz="2400" b="1"/>
            <a:t> </a:t>
          </a:r>
          <a:r>
            <a:rPr lang="en-US" sz="2400" b="0"/>
            <a:t>control</a:t>
          </a:r>
          <a:r>
            <a:rPr lang="en-US" sz="2400" b="1"/>
            <a:t> </a:t>
          </a:r>
          <a:r>
            <a:rPr lang="en-US" sz="2400" b="0"/>
            <a:t>elements</a:t>
          </a:r>
        </a:p>
      </dgm:t>
    </dgm:pt>
    <dgm:pt modelId="{5FFD9857-6263-4085-9415-3BA224418D56}" type="parTrans" cxnId="{E1DD5ACD-CC32-4173-8DB4-C8B65B3606F5}">
      <dgm:prSet/>
      <dgm:spPr/>
      <dgm:t>
        <a:bodyPr/>
        <a:lstStyle/>
        <a:p>
          <a:endParaRPr lang="en-US" sz="2400"/>
        </a:p>
      </dgm:t>
    </dgm:pt>
    <dgm:pt modelId="{7980160D-ECF3-45DB-B28C-30CFF1C762F3}" type="sibTrans" cxnId="{E1DD5ACD-CC32-4173-8DB4-C8B65B3606F5}">
      <dgm:prSet/>
      <dgm:spPr/>
      <dgm:t>
        <a:bodyPr/>
        <a:lstStyle/>
        <a:p>
          <a:endParaRPr lang="en-US" sz="2400"/>
        </a:p>
      </dgm:t>
    </dgm:pt>
    <dgm:pt modelId="{CE4AAC69-B66D-40BC-93E4-BAE45254981A}">
      <dgm:prSet custT="1"/>
      <dgm:spPr/>
      <dgm:t>
        <a:bodyPr/>
        <a:lstStyle/>
        <a:p>
          <a:r>
            <a:rPr lang="en-US" sz="2400"/>
            <a:t>Control </a:t>
          </a:r>
          <a:r>
            <a:rPr lang="en-US" sz="2400" b="1"/>
            <a:t>properties</a:t>
          </a:r>
          <a:r>
            <a:rPr lang="en-US" sz="2400"/>
            <a:t> gather user </a:t>
          </a:r>
          <a:r>
            <a:rPr lang="en-US" sz="2400" b="1"/>
            <a:t>input</a:t>
          </a:r>
        </a:p>
      </dgm:t>
    </dgm:pt>
    <dgm:pt modelId="{90792201-CF67-4B14-9F90-5BFA855EB396}" type="parTrans" cxnId="{3F73952A-0FE8-452E-8B32-F2CFF6A72877}">
      <dgm:prSet/>
      <dgm:spPr/>
      <dgm:t>
        <a:bodyPr/>
        <a:lstStyle/>
        <a:p>
          <a:endParaRPr lang="en-US" sz="2400"/>
        </a:p>
      </dgm:t>
    </dgm:pt>
    <dgm:pt modelId="{825CA840-EC00-4838-88AD-1E33861C4E78}" type="sibTrans" cxnId="{3F73952A-0FE8-452E-8B32-F2CFF6A72877}">
      <dgm:prSet/>
      <dgm:spPr/>
      <dgm:t>
        <a:bodyPr/>
        <a:lstStyle/>
        <a:p>
          <a:endParaRPr lang="en-US" sz="2400"/>
        </a:p>
      </dgm:t>
    </dgm:pt>
    <dgm:pt modelId="{D852CF44-17CC-4A38-A170-3CD92806937A}">
      <dgm:prSet custT="1"/>
      <dgm:spPr/>
      <dgm:t>
        <a:bodyPr/>
        <a:lstStyle/>
        <a:p>
          <a:r>
            <a:rPr lang="en-US" sz="2400"/>
            <a:t>Control </a:t>
          </a:r>
          <a:r>
            <a:rPr lang="en-US" sz="2400" b="1"/>
            <a:t>events</a:t>
          </a:r>
          <a:r>
            <a:rPr lang="en-US" sz="2400"/>
            <a:t> </a:t>
          </a:r>
          <a:r>
            <a:rPr lang="en-US" sz="2400" b="1"/>
            <a:t>trigger</a:t>
          </a:r>
          <a:r>
            <a:rPr lang="en-US" sz="2400"/>
            <a:t> code blocks</a:t>
          </a:r>
        </a:p>
      </dgm:t>
    </dgm:pt>
    <dgm:pt modelId="{E3A1777D-585A-40B1-BA08-9ABB5CDC2569}" type="parTrans" cxnId="{A88A0F2C-2BE9-44E8-A291-3D1DACAC687A}">
      <dgm:prSet/>
      <dgm:spPr/>
      <dgm:t>
        <a:bodyPr/>
        <a:lstStyle/>
        <a:p>
          <a:endParaRPr lang="en-US"/>
        </a:p>
      </dgm:t>
    </dgm:pt>
    <dgm:pt modelId="{1EB37F39-7134-4451-85D9-98FBECEAB1E3}" type="sibTrans" cxnId="{A88A0F2C-2BE9-44E8-A291-3D1DACAC687A}">
      <dgm:prSet/>
      <dgm:spPr/>
      <dgm:t>
        <a:bodyPr/>
        <a:lstStyle/>
        <a:p>
          <a:endParaRPr lang="en-US"/>
        </a:p>
      </dgm:t>
    </dgm:pt>
    <dgm:pt modelId="{E4016D93-2517-432E-8F6C-3952E4B69403}" type="pres">
      <dgm:prSet presAssocID="{78B0F27B-25E1-4BA8-8E44-CB07CD27F540}" presName="Name0" presStyleCnt="0">
        <dgm:presLayoutVars>
          <dgm:dir/>
          <dgm:resizeHandles val="exact"/>
        </dgm:presLayoutVars>
      </dgm:prSet>
      <dgm:spPr/>
    </dgm:pt>
    <dgm:pt modelId="{69C4A8E1-0E92-4D31-A451-FF6E768ED532}" type="pres">
      <dgm:prSet presAssocID="{DCAB880F-315C-4249-80F2-7B13CC1383A5}" presName="compNode" presStyleCnt="0"/>
      <dgm:spPr/>
    </dgm:pt>
    <dgm:pt modelId="{7534B6D7-A903-400F-8178-B43D2CFF5A22}" type="pres">
      <dgm:prSet presAssocID="{DCAB880F-315C-4249-80F2-7B13CC1383A5}" presName="pictRect" presStyleLbl="node1" presStyleIdx="0" presStyleCnt="3" custScaleX="84128" custScaleY="84128" custLinFactNeighborY="6413"/>
      <dgm:spPr>
        <a:blipFill dpi="0" rotWithShape="1">
          <a:blip xmlns:r="http://schemas.openxmlformats.org/officeDocument/2006/relationships" r:embed="rId1">
            <a:extLst>
              <a:ext uri="{96DAC541-7B7A-43D3-8B79-37D633B846F1}">
                <asvg:svgBlip xmlns:asvg="http://schemas.microsoft.com/office/drawing/2016/SVG/main" r:embed="rId2"/>
              </a:ext>
            </a:extLst>
          </a:blip>
          <a:srcRect/>
          <a:stretch>
            <a:fillRect l="15550" r="15550"/>
          </a:stretch>
        </a:blipFill>
      </dgm:spPr>
      <dgm:extLst>
        <a:ext uri="{E40237B7-FDA0-4F09-8148-C483321AD2D9}">
          <dgm14:cNvPr xmlns:dgm14="http://schemas.microsoft.com/office/drawing/2010/diagram" id="0" name="" descr="Box with solid fill"/>
        </a:ext>
      </dgm:extLst>
    </dgm:pt>
    <dgm:pt modelId="{1090F5B3-856E-4C13-B862-A1D2DC32E6BC}" type="pres">
      <dgm:prSet presAssocID="{DCAB880F-315C-4249-80F2-7B13CC1383A5}" presName="textRect" presStyleLbl="revTx" presStyleIdx="0" presStyleCnt="3">
        <dgm:presLayoutVars>
          <dgm:bulletEnabled val="1"/>
        </dgm:presLayoutVars>
      </dgm:prSet>
      <dgm:spPr/>
    </dgm:pt>
    <dgm:pt modelId="{02599D9C-05F5-4A9E-BB43-121292A88E69}" type="pres">
      <dgm:prSet presAssocID="{7980160D-ECF3-45DB-B28C-30CFF1C762F3}" presName="sibTrans" presStyleLbl="sibTrans2D1" presStyleIdx="0" presStyleCnt="0"/>
      <dgm:spPr/>
    </dgm:pt>
    <dgm:pt modelId="{05D72DC6-742D-49EC-87A8-30142D09D36B}" type="pres">
      <dgm:prSet presAssocID="{CE4AAC69-B66D-40BC-93E4-BAE45254981A}" presName="compNode" presStyleCnt="0"/>
      <dgm:spPr/>
    </dgm:pt>
    <dgm:pt modelId="{8E481453-4F6D-4D17-A4E7-3BB0549944A9}" type="pres">
      <dgm:prSet presAssocID="{CE4AAC69-B66D-40BC-93E4-BAE45254981A}" presName="pictRect" presStyleLbl="node1" presStyleIdx="1" presStyleCnt="3" custScaleX="84128" custScaleY="84128" custLinFactNeighborY="6413"/>
      <dgm:spPr>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15550" r="15550"/>
          </a:stretch>
        </a:blipFill>
      </dgm:spPr>
      <dgm:extLst>
        <a:ext uri="{E40237B7-FDA0-4F09-8148-C483321AD2D9}">
          <dgm14:cNvPr xmlns:dgm14="http://schemas.microsoft.com/office/drawing/2010/diagram" id="0" name="" descr="Mouse with solid fill"/>
        </a:ext>
      </dgm:extLst>
    </dgm:pt>
    <dgm:pt modelId="{C76200B5-D5FF-4407-8A28-59D9CD249A53}" type="pres">
      <dgm:prSet presAssocID="{CE4AAC69-B66D-40BC-93E4-BAE45254981A}" presName="textRect" presStyleLbl="revTx" presStyleIdx="1" presStyleCnt="3">
        <dgm:presLayoutVars>
          <dgm:bulletEnabled val="1"/>
        </dgm:presLayoutVars>
      </dgm:prSet>
      <dgm:spPr/>
    </dgm:pt>
    <dgm:pt modelId="{DD6F8D29-759B-4F0A-A518-8D27EB3840F7}" type="pres">
      <dgm:prSet presAssocID="{825CA840-EC00-4838-88AD-1E33861C4E78}" presName="sibTrans" presStyleLbl="sibTrans2D1" presStyleIdx="0" presStyleCnt="0"/>
      <dgm:spPr/>
    </dgm:pt>
    <dgm:pt modelId="{E86BCBF0-13DB-48FE-87B3-7C4B4AE4D65F}" type="pres">
      <dgm:prSet presAssocID="{D852CF44-17CC-4A38-A170-3CD92806937A}" presName="compNode" presStyleCnt="0"/>
      <dgm:spPr/>
    </dgm:pt>
    <dgm:pt modelId="{8BFB11D7-82F7-4BFE-B848-232C14C7264D}" type="pres">
      <dgm:prSet presAssocID="{D852CF44-17CC-4A38-A170-3CD92806937A}" presName="pictRect" presStyleLbl="node1" presStyleIdx="2" presStyleCnt="3"/>
      <dgm:spPr>
        <a:blipFill dpi="0" rotWithShape="1">
          <a:blip xmlns:r="http://schemas.openxmlformats.org/officeDocument/2006/relationships" r:embed="rId5">
            <a:extLst>
              <a:ext uri="{96DAC541-7B7A-43D3-8B79-37D633B846F1}">
                <asvg:svgBlip xmlns:asvg="http://schemas.microsoft.com/office/drawing/2016/SVG/main" r:embed="rId6"/>
              </a:ext>
            </a:extLst>
          </a:blip>
          <a:srcRect/>
          <a:stretch>
            <a:fillRect l="15550" r="15550"/>
          </a:stretch>
        </a:blipFill>
      </dgm:spPr>
      <dgm:extLst>
        <a:ext uri="{E40237B7-FDA0-4F09-8148-C483321AD2D9}">
          <dgm14:cNvPr xmlns:dgm14="http://schemas.microsoft.com/office/drawing/2010/diagram" id="0" name="" descr="Lightning bolt with solid fill"/>
        </a:ext>
      </dgm:extLst>
    </dgm:pt>
    <dgm:pt modelId="{4DBC8352-C88C-4E34-853A-82737C1BA0D7}" type="pres">
      <dgm:prSet presAssocID="{D852CF44-17CC-4A38-A170-3CD92806937A}" presName="textRect" presStyleLbl="revTx" presStyleIdx="2" presStyleCnt="3">
        <dgm:presLayoutVars>
          <dgm:bulletEnabled val="1"/>
        </dgm:presLayoutVars>
      </dgm:prSet>
      <dgm:spPr/>
    </dgm:pt>
  </dgm:ptLst>
  <dgm:cxnLst>
    <dgm:cxn modelId="{5F7FFE20-45FE-4AC2-BB12-50ECB25ACF2F}" type="presOf" srcId="{825CA840-EC00-4838-88AD-1E33861C4E78}" destId="{DD6F8D29-759B-4F0A-A518-8D27EB3840F7}" srcOrd="0" destOrd="0" presId="urn:microsoft.com/office/officeart/2005/8/layout/pList1"/>
    <dgm:cxn modelId="{3F73952A-0FE8-452E-8B32-F2CFF6A72877}" srcId="{78B0F27B-25E1-4BA8-8E44-CB07CD27F540}" destId="{CE4AAC69-B66D-40BC-93E4-BAE45254981A}" srcOrd="1" destOrd="0" parTransId="{90792201-CF67-4B14-9F90-5BFA855EB396}" sibTransId="{825CA840-EC00-4838-88AD-1E33861C4E78}"/>
    <dgm:cxn modelId="{A88A0F2C-2BE9-44E8-A291-3D1DACAC687A}" srcId="{78B0F27B-25E1-4BA8-8E44-CB07CD27F540}" destId="{D852CF44-17CC-4A38-A170-3CD92806937A}" srcOrd="2" destOrd="0" parTransId="{E3A1777D-585A-40B1-BA08-9ABB5CDC2569}" sibTransId="{1EB37F39-7134-4451-85D9-98FBECEAB1E3}"/>
    <dgm:cxn modelId="{B106EC3F-3E4F-4CAE-A1CF-2325C704AF98}" type="presOf" srcId="{CE4AAC69-B66D-40BC-93E4-BAE45254981A}" destId="{C76200B5-D5FF-4407-8A28-59D9CD249A53}" srcOrd="0" destOrd="0" presId="urn:microsoft.com/office/officeart/2005/8/layout/pList1"/>
    <dgm:cxn modelId="{349F2A66-9A71-45D2-BEDE-74CAB216D3FA}" type="presOf" srcId="{7980160D-ECF3-45DB-B28C-30CFF1C762F3}" destId="{02599D9C-05F5-4A9E-BB43-121292A88E69}" srcOrd="0" destOrd="0" presId="urn:microsoft.com/office/officeart/2005/8/layout/pList1"/>
    <dgm:cxn modelId="{B5273F6F-59D8-490F-9EAB-FC420796A953}" type="presOf" srcId="{78B0F27B-25E1-4BA8-8E44-CB07CD27F540}" destId="{E4016D93-2517-432E-8F6C-3952E4B69403}" srcOrd="0" destOrd="0" presId="urn:microsoft.com/office/officeart/2005/8/layout/pList1"/>
    <dgm:cxn modelId="{2C2AC286-41CE-4BC3-99C4-EC3E94C35960}" type="presOf" srcId="{DCAB880F-315C-4249-80F2-7B13CC1383A5}" destId="{1090F5B3-856E-4C13-B862-A1D2DC32E6BC}" srcOrd="0" destOrd="0" presId="urn:microsoft.com/office/officeart/2005/8/layout/pList1"/>
    <dgm:cxn modelId="{E1DD5ACD-CC32-4173-8DB4-C8B65B3606F5}" srcId="{78B0F27B-25E1-4BA8-8E44-CB07CD27F540}" destId="{DCAB880F-315C-4249-80F2-7B13CC1383A5}" srcOrd="0" destOrd="0" parTransId="{5FFD9857-6263-4085-9415-3BA224418D56}" sibTransId="{7980160D-ECF3-45DB-B28C-30CFF1C762F3}"/>
    <dgm:cxn modelId="{EFA79EE5-263A-4D02-9550-2BF48F3DDABE}" type="presOf" srcId="{D852CF44-17CC-4A38-A170-3CD92806937A}" destId="{4DBC8352-C88C-4E34-853A-82737C1BA0D7}" srcOrd="0" destOrd="0" presId="urn:microsoft.com/office/officeart/2005/8/layout/pList1"/>
    <dgm:cxn modelId="{47B94A01-D1DB-4D46-AA72-CB46216C7105}" type="presParOf" srcId="{E4016D93-2517-432E-8F6C-3952E4B69403}" destId="{69C4A8E1-0E92-4D31-A451-FF6E768ED532}" srcOrd="0" destOrd="0" presId="urn:microsoft.com/office/officeart/2005/8/layout/pList1"/>
    <dgm:cxn modelId="{7C8995A6-04EB-4E30-8163-41E04FA6FA1A}" type="presParOf" srcId="{69C4A8E1-0E92-4D31-A451-FF6E768ED532}" destId="{7534B6D7-A903-400F-8178-B43D2CFF5A22}" srcOrd="0" destOrd="0" presId="urn:microsoft.com/office/officeart/2005/8/layout/pList1"/>
    <dgm:cxn modelId="{EEC1A762-0CC0-423A-85B1-E8C883D3B841}" type="presParOf" srcId="{69C4A8E1-0E92-4D31-A451-FF6E768ED532}" destId="{1090F5B3-856E-4C13-B862-A1D2DC32E6BC}" srcOrd="1" destOrd="0" presId="urn:microsoft.com/office/officeart/2005/8/layout/pList1"/>
    <dgm:cxn modelId="{A76F2B25-F9A0-44E7-B534-B46C355E84E3}" type="presParOf" srcId="{E4016D93-2517-432E-8F6C-3952E4B69403}" destId="{02599D9C-05F5-4A9E-BB43-121292A88E69}" srcOrd="1" destOrd="0" presId="urn:microsoft.com/office/officeart/2005/8/layout/pList1"/>
    <dgm:cxn modelId="{AFE14859-9E72-4025-B5B4-0CE1F692F7FB}" type="presParOf" srcId="{E4016D93-2517-432E-8F6C-3952E4B69403}" destId="{05D72DC6-742D-49EC-87A8-30142D09D36B}" srcOrd="2" destOrd="0" presId="urn:microsoft.com/office/officeart/2005/8/layout/pList1"/>
    <dgm:cxn modelId="{F409E8D4-B3C7-4554-AA8E-F9D93746617B}" type="presParOf" srcId="{05D72DC6-742D-49EC-87A8-30142D09D36B}" destId="{8E481453-4F6D-4D17-A4E7-3BB0549944A9}" srcOrd="0" destOrd="0" presId="urn:microsoft.com/office/officeart/2005/8/layout/pList1"/>
    <dgm:cxn modelId="{5D2D9BDB-88BA-4E24-A5F6-B84F4A5910CE}" type="presParOf" srcId="{05D72DC6-742D-49EC-87A8-30142D09D36B}" destId="{C76200B5-D5FF-4407-8A28-59D9CD249A53}" srcOrd="1" destOrd="0" presId="urn:microsoft.com/office/officeart/2005/8/layout/pList1"/>
    <dgm:cxn modelId="{075FA0CA-3183-4184-ACDC-A080FAD60E94}" type="presParOf" srcId="{E4016D93-2517-432E-8F6C-3952E4B69403}" destId="{DD6F8D29-759B-4F0A-A518-8D27EB3840F7}" srcOrd="3" destOrd="0" presId="urn:microsoft.com/office/officeart/2005/8/layout/pList1"/>
    <dgm:cxn modelId="{882E1A69-7629-4E38-BC47-D552A7FA18A9}" type="presParOf" srcId="{E4016D93-2517-432E-8F6C-3952E4B69403}" destId="{E86BCBF0-13DB-48FE-87B3-7C4B4AE4D65F}" srcOrd="4" destOrd="0" presId="urn:microsoft.com/office/officeart/2005/8/layout/pList1"/>
    <dgm:cxn modelId="{4731B37C-04F0-473A-BC27-2F70EDB72B2C}" type="presParOf" srcId="{E86BCBF0-13DB-48FE-87B3-7C4B4AE4D65F}" destId="{8BFB11D7-82F7-4BFE-B848-232C14C7264D}" srcOrd="0" destOrd="0" presId="urn:microsoft.com/office/officeart/2005/8/layout/pList1"/>
    <dgm:cxn modelId="{99B14F68-28D6-4422-BCD3-5608D93D9513}" type="presParOf" srcId="{E86BCBF0-13DB-48FE-87B3-7C4B4AE4D65F}" destId="{4DBC8352-C88C-4E34-853A-82737C1BA0D7}" srcOrd="1" destOrd="0" presId="urn:microsoft.com/office/officeart/2005/8/layout/p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B35F0DA-5408-49AD-9C9C-30F27EB2CC4C}"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en-US"/>
        </a:p>
      </dgm:t>
    </dgm:pt>
    <dgm:pt modelId="{84D328B8-BFB2-4EDC-94DD-ACBED9B83AD7}">
      <dgm:prSet custT="1"/>
      <dgm:spPr/>
      <dgm:t>
        <a:bodyPr/>
        <a:lstStyle/>
        <a:p>
          <a:r>
            <a:rPr lang="en-US" sz="2600"/>
            <a:t>A </a:t>
          </a:r>
          <a:r>
            <a:rPr lang="en-US" sz="2600" b="0"/>
            <a:t>standard</a:t>
          </a:r>
          <a:r>
            <a:rPr lang="en-US" sz="2600"/>
            <a:t> set of editable </a:t>
          </a:r>
          <a:r>
            <a:rPr lang="en-US" sz="2600" b="1"/>
            <a:t>GUI features</a:t>
          </a:r>
        </a:p>
      </dgm:t>
    </dgm:pt>
    <dgm:pt modelId="{318696D5-782C-468A-AC59-2793F6C52236}" type="parTrans" cxnId="{96DB3450-96A8-441A-AB3B-85F999A87C6D}">
      <dgm:prSet/>
      <dgm:spPr/>
      <dgm:t>
        <a:bodyPr/>
        <a:lstStyle/>
        <a:p>
          <a:endParaRPr lang="en-US"/>
        </a:p>
      </dgm:t>
    </dgm:pt>
    <dgm:pt modelId="{0040F1DA-3A41-4ED0-9CB9-360438E325A6}" type="sibTrans" cxnId="{96DB3450-96A8-441A-AB3B-85F999A87C6D}">
      <dgm:prSet/>
      <dgm:spPr/>
      <dgm:t>
        <a:bodyPr/>
        <a:lstStyle/>
        <a:p>
          <a:endParaRPr lang="en-US"/>
        </a:p>
      </dgm:t>
    </dgm:pt>
    <dgm:pt modelId="{3E1FF5C8-D5CC-4263-BF5E-A84F1587FA19}">
      <dgm:prSet custT="1"/>
      <dgm:spPr/>
      <dgm:t>
        <a:bodyPr/>
        <a:lstStyle/>
        <a:p>
          <a:r>
            <a:rPr lang="en-AU" sz="2600"/>
            <a:t>Used for </a:t>
          </a:r>
          <a:r>
            <a:rPr lang="en-AU" sz="2600" b="1"/>
            <a:t>application development </a:t>
          </a:r>
          <a:r>
            <a:rPr lang="en-AU" sz="2600"/>
            <a:t>and </a:t>
          </a:r>
          <a:r>
            <a:rPr lang="en-AU" sz="2600" b="0"/>
            <a:t>isn’t native </a:t>
          </a:r>
          <a:r>
            <a:rPr lang="en-AU" sz="2600"/>
            <a:t>to PowerShell</a:t>
          </a:r>
          <a:endParaRPr lang="en-US" sz="2600"/>
        </a:p>
      </dgm:t>
    </dgm:pt>
    <dgm:pt modelId="{4467BEF7-9594-4787-BDB0-48E186AA8D98}" type="parTrans" cxnId="{5BFE0B98-174B-435D-97D0-28B17521B666}">
      <dgm:prSet/>
      <dgm:spPr/>
      <dgm:t>
        <a:bodyPr/>
        <a:lstStyle/>
        <a:p>
          <a:endParaRPr lang="en-US"/>
        </a:p>
      </dgm:t>
    </dgm:pt>
    <dgm:pt modelId="{E4457863-F0D1-495F-8967-8A1C1D54ED39}" type="sibTrans" cxnId="{5BFE0B98-174B-435D-97D0-28B17521B666}">
      <dgm:prSet/>
      <dgm:spPr/>
      <dgm:t>
        <a:bodyPr/>
        <a:lstStyle/>
        <a:p>
          <a:endParaRPr lang="en-US"/>
        </a:p>
      </dgm:t>
    </dgm:pt>
    <dgm:pt modelId="{562CDE32-4708-455E-8A88-DA53B12AA6AD}">
      <dgm:prSet custT="1"/>
      <dgm:spPr/>
      <dgm:t>
        <a:bodyPr/>
        <a:lstStyle/>
        <a:p>
          <a:r>
            <a:rPr lang="en-AU" sz="2600"/>
            <a:t>Part of the </a:t>
          </a:r>
          <a:r>
            <a:rPr lang="en-AU" sz="2600" b="1"/>
            <a:t>.NET framework</a:t>
          </a:r>
          <a:r>
            <a:rPr lang="en-AU" sz="2600"/>
            <a:t>, which can be leveraged by PowerShell</a:t>
          </a:r>
          <a:endParaRPr lang="en-US" sz="2600"/>
        </a:p>
      </dgm:t>
    </dgm:pt>
    <dgm:pt modelId="{81EBC851-18BA-45FA-AC20-A3F62B7ED5A0}" type="parTrans" cxnId="{2CE46227-1A63-413C-B045-A68906EF6E31}">
      <dgm:prSet/>
      <dgm:spPr/>
      <dgm:t>
        <a:bodyPr/>
        <a:lstStyle/>
        <a:p>
          <a:endParaRPr lang="en-US"/>
        </a:p>
      </dgm:t>
    </dgm:pt>
    <dgm:pt modelId="{972D12F2-C452-4692-800C-81B4652AD7DB}" type="sibTrans" cxnId="{2CE46227-1A63-413C-B045-A68906EF6E31}">
      <dgm:prSet/>
      <dgm:spPr/>
      <dgm:t>
        <a:bodyPr/>
        <a:lstStyle/>
        <a:p>
          <a:endParaRPr lang="en-US"/>
        </a:p>
      </dgm:t>
    </dgm:pt>
    <dgm:pt modelId="{03193607-18C8-420E-8B80-6EA61B04763B}">
      <dgm:prSet custT="1"/>
      <dgm:spPr/>
      <dgm:t>
        <a:bodyPr/>
        <a:lstStyle/>
        <a:p>
          <a:r>
            <a:rPr lang="en-AU" sz="2600"/>
            <a:t>WPF GUIs are created using </a:t>
          </a:r>
          <a:r>
            <a:rPr lang="en-AU" sz="2600" b="1"/>
            <a:t>XAML</a:t>
          </a:r>
          <a:r>
            <a:rPr lang="en-AU" sz="2600"/>
            <a:t>, an XML based markup language</a:t>
          </a:r>
          <a:endParaRPr lang="en-US" sz="2600"/>
        </a:p>
      </dgm:t>
    </dgm:pt>
    <dgm:pt modelId="{74BD59C4-4A35-4330-BAF4-BDCBA113AE80}" type="parTrans" cxnId="{C2D3D512-025F-44E9-AC04-ECC4601539C7}">
      <dgm:prSet/>
      <dgm:spPr/>
      <dgm:t>
        <a:bodyPr/>
        <a:lstStyle/>
        <a:p>
          <a:endParaRPr lang="en-US"/>
        </a:p>
      </dgm:t>
    </dgm:pt>
    <dgm:pt modelId="{F4B16551-4C6C-4B80-928B-BF75B24F7332}" type="sibTrans" cxnId="{C2D3D512-025F-44E9-AC04-ECC4601539C7}">
      <dgm:prSet/>
      <dgm:spPr/>
      <dgm:t>
        <a:bodyPr/>
        <a:lstStyle/>
        <a:p>
          <a:endParaRPr lang="en-US"/>
        </a:p>
      </dgm:t>
    </dgm:pt>
    <dgm:pt modelId="{2504CD66-AC20-4ABA-9D7B-22664889B4E9}" type="pres">
      <dgm:prSet presAssocID="{6B35F0DA-5408-49AD-9C9C-30F27EB2CC4C}" presName="Name0" presStyleCnt="0">
        <dgm:presLayoutVars>
          <dgm:dir/>
        </dgm:presLayoutVars>
      </dgm:prSet>
      <dgm:spPr/>
    </dgm:pt>
    <dgm:pt modelId="{352F0C69-6640-4FC1-ACAB-A28CCB71E484}" type="pres">
      <dgm:prSet presAssocID="{84D328B8-BFB2-4EDC-94DD-ACBED9B83AD7}" presName="noChildren" presStyleCnt="0"/>
      <dgm:spPr/>
    </dgm:pt>
    <dgm:pt modelId="{85D950F5-2819-440C-A120-2CDA61A88168}" type="pres">
      <dgm:prSet presAssocID="{84D328B8-BFB2-4EDC-94DD-ACBED9B83AD7}" presName="gap" presStyleCnt="0"/>
      <dgm:spPr/>
    </dgm:pt>
    <dgm:pt modelId="{6164339C-F7ED-4471-A09D-1EBB62FA32D1}" type="pres">
      <dgm:prSet presAssocID="{84D328B8-BFB2-4EDC-94DD-ACBED9B83AD7}" presName="medCircle2" presStyleLbl="vennNode1" presStyleIdx="0" presStyleCnt="4" custLinFactX="-768" custLinFactNeighborX="-100000"/>
      <dgm:spPr/>
    </dgm:pt>
    <dgm:pt modelId="{35102687-431E-4581-AC6D-E8079C43D192}" type="pres">
      <dgm:prSet presAssocID="{84D328B8-BFB2-4EDC-94DD-ACBED9B83AD7}" presName="txLvlOnly1" presStyleLbl="revTx" presStyleIdx="0" presStyleCnt="4" custScaleX="132128"/>
      <dgm:spPr/>
    </dgm:pt>
    <dgm:pt modelId="{02CCA88B-8F34-4A9D-A84C-8D8E4A9EF3E8}" type="pres">
      <dgm:prSet presAssocID="{3E1FF5C8-D5CC-4263-BF5E-A84F1587FA19}" presName="noChildren" presStyleCnt="0"/>
      <dgm:spPr/>
    </dgm:pt>
    <dgm:pt modelId="{0C5BE208-E7AB-4549-AD0B-D90C0D47CDEC}" type="pres">
      <dgm:prSet presAssocID="{3E1FF5C8-D5CC-4263-BF5E-A84F1587FA19}" presName="gap" presStyleCnt="0"/>
      <dgm:spPr/>
    </dgm:pt>
    <dgm:pt modelId="{1A3B3B12-54EB-4B29-86DB-51D95E467B08}" type="pres">
      <dgm:prSet presAssocID="{3E1FF5C8-D5CC-4263-BF5E-A84F1587FA19}" presName="medCircle2" presStyleLbl="vennNode1" presStyleIdx="1" presStyleCnt="4" custLinFactX="-768" custLinFactNeighborX="-100000"/>
      <dgm:spPr/>
    </dgm:pt>
    <dgm:pt modelId="{046673F9-2FCC-40EC-BCC1-882E6E101A03}" type="pres">
      <dgm:prSet presAssocID="{3E1FF5C8-D5CC-4263-BF5E-A84F1587FA19}" presName="txLvlOnly1" presStyleLbl="revTx" presStyleIdx="1" presStyleCnt="4" custScaleX="132128"/>
      <dgm:spPr/>
    </dgm:pt>
    <dgm:pt modelId="{F210F939-2E98-473D-8505-FA2C74DD9CF9}" type="pres">
      <dgm:prSet presAssocID="{562CDE32-4708-455E-8A88-DA53B12AA6AD}" presName="noChildren" presStyleCnt="0"/>
      <dgm:spPr/>
    </dgm:pt>
    <dgm:pt modelId="{291FA11C-41E7-414D-8B12-B15095AAA866}" type="pres">
      <dgm:prSet presAssocID="{562CDE32-4708-455E-8A88-DA53B12AA6AD}" presName="gap" presStyleCnt="0"/>
      <dgm:spPr/>
    </dgm:pt>
    <dgm:pt modelId="{1240000E-3E80-47C7-B434-6377933CA802}" type="pres">
      <dgm:prSet presAssocID="{562CDE32-4708-455E-8A88-DA53B12AA6AD}" presName="medCircle2" presStyleLbl="vennNode1" presStyleIdx="2" presStyleCnt="4" custLinFactX="-768" custLinFactNeighborX="-100000"/>
      <dgm:spPr/>
    </dgm:pt>
    <dgm:pt modelId="{01F76BFA-364F-4229-A1B2-6CFD54305AD5}" type="pres">
      <dgm:prSet presAssocID="{562CDE32-4708-455E-8A88-DA53B12AA6AD}" presName="txLvlOnly1" presStyleLbl="revTx" presStyleIdx="2" presStyleCnt="4" custScaleX="132128"/>
      <dgm:spPr/>
    </dgm:pt>
    <dgm:pt modelId="{4BEA63FA-DFF2-4460-BD22-EEF361BC48C1}" type="pres">
      <dgm:prSet presAssocID="{03193607-18C8-420E-8B80-6EA61B04763B}" presName="noChildren" presStyleCnt="0"/>
      <dgm:spPr/>
    </dgm:pt>
    <dgm:pt modelId="{1BF4ED22-8FD4-492A-8C18-808C0EF9223D}" type="pres">
      <dgm:prSet presAssocID="{03193607-18C8-420E-8B80-6EA61B04763B}" presName="gap" presStyleCnt="0"/>
      <dgm:spPr/>
    </dgm:pt>
    <dgm:pt modelId="{B872C60D-CD53-435B-BC89-39D8285FBEF4}" type="pres">
      <dgm:prSet presAssocID="{03193607-18C8-420E-8B80-6EA61B04763B}" presName="medCircle2" presStyleLbl="vennNode1" presStyleIdx="3" presStyleCnt="4" custLinFactX="-768" custLinFactNeighborX="-100000"/>
      <dgm:spPr/>
    </dgm:pt>
    <dgm:pt modelId="{2BC80169-F86A-4B9E-A6AC-4144D1E03E6B}" type="pres">
      <dgm:prSet presAssocID="{03193607-18C8-420E-8B80-6EA61B04763B}" presName="txLvlOnly1" presStyleLbl="revTx" presStyleIdx="3" presStyleCnt="4" custScaleX="132128"/>
      <dgm:spPr/>
    </dgm:pt>
  </dgm:ptLst>
  <dgm:cxnLst>
    <dgm:cxn modelId="{F530E908-3ED2-40B6-86B7-E18A78883C3F}" type="presOf" srcId="{3E1FF5C8-D5CC-4263-BF5E-A84F1587FA19}" destId="{046673F9-2FCC-40EC-BCC1-882E6E101A03}" srcOrd="0" destOrd="0" presId="urn:microsoft.com/office/officeart/2008/layout/VerticalCircleList"/>
    <dgm:cxn modelId="{97C46812-6A9F-4128-8053-869289E7F9E2}" type="presOf" srcId="{6B35F0DA-5408-49AD-9C9C-30F27EB2CC4C}" destId="{2504CD66-AC20-4ABA-9D7B-22664889B4E9}" srcOrd="0" destOrd="0" presId="urn:microsoft.com/office/officeart/2008/layout/VerticalCircleList"/>
    <dgm:cxn modelId="{C2D3D512-025F-44E9-AC04-ECC4601539C7}" srcId="{6B35F0DA-5408-49AD-9C9C-30F27EB2CC4C}" destId="{03193607-18C8-420E-8B80-6EA61B04763B}" srcOrd="3" destOrd="0" parTransId="{74BD59C4-4A35-4330-BAF4-BDCBA113AE80}" sibTransId="{F4B16551-4C6C-4B80-928B-BF75B24F7332}"/>
    <dgm:cxn modelId="{2CE46227-1A63-413C-B045-A68906EF6E31}" srcId="{6B35F0DA-5408-49AD-9C9C-30F27EB2CC4C}" destId="{562CDE32-4708-455E-8A88-DA53B12AA6AD}" srcOrd="2" destOrd="0" parTransId="{81EBC851-18BA-45FA-AC20-A3F62B7ED5A0}" sibTransId="{972D12F2-C452-4692-800C-81B4652AD7DB}"/>
    <dgm:cxn modelId="{1FDF8663-4C50-4518-9993-2D43834D4860}" type="presOf" srcId="{84D328B8-BFB2-4EDC-94DD-ACBED9B83AD7}" destId="{35102687-431E-4581-AC6D-E8079C43D192}" srcOrd="0" destOrd="0" presId="urn:microsoft.com/office/officeart/2008/layout/VerticalCircleList"/>
    <dgm:cxn modelId="{217B4C6C-0DAB-4A7A-AC22-E42224D52B6B}" type="presOf" srcId="{562CDE32-4708-455E-8A88-DA53B12AA6AD}" destId="{01F76BFA-364F-4229-A1B2-6CFD54305AD5}" srcOrd="0" destOrd="0" presId="urn:microsoft.com/office/officeart/2008/layout/VerticalCircleList"/>
    <dgm:cxn modelId="{96DB3450-96A8-441A-AB3B-85F999A87C6D}" srcId="{6B35F0DA-5408-49AD-9C9C-30F27EB2CC4C}" destId="{84D328B8-BFB2-4EDC-94DD-ACBED9B83AD7}" srcOrd="0" destOrd="0" parTransId="{318696D5-782C-468A-AC59-2793F6C52236}" sibTransId="{0040F1DA-3A41-4ED0-9CB9-360438E325A6}"/>
    <dgm:cxn modelId="{71C36291-F136-4B69-8EC9-561707B7ECE3}" type="presOf" srcId="{03193607-18C8-420E-8B80-6EA61B04763B}" destId="{2BC80169-F86A-4B9E-A6AC-4144D1E03E6B}" srcOrd="0" destOrd="0" presId="urn:microsoft.com/office/officeart/2008/layout/VerticalCircleList"/>
    <dgm:cxn modelId="{5BFE0B98-174B-435D-97D0-28B17521B666}" srcId="{6B35F0DA-5408-49AD-9C9C-30F27EB2CC4C}" destId="{3E1FF5C8-D5CC-4263-BF5E-A84F1587FA19}" srcOrd="1" destOrd="0" parTransId="{4467BEF7-9594-4787-BDB0-48E186AA8D98}" sibTransId="{E4457863-F0D1-495F-8967-8A1C1D54ED39}"/>
    <dgm:cxn modelId="{8EBC2DBD-CDAF-4B9C-92E9-AA2ABFC95013}" type="presParOf" srcId="{2504CD66-AC20-4ABA-9D7B-22664889B4E9}" destId="{352F0C69-6640-4FC1-ACAB-A28CCB71E484}" srcOrd="0" destOrd="0" presId="urn:microsoft.com/office/officeart/2008/layout/VerticalCircleList"/>
    <dgm:cxn modelId="{B4DEA452-51A3-4B72-BA59-A131058B93EF}" type="presParOf" srcId="{352F0C69-6640-4FC1-ACAB-A28CCB71E484}" destId="{85D950F5-2819-440C-A120-2CDA61A88168}" srcOrd="0" destOrd="0" presId="urn:microsoft.com/office/officeart/2008/layout/VerticalCircleList"/>
    <dgm:cxn modelId="{CC589355-D363-408E-8E73-8DD5A10BCEE0}" type="presParOf" srcId="{352F0C69-6640-4FC1-ACAB-A28CCB71E484}" destId="{6164339C-F7ED-4471-A09D-1EBB62FA32D1}" srcOrd="1" destOrd="0" presId="urn:microsoft.com/office/officeart/2008/layout/VerticalCircleList"/>
    <dgm:cxn modelId="{BB9DA784-4548-40F5-AD56-B3320542E7A2}" type="presParOf" srcId="{352F0C69-6640-4FC1-ACAB-A28CCB71E484}" destId="{35102687-431E-4581-AC6D-E8079C43D192}" srcOrd="2" destOrd="0" presId="urn:microsoft.com/office/officeart/2008/layout/VerticalCircleList"/>
    <dgm:cxn modelId="{02993D5B-28F0-4A4D-95AE-0F3F990597FB}" type="presParOf" srcId="{2504CD66-AC20-4ABA-9D7B-22664889B4E9}" destId="{02CCA88B-8F34-4A9D-A84C-8D8E4A9EF3E8}" srcOrd="1" destOrd="0" presId="urn:microsoft.com/office/officeart/2008/layout/VerticalCircleList"/>
    <dgm:cxn modelId="{DC7766E3-8A80-42D2-8BA9-726955D403A4}" type="presParOf" srcId="{02CCA88B-8F34-4A9D-A84C-8D8E4A9EF3E8}" destId="{0C5BE208-E7AB-4549-AD0B-D90C0D47CDEC}" srcOrd="0" destOrd="0" presId="urn:microsoft.com/office/officeart/2008/layout/VerticalCircleList"/>
    <dgm:cxn modelId="{A281FDEC-E507-4460-BF13-6F69B2AAFDB9}" type="presParOf" srcId="{02CCA88B-8F34-4A9D-A84C-8D8E4A9EF3E8}" destId="{1A3B3B12-54EB-4B29-86DB-51D95E467B08}" srcOrd="1" destOrd="0" presId="urn:microsoft.com/office/officeart/2008/layout/VerticalCircleList"/>
    <dgm:cxn modelId="{16022951-ECBA-4414-B1B5-7629DB54B6A1}" type="presParOf" srcId="{02CCA88B-8F34-4A9D-A84C-8D8E4A9EF3E8}" destId="{046673F9-2FCC-40EC-BCC1-882E6E101A03}" srcOrd="2" destOrd="0" presId="urn:microsoft.com/office/officeart/2008/layout/VerticalCircleList"/>
    <dgm:cxn modelId="{CFE882C8-F7F2-4746-8C58-F0E6EFDC4027}" type="presParOf" srcId="{2504CD66-AC20-4ABA-9D7B-22664889B4E9}" destId="{F210F939-2E98-473D-8505-FA2C74DD9CF9}" srcOrd="2" destOrd="0" presId="urn:microsoft.com/office/officeart/2008/layout/VerticalCircleList"/>
    <dgm:cxn modelId="{CA77E88D-AB5D-4EF2-9662-F6293C14842F}" type="presParOf" srcId="{F210F939-2E98-473D-8505-FA2C74DD9CF9}" destId="{291FA11C-41E7-414D-8B12-B15095AAA866}" srcOrd="0" destOrd="0" presId="urn:microsoft.com/office/officeart/2008/layout/VerticalCircleList"/>
    <dgm:cxn modelId="{EC33E960-EC57-4150-B049-6BD306AF8425}" type="presParOf" srcId="{F210F939-2E98-473D-8505-FA2C74DD9CF9}" destId="{1240000E-3E80-47C7-B434-6377933CA802}" srcOrd="1" destOrd="0" presId="urn:microsoft.com/office/officeart/2008/layout/VerticalCircleList"/>
    <dgm:cxn modelId="{1F7F288F-899E-4F7E-AAB6-D03F0DE3185F}" type="presParOf" srcId="{F210F939-2E98-473D-8505-FA2C74DD9CF9}" destId="{01F76BFA-364F-4229-A1B2-6CFD54305AD5}" srcOrd="2" destOrd="0" presId="urn:microsoft.com/office/officeart/2008/layout/VerticalCircleList"/>
    <dgm:cxn modelId="{3A7BF43B-426B-4AFA-9A0C-4BBA4E77C22A}" type="presParOf" srcId="{2504CD66-AC20-4ABA-9D7B-22664889B4E9}" destId="{4BEA63FA-DFF2-4460-BD22-EEF361BC48C1}" srcOrd="3" destOrd="0" presId="urn:microsoft.com/office/officeart/2008/layout/VerticalCircleList"/>
    <dgm:cxn modelId="{A5FF79CE-75BF-42C1-B25D-9CF65B835182}" type="presParOf" srcId="{4BEA63FA-DFF2-4460-BD22-EEF361BC48C1}" destId="{1BF4ED22-8FD4-492A-8C18-808C0EF9223D}" srcOrd="0" destOrd="0" presId="urn:microsoft.com/office/officeart/2008/layout/VerticalCircleList"/>
    <dgm:cxn modelId="{0E5A274B-FE81-4F56-9875-14FFB72F556C}" type="presParOf" srcId="{4BEA63FA-DFF2-4460-BD22-EEF361BC48C1}" destId="{B872C60D-CD53-435B-BC89-39D8285FBEF4}" srcOrd="1" destOrd="0" presId="urn:microsoft.com/office/officeart/2008/layout/VerticalCircleList"/>
    <dgm:cxn modelId="{E2405AB3-8421-4E6E-B2FF-E539CDF15118}" type="presParOf" srcId="{4BEA63FA-DFF2-4460-BD22-EEF361BC48C1}" destId="{2BC80169-F86A-4B9E-A6AC-4144D1E03E6B}" srcOrd="2" destOrd="0" presId="urn:microsoft.com/office/officeart/2008/layout/VerticalCircle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7515F71E-CE14-4EE7-BD98-19C0C1F7EA5E}" type="doc">
      <dgm:prSet loTypeId="urn:microsoft.com/office/officeart/2005/8/layout/process4" loCatId="list" qsTypeId="urn:microsoft.com/office/officeart/2005/8/quickstyle/simple1" qsCatId="simple" csTypeId="urn:microsoft.com/office/officeart/2005/8/colors/colorful1" csCatId="colorful" phldr="1"/>
      <dgm:spPr/>
      <dgm:t>
        <a:bodyPr/>
        <a:lstStyle/>
        <a:p>
          <a:endParaRPr lang="en-US"/>
        </a:p>
      </dgm:t>
    </dgm:pt>
    <dgm:pt modelId="{234C0B22-EB82-474C-A6A6-8AA0EECB2CA0}">
      <dgm:prSet custT="1">
        <dgm:style>
          <a:lnRef idx="2">
            <a:schemeClr val="accent1"/>
          </a:lnRef>
          <a:fillRef idx="1">
            <a:schemeClr val="lt1"/>
          </a:fillRef>
          <a:effectRef idx="0">
            <a:schemeClr val="accent1"/>
          </a:effectRef>
          <a:fontRef idx="minor">
            <a:schemeClr val="dk1"/>
          </a:fontRef>
        </dgm:style>
      </dgm:prSet>
      <dgm:spPr>
        <a:ln>
          <a:noFill/>
        </a:ln>
      </dgm:spPr>
      <dgm:t>
        <a:bodyPr/>
        <a:lstStyle/>
        <a:p>
          <a:endParaRPr lang="en-US" sz="2000"/>
        </a:p>
      </dgm:t>
    </dgm:pt>
    <dgm:pt modelId="{6D78BD82-565A-4378-BBD9-4B8A0F2461E2}" type="parTrans" cxnId="{042123B6-FCF7-4A63-ADFC-9679DD696226}">
      <dgm:prSet/>
      <dgm:spPr/>
      <dgm:t>
        <a:bodyPr/>
        <a:lstStyle/>
        <a:p>
          <a:endParaRPr lang="en-US" sz="2000"/>
        </a:p>
      </dgm:t>
    </dgm:pt>
    <dgm:pt modelId="{D5B05DDB-71AF-452C-8ECA-728809DF7425}" type="sibTrans" cxnId="{042123B6-FCF7-4A63-ADFC-9679DD696226}">
      <dgm:prSet/>
      <dgm:spPr/>
      <dgm:t>
        <a:bodyPr/>
        <a:lstStyle/>
        <a:p>
          <a:endParaRPr lang="en-US" sz="2000"/>
        </a:p>
      </dgm:t>
    </dgm:pt>
    <dgm:pt modelId="{3182B0A0-3DF4-474C-8662-80B65DFDA551}">
      <dgm:prSet custT="1"/>
      <dgm:spPr/>
      <dgm:t>
        <a:bodyPr/>
        <a:lstStyle/>
        <a:p>
          <a:r>
            <a:rPr lang="en-US" sz="2000" b="1" baseline="0" err="1"/>
            <a:t>CheckBox</a:t>
          </a:r>
          <a:br>
            <a:rPr lang="en-US" sz="2000" b="1" baseline="0"/>
          </a:br>
          <a:r>
            <a:rPr lang="en-US" sz="2000" b="0" baseline="0" err="1"/>
            <a:t>I</a:t>
          </a:r>
          <a:r>
            <a:rPr lang="en-US" sz="2000" baseline="0" err="1"/>
            <a:t>sChecked</a:t>
          </a:r>
          <a:endParaRPr lang="en-US" sz="2000"/>
        </a:p>
      </dgm:t>
    </dgm:pt>
    <dgm:pt modelId="{CAE40E64-F8B0-486E-A32F-B0D877B31D0F}" type="parTrans" cxnId="{03CA367A-4BBF-47F9-81F9-1FFDACCDBCB7}">
      <dgm:prSet/>
      <dgm:spPr/>
      <dgm:t>
        <a:bodyPr/>
        <a:lstStyle/>
        <a:p>
          <a:endParaRPr lang="en-US" sz="2000"/>
        </a:p>
      </dgm:t>
    </dgm:pt>
    <dgm:pt modelId="{1ACC86AA-82D5-459A-881D-4EEE9F5E365A}" type="sibTrans" cxnId="{03CA367A-4BBF-47F9-81F9-1FFDACCDBCB7}">
      <dgm:prSet/>
      <dgm:spPr/>
      <dgm:t>
        <a:bodyPr/>
        <a:lstStyle/>
        <a:p>
          <a:endParaRPr lang="en-US" sz="2000"/>
        </a:p>
      </dgm:t>
    </dgm:pt>
    <dgm:pt modelId="{18A132CE-BD8F-45AB-B0DD-D5C83A1B7330}">
      <dgm:prSet custT="1"/>
      <dgm:spPr/>
      <dgm:t>
        <a:bodyPr/>
        <a:lstStyle/>
        <a:p>
          <a:r>
            <a:rPr lang="en-US" sz="2000" b="1" baseline="0" err="1"/>
            <a:t>ImageBox</a:t>
          </a:r>
          <a:br>
            <a:rPr lang="en-US" sz="2000" b="1" baseline="0"/>
          </a:br>
          <a:r>
            <a:rPr lang="en-US" sz="2000" baseline="0"/>
            <a:t>Source </a:t>
          </a:r>
          <a:endParaRPr lang="en-US" sz="2000"/>
        </a:p>
      </dgm:t>
    </dgm:pt>
    <dgm:pt modelId="{D1E68D48-7EAC-4657-BE69-97AC3EA1D8D5}" type="parTrans" cxnId="{CD58243A-6FDB-4A98-BFC6-16BF67EB5587}">
      <dgm:prSet/>
      <dgm:spPr/>
      <dgm:t>
        <a:bodyPr/>
        <a:lstStyle/>
        <a:p>
          <a:endParaRPr lang="en-US" sz="2000"/>
        </a:p>
      </dgm:t>
    </dgm:pt>
    <dgm:pt modelId="{535163B5-E1D8-4B16-A4F9-38D551F3B4D5}" type="sibTrans" cxnId="{CD58243A-6FDB-4A98-BFC6-16BF67EB5587}">
      <dgm:prSet/>
      <dgm:spPr/>
      <dgm:t>
        <a:bodyPr/>
        <a:lstStyle/>
        <a:p>
          <a:endParaRPr lang="en-US" sz="2000"/>
        </a:p>
      </dgm:t>
    </dgm:pt>
    <dgm:pt modelId="{83CC2016-603F-4E93-871A-C30ACDFA661E}">
      <dgm:prSet custT="1"/>
      <dgm:spPr/>
      <dgm:t>
        <a:bodyPr/>
        <a:lstStyle/>
        <a:p>
          <a:r>
            <a:rPr lang="en-US" sz="2000" b="1" baseline="0" err="1"/>
            <a:t>TextBox</a:t>
          </a:r>
          <a:r>
            <a:rPr lang="en-US" sz="2000" baseline="0"/>
            <a:t> </a:t>
          </a:r>
          <a:br>
            <a:rPr lang="en-US" sz="2000" baseline="0"/>
          </a:br>
          <a:r>
            <a:rPr lang="en-US" sz="2000" baseline="0"/>
            <a:t>Text</a:t>
          </a:r>
          <a:endParaRPr lang="en-US" sz="2000"/>
        </a:p>
      </dgm:t>
    </dgm:pt>
    <dgm:pt modelId="{3F686D74-DA62-40A3-AAF6-DE8A6DFCC83B}" type="parTrans" cxnId="{0CE994A6-369D-4811-ACF5-E944A46D3DF3}">
      <dgm:prSet/>
      <dgm:spPr/>
      <dgm:t>
        <a:bodyPr/>
        <a:lstStyle/>
        <a:p>
          <a:endParaRPr lang="en-US" sz="2000"/>
        </a:p>
      </dgm:t>
    </dgm:pt>
    <dgm:pt modelId="{78DE22F7-BA16-485A-8EAE-94B052760C40}" type="sibTrans" cxnId="{0CE994A6-369D-4811-ACF5-E944A46D3DF3}">
      <dgm:prSet/>
      <dgm:spPr/>
      <dgm:t>
        <a:bodyPr/>
        <a:lstStyle/>
        <a:p>
          <a:endParaRPr lang="en-US" sz="2000"/>
        </a:p>
      </dgm:t>
    </dgm:pt>
    <dgm:pt modelId="{2CB88F10-A80F-4431-895B-A4CCE24A87BA}">
      <dgm:prSet custT="1"/>
      <dgm:spPr/>
      <dgm:t>
        <a:bodyPr/>
        <a:lstStyle/>
        <a:p>
          <a:r>
            <a:rPr lang="en-US" sz="2000" b="1" baseline="0" err="1"/>
            <a:t>ComboBox</a:t>
          </a:r>
          <a:br>
            <a:rPr lang="en-US" sz="2000" baseline="0"/>
          </a:br>
          <a:r>
            <a:rPr lang="en-US" sz="2000" baseline="0" err="1"/>
            <a:t>SelectedItem</a:t>
          </a:r>
          <a:r>
            <a:rPr lang="en-US" sz="2000" baseline="0"/>
            <a:t>, Items</a:t>
          </a:r>
          <a:endParaRPr lang="en-US" sz="2000"/>
        </a:p>
      </dgm:t>
    </dgm:pt>
    <dgm:pt modelId="{BA706FBC-F71E-4802-95F9-EB20B87C5714}" type="parTrans" cxnId="{A70AF4AD-3705-40C8-A636-9D6B7FFA70A2}">
      <dgm:prSet/>
      <dgm:spPr/>
      <dgm:t>
        <a:bodyPr/>
        <a:lstStyle/>
        <a:p>
          <a:endParaRPr lang="en-US" sz="2000"/>
        </a:p>
      </dgm:t>
    </dgm:pt>
    <dgm:pt modelId="{D11F2D9C-6D3B-45AD-AB46-D935E88248C4}" type="sibTrans" cxnId="{A70AF4AD-3705-40C8-A636-9D6B7FFA70A2}">
      <dgm:prSet/>
      <dgm:spPr/>
      <dgm:t>
        <a:bodyPr/>
        <a:lstStyle/>
        <a:p>
          <a:endParaRPr lang="en-US" sz="2000"/>
        </a:p>
      </dgm:t>
    </dgm:pt>
    <dgm:pt modelId="{061B6990-CBBE-4481-BC13-A41F69343461}" type="pres">
      <dgm:prSet presAssocID="{7515F71E-CE14-4EE7-BD98-19C0C1F7EA5E}" presName="Name0" presStyleCnt="0">
        <dgm:presLayoutVars>
          <dgm:dir/>
          <dgm:animLvl val="lvl"/>
          <dgm:resizeHandles val="exact"/>
        </dgm:presLayoutVars>
      </dgm:prSet>
      <dgm:spPr/>
    </dgm:pt>
    <dgm:pt modelId="{A2087379-623D-4149-BC19-E48360A0A757}" type="pres">
      <dgm:prSet presAssocID="{234C0B22-EB82-474C-A6A6-8AA0EECB2CA0}" presName="boxAndChildren" presStyleCnt="0"/>
      <dgm:spPr/>
    </dgm:pt>
    <dgm:pt modelId="{848BF79E-65CD-4D4E-BAC5-CDB3C3459C78}" type="pres">
      <dgm:prSet presAssocID="{234C0B22-EB82-474C-A6A6-8AA0EECB2CA0}" presName="parentTextBox" presStyleLbl="node1" presStyleIdx="0" presStyleCnt="1"/>
      <dgm:spPr/>
    </dgm:pt>
    <dgm:pt modelId="{E8A068A0-AC15-4CB3-9E16-F57FA95419FE}" type="pres">
      <dgm:prSet presAssocID="{234C0B22-EB82-474C-A6A6-8AA0EECB2CA0}" presName="entireBox" presStyleLbl="node1" presStyleIdx="0" presStyleCnt="1"/>
      <dgm:spPr/>
    </dgm:pt>
    <dgm:pt modelId="{C527ADB4-4A06-4E3A-8707-A9D4FE8EDEEF}" type="pres">
      <dgm:prSet presAssocID="{234C0B22-EB82-474C-A6A6-8AA0EECB2CA0}" presName="descendantBox" presStyleCnt="0"/>
      <dgm:spPr/>
    </dgm:pt>
    <dgm:pt modelId="{97B38716-8DAC-4C2C-BAA0-D8B49A944BEC}" type="pres">
      <dgm:prSet presAssocID="{2CB88F10-A80F-4431-895B-A4CCE24A87BA}" presName="childTextBox" presStyleLbl="fgAccFollowNode1" presStyleIdx="0" presStyleCnt="4">
        <dgm:presLayoutVars>
          <dgm:bulletEnabled val="1"/>
        </dgm:presLayoutVars>
      </dgm:prSet>
      <dgm:spPr/>
    </dgm:pt>
    <dgm:pt modelId="{7459BB97-0008-405D-8431-E3C20B8498FB}" type="pres">
      <dgm:prSet presAssocID="{3182B0A0-3DF4-474C-8662-80B65DFDA551}" presName="childTextBox" presStyleLbl="fgAccFollowNode1" presStyleIdx="1" presStyleCnt="4">
        <dgm:presLayoutVars>
          <dgm:bulletEnabled val="1"/>
        </dgm:presLayoutVars>
      </dgm:prSet>
      <dgm:spPr/>
    </dgm:pt>
    <dgm:pt modelId="{1726AAAD-46E1-4C15-BD65-2FF8F524FD46}" type="pres">
      <dgm:prSet presAssocID="{18A132CE-BD8F-45AB-B0DD-D5C83A1B7330}" presName="childTextBox" presStyleLbl="fgAccFollowNode1" presStyleIdx="2" presStyleCnt="4">
        <dgm:presLayoutVars>
          <dgm:bulletEnabled val="1"/>
        </dgm:presLayoutVars>
      </dgm:prSet>
      <dgm:spPr/>
    </dgm:pt>
    <dgm:pt modelId="{74C69089-7FDC-47D6-B8F9-A7C8838592E7}" type="pres">
      <dgm:prSet presAssocID="{83CC2016-603F-4E93-871A-C30ACDFA661E}" presName="childTextBox" presStyleLbl="fgAccFollowNode1" presStyleIdx="3" presStyleCnt="4">
        <dgm:presLayoutVars>
          <dgm:bulletEnabled val="1"/>
        </dgm:presLayoutVars>
      </dgm:prSet>
      <dgm:spPr/>
    </dgm:pt>
  </dgm:ptLst>
  <dgm:cxnLst>
    <dgm:cxn modelId="{022E2A28-D380-4140-9119-68F1F6F12435}" type="presOf" srcId="{234C0B22-EB82-474C-A6A6-8AA0EECB2CA0}" destId="{E8A068A0-AC15-4CB3-9E16-F57FA95419FE}" srcOrd="1" destOrd="0" presId="urn:microsoft.com/office/officeart/2005/8/layout/process4"/>
    <dgm:cxn modelId="{CD58243A-6FDB-4A98-BFC6-16BF67EB5587}" srcId="{234C0B22-EB82-474C-A6A6-8AA0EECB2CA0}" destId="{18A132CE-BD8F-45AB-B0DD-D5C83A1B7330}" srcOrd="2" destOrd="0" parTransId="{D1E68D48-7EAC-4657-BE69-97AC3EA1D8D5}" sibTransId="{535163B5-E1D8-4B16-A4F9-38D551F3B4D5}"/>
    <dgm:cxn modelId="{12C76961-AC03-4FDA-9F88-F879C85EE4F8}" type="presOf" srcId="{83CC2016-603F-4E93-871A-C30ACDFA661E}" destId="{74C69089-7FDC-47D6-B8F9-A7C8838592E7}" srcOrd="0" destOrd="0" presId="urn:microsoft.com/office/officeart/2005/8/layout/process4"/>
    <dgm:cxn modelId="{03CA367A-4BBF-47F9-81F9-1FFDACCDBCB7}" srcId="{234C0B22-EB82-474C-A6A6-8AA0EECB2CA0}" destId="{3182B0A0-3DF4-474C-8662-80B65DFDA551}" srcOrd="1" destOrd="0" parTransId="{CAE40E64-F8B0-486E-A32F-B0D877B31D0F}" sibTransId="{1ACC86AA-82D5-459A-881D-4EEE9F5E365A}"/>
    <dgm:cxn modelId="{C6A57187-2A14-4089-9C3D-2116E906EC93}" type="presOf" srcId="{7515F71E-CE14-4EE7-BD98-19C0C1F7EA5E}" destId="{061B6990-CBBE-4481-BC13-A41F69343461}" srcOrd="0" destOrd="0" presId="urn:microsoft.com/office/officeart/2005/8/layout/process4"/>
    <dgm:cxn modelId="{B52C5898-2BB6-4E41-98A2-EDAE39FD7D9B}" type="presOf" srcId="{234C0B22-EB82-474C-A6A6-8AA0EECB2CA0}" destId="{848BF79E-65CD-4D4E-BAC5-CDB3C3459C78}" srcOrd="0" destOrd="0" presId="urn:microsoft.com/office/officeart/2005/8/layout/process4"/>
    <dgm:cxn modelId="{0CE994A6-369D-4811-ACF5-E944A46D3DF3}" srcId="{234C0B22-EB82-474C-A6A6-8AA0EECB2CA0}" destId="{83CC2016-603F-4E93-871A-C30ACDFA661E}" srcOrd="3" destOrd="0" parTransId="{3F686D74-DA62-40A3-AAF6-DE8A6DFCC83B}" sibTransId="{78DE22F7-BA16-485A-8EAE-94B052760C40}"/>
    <dgm:cxn modelId="{A70AF4AD-3705-40C8-A636-9D6B7FFA70A2}" srcId="{234C0B22-EB82-474C-A6A6-8AA0EECB2CA0}" destId="{2CB88F10-A80F-4431-895B-A4CCE24A87BA}" srcOrd="0" destOrd="0" parTransId="{BA706FBC-F71E-4802-95F9-EB20B87C5714}" sibTransId="{D11F2D9C-6D3B-45AD-AB46-D935E88248C4}"/>
    <dgm:cxn modelId="{042123B6-FCF7-4A63-ADFC-9679DD696226}" srcId="{7515F71E-CE14-4EE7-BD98-19C0C1F7EA5E}" destId="{234C0B22-EB82-474C-A6A6-8AA0EECB2CA0}" srcOrd="0" destOrd="0" parTransId="{6D78BD82-565A-4378-BBD9-4B8A0F2461E2}" sibTransId="{D5B05DDB-71AF-452C-8ECA-728809DF7425}"/>
    <dgm:cxn modelId="{9634ABDA-F05F-439A-AEB4-9DED8962C9D9}" type="presOf" srcId="{3182B0A0-3DF4-474C-8662-80B65DFDA551}" destId="{7459BB97-0008-405D-8431-E3C20B8498FB}" srcOrd="0" destOrd="0" presId="urn:microsoft.com/office/officeart/2005/8/layout/process4"/>
    <dgm:cxn modelId="{BCD9BBDB-42BE-4D0B-9524-AD93FB75AE0B}" type="presOf" srcId="{18A132CE-BD8F-45AB-B0DD-D5C83A1B7330}" destId="{1726AAAD-46E1-4C15-BD65-2FF8F524FD46}" srcOrd="0" destOrd="0" presId="urn:microsoft.com/office/officeart/2005/8/layout/process4"/>
    <dgm:cxn modelId="{43A4FCFB-32A0-471A-96C1-39F2B9868F11}" type="presOf" srcId="{2CB88F10-A80F-4431-895B-A4CCE24A87BA}" destId="{97B38716-8DAC-4C2C-BAA0-D8B49A944BEC}" srcOrd="0" destOrd="0" presId="urn:microsoft.com/office/officeart/2005/8/layout/process4"/>
    <dgm:cxn modelId="{02FFB5B9-7F99-47A7-9995-8DCD2603ED95}" type="presParOf" srcId="{061B6990-CBBE-4481-BC13-A41F69343461}" destId="{A2087379-623D-4149-BC19-E48360A0A757}" srcOrd="0" destOrd="0" presId="urn:microsoft.com/office/officeart/2005/8/layout/process4"/>
    <dgm:cxn modelId="{A0F40369-AC5A-430B-A70B-AB4834688EF3}" type="presParOf" srcId="{A2087379-623D-4149-BC19-E48360A0A757}" destId="{848BF79E-65CD-4D4E-BAC5-CDB3C3459C78}" srcOrd="0" destOrd="0" presId="urn:microsoft.com/office/officeart/2005/8/layout/process4"/>
    <dgm:cxn modelId="{2558F133-68DD-4370-8D4C-D6361A3A6BF6}" type="presParOf" srcId="{A2087379-623D-4149-BC19-E48360A0A757}" destId="{E8A068A0-AC15-4CB3-9E16-F57FA95419FE}" srcOrd="1" destOrd="0" presId="urn:microsoft.com/office/officeart/2005/8/layout/process4"/>
    <dgm:cxn modelId="{36FECD62-4C0D-4D17-8752-08A700FFC087}" type="presParOf" srcId="{A2087379-623D-4149-BC19-E48360A0A757}" destId="{C527ADB4-4A06-4E3A-8707-A9D4FE8EDEEF}" srcOrd="2" destOrd="0" presId="urn:microsoft.com/office/officeart/2005/8/layout/process4"/>
    <dgm:cxn modelId="{9B703208-6F2B-4142-B8B2-EB8778C4726F}" type="presParOf" srcId="{C527ADB4-4A06-4E3A-8707-A9D4FE8EDEEF}" destId="{97B38716-8DAC-4C2C-BAA0-D8B49A944BEC}" srcOrd="0" destOrd="0" presId="urn:microsoft.com/office/officeart/2005/8/layout/process4"/>
    <dgm:cxn modelId="{B1A8E970-108D-4E2D-ADE6-2860AEB61FC4}" type="presParOf" srcId="{C527ADB4-4A06-4E3A-8707-A9D4FE8EDEEF}" destId="{7459BB97-0008-405D-8431-E3C20B8498FB}" srcOrd="1" destOrd="0" presId="urn:microsoft.com/office/officeart/2005/8/layout/process4"/>
    <dgm:cxn modelId="{010E0BE3-98F6-4F5E-961D-59ECE38D47B2}" type="presParOf" srcId="{C527ADB4-4A06-4E3A-8707-A9D4FE8EDEEF}" destId="{1726AAAD-46E1-4C15-BD65-2FF8F524FD46}" srcOrd="2" destOrd="0" presId="urn:microsoft.com/office/officeart/2005/8/layout/process4"/>
    <dgm:cxn modelId="{F6D01CA0-34AC-472E-A521-D1A61BC8C589}" type="presParOf" srcId="{C527ADB4-4A06-4E3A-8707-A9D4FE8EDEEF}" destId="{74C69089-7FDC-47D6-B8F9-A7C8838592E7}" srcOrd="3" destOrd="0" presId="urn:microsoft.com/office/officeart/2005/8/layout/process4"/>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9D3029DA-7F07-4617-82F6-CDD10E522EC2}" type="doc">
      <dgm:prSet loTypeId="urn:microsoft.com/office/officeart/2008/layout/LinedList" loCatId="list" qsTypeId="urn:microsoft.com/office/officeart/2005/8/quickstyle/simple1" qsCatId="simple" csTypeId="urn:microsoft.com/office/officeart/2005/8/colors/accent1_1" csCatId="accent1" phldr="1"/>
      <dgm:spPr/>
      <dgm:t>
        <a:bodyPr/>
        <a:lstStyle/>
        <a:p>
          <a:endParaRPr lang="en-US"/>
        </a:p>
      </dgm:t>
    </dgm:pt>
    <dgm:pt modelId="{55C9374B-72D8-4B13-939F-292F6684B360}">
      <dgm:prSet custT="1"/>
      <dgm:spPr/>
      <dgm:t>
        <a:bodyPr/>
        <a:lstStyle/>
        <a:p>
          <a:r>
            <a:rPr lang="en-US" sz="2000" b="1" baseline="0"/>
            <a:t>Controls</a:t>
          </a:r>
          <a:r>
            <a:rPr lang="en-US" sz="2000" baseline="0"/>
            <a:t> have </a:t>
          </a:r>
          <a:r>
            <a:rPr lang="en-US" sz="2000" b="1" baseline="0"/>
            <a:t>properties</a:t>
          </a:r>
          <a:r>
            <a:rPr lang="en-US" sz="2000" baseline="0"/>
            <a:t>, just like any other object</a:t>
          </a:r>
          <a:endParaRPr lang="en-US" sz="2000"/>
        </a:p>
      </dgm:t>
    </dgm:pt>
    <dgm:pt modelId="{E9931136-346C-48CE-8774-FEBE4C7729DA}" type="parTrans" cxnId="{6C8F691C-6B8E-4444-9C68-37EF41DF20AE}">
      <dgm:prSet/>
      <dgm:spPr/>
      <dgm:t>
        <a:bodyPr/>
        <a:lstStyle/>
        <a:p>
          <a:endParaRPr lang="en-US" sz="2000"/>
        </a:p>
      </dgm:t>
    </dgm:pt>
    <dgm:pt modelId="{1F2B3B2F-A2EC-440E-978D-3A3F9E626752}" type="sibTrans" cxnId="{6C8F691C-6B8E-4444-9C68-37EF41DF20AE}">
      <dgm:prSet/>
      <dgm:spPr/>
      <dgm:t>
        <a:bodyPr/>
        <a:lstStyle/>
        <a:p>
          <a:endParaRPr lang="en-US" sz="2000"/>
        </a:p>
      </dgm:t>
    </dgm:pt>
    <dgm:pt modelId="{F28AF68D-E698-4020-A38B-7A9AE164CD61}">
      <dgm:prSet custT="1"/>
      <dgm:spPr/>
      <dgm:t>
        <a:bodyPr/>
        <a:lstStyle/>
        <a:p>
          <a:r>
            <a:rPr lang="en-US" sz="2000" baseline="0"/>
            <a:t>Every piece of </a:t>
          </a:r>
          <a:r>
            <a:rPr lang="en-US" sz="2000" b="1" baseline="0"/>
            <a:t>information</a:t>
          </a:r>
          <a:r>
            <a:rPr lang="en-US" sz="2000" baseline="0"/>
            <a:t> is an </a:t>
          </a:r>
          <a:r>
            <a:rPr lang="en-US" sz="2000" b="1" baseline="0"/>
            <a:t>accessible</a:t>
          </a:r>
          <a:r>
            <a:rPr lang="en-US" sz="2000" baseline="0"/>
            <a:t> property</a:t>
          </a:r>
          <a:endParaRPr lang="en-US" sz="2000"/>
        </a:p>
      </dgm:t>
    </dgm:pt>
    <dgm:pt modelId="{0AB49822-E1E0-4EBE-8C1B-AA793A08A44B}" type="parTrans" cxnId="{7A55E40C-B665-4501-B406-010112627CEB}">
      <dgm:prSet/>
      <dgm:spPr/>
      <dgm:t>
        <a:bodyPr/>
        <a:lstStyle/>
        <a:p>
          <a:endParaRPr lang="en-US" sz="2000"/>
        </a:p>
      </dgm:t>
    </dgm:pt>
    <dgm:pt modelId="{B2131012-80B6-4089-B985-EA54EE53236D}" type="sibTrans" cxnId="{7A55E40C-B665-4501-B406-010112627CEB}">
      <dgm:prSet/>
      <dgm:spPr/>
      <dgm:t>
        <a:bodyPr/>
        <a:lstStyle/>
        <a:p>
          <a:endParaRPr lang="en-US" sz="2000"/>
        </a:p>
      </dgm:t>
    </dgm:pt>
    <dgm:pt modelId="{D74FA506-8EB0-4CD8-9E81-34449E90F20F}">
      <dgm:prSet custT="1"/>
      <dgm:spPr/>
      <dgm:t>
        <a:bodyPr/>
        <a:lstStyle/>
        <a:p>
          <a:r>
            <a:rPr lang="en-US" sz="2000" baseline="0"/>
            <a:t>The </a:t>
          </a:r>
          <a:r>
            <a:rPr lang="en-US" sz="2000" b="1" baseline="0"/>
            <a:t>$GUI </a:t>
          </a:r>
          <a:r>
            <a:rPr lang="en-US" sz="2000" baseline="0"/>
            <a:t>hash table is used to access the control </a:t>
          </a:r>
          <a:r>
            <a:rPr lang="en-US" sz="2000" b="1" baseline="0"/>
            <a:t>objects</a:t>
          </a:r>
          <a:r>
            <a:rPr lang="en-US" sz="2000" baseline="0"/>
            <a:t> </a:t>
          </a:r>
          <a:endParaRPr lang="en-US" sz="2000"/>
        </a:p>
      </dgm:t>
    </dgm:pt>
    <dgm:pt modelId="{B1B39CF4-6B28-4109-AA9D-BB3B0B625E94}" type="parTrans" cxnId="{E667D10F-2A9C-44C9-A2BB-D3E228C796AD}">
      <dgm:prSet/>
      <dgm:spPr/>
      <dgm:t>
        <a:bodyPr/>
        <a:lstStyle/>
        <a:p>
          <a:endParaRPr lang="en-US" sz="2000"/>
        </a:p>
      </dgm:t>
    </dgm:pt>
    <dgm:pt modelId="{ADD0708D-CDF6-462F-9946-726B14F648AA}" type="sibTrans" cxnId="{E667D10F-2A9C-44C9-A2BB-D3E228C796AD}">
      <dgm:prSet/>
      <dgm:spPr/>
      <dgm:t>
        <a:bodyPr/>
        <a:lstStyle/>
        <a:p>
          <a:endParaRPr lang="en-US" sz="2000"/>
        </a:p>
      </dgm:t>
    </dgm:pt>
    <dgm:pt modelId="{0279CB7F-509C-4528-A915-710FECC4BF01}">
      <dgm:prSet custT="1"/>
      <dgm:spPr/>
      <dgm:t>
        <a:bodyPr/>
        <a:lstStyle/>
        <a:p>
          <a:r>
            <a:rPr lang="en-US" sz="2000" baseline="0"/>
            <a:t>User </a:t>
          </a:r>
          <a:r>
            <a:rPr lang="en-US" sz="2000" b="1" baseline="0"/>
            <a:t>input</a:t>
          </a:r>
          <a:r>
            <a:rPr lang="en-US" sz="2000" baseline="0"/>
            <a:t> is </a:t>
          </a:r>
          <a:r>
            <a:rPr lang="en-US" sz="2000" b="1" baseline="0"/>
            <a:t>stored</a:t>
          </a:r>
          <a:r>
            <a:rPr lang="en-US" sz="2000" baseline="0"/>
            <a:t> into properties</a:t>
          </a:r>
          <a:endParaRPr lang="en-US" sz="2000"/>
        </a:p>
      </dgm:t>
    </dgm:pt>
    <dgm:pt modelId="{5007AA9F-B5FB-4786-8B04-925906DF522F}" type="parTrans" cxnId="{DAF247D5-938D-44BE-B912-53F1B6DB2BAE}">
      <dgm:prSet/>
      <dgm:spPr/>
      <dgm:t>
        <a:bodyPr/>
        <a:lstStyle/>
        <a:p>
          <a:endParaRPr lang="en-US" sz="2000"/>
        </a:p>
      </dgm:t>
    </dgm:pt>
    <dgm:pt modelId="{F12151D4-49CB-46BA-9BFB-72324F4B1F97}" type="sibTrans" cxnId="{DAF247D5-938D-44BE-B912-53F1B6DB2BAE}">
      <dgm:prSet/>
      <dgm:spPr/>
      <dgm:t>
        <a:bodyPr/>
        <a:lstStyle/>
        <a:p>
          <a:endParaRPr lang="en-US" sz="2000"/>
        </a:p>
      </dgm:t>
    </dgm:pt>
    <dgm:pt modelId="{6390E7C9-7F68-4202-99EF-F1C18620E934}">
      <dgm:prSet custT="1"/>
      <dgm:spPr/>
      <dgm:t>
        <a:bodyPr/>
        <a:lstStyle/>
        <a:p>
          <a:r>
            <a:rPr lang="en-US" sz="2000" b="1" baseline="0"/>
            <a:t>Commonly</a:t>
          </a:r>
          <a:r>
            <a:rPr lang="en-US" sz="2000" baseline="0"/>
            <a:t> used properties:</a:t>
          </a:r>
          <a:endParaRPr lang="en-US" sz="2000"/>
        </a:p>
      </dgm:t>
    </dgm:pt>
    <dgm:pt modelId="{73FC6CD4-36F9-4119-BA05-4AFB3C51F83B}" type="parTrans" cxnId="{0CE615CF-9491-4154-BC6A-006989FCDC6D}">
      <dgm:prSet/>
      <dgm:spPr/>
      <dgm:t>
        <a:bodyPr/>
        <a:lstStyle/>
        <a:p>
          <a:endParaRPr lang="en-US"/>
        </a:p>
      </dgm:t>
    </dgm:pt>
    <dgm:pt modelId="{A8195E7D-307A-4E39-A148-BAEBB100C736}" type="sibTrans" cxnId="{0CE615CF-9491-4154-BC6A-006989FCDC6D}">
      <dgm:prSet/>
      <dgm:spPr/>
      <dgm:t>
        <a:bodyPr/>
        <a:lstStyle/>
        <a:p>
          <a:endParaRPr lang="en-US"/>
        </a:p>
      </dgm:t>
    </dgm:pt>
    <dgm:pt modelId="{03A525EA-D0D3-49F0-898D-20452F5632E8}" type="pres">
      <dgm:prSet presAssocID="{9D3029DA-7F07-4617-82F6-CDD10E522EC2}" presName="vert0" presStyleCnt="0">
        <dgm:presLayoutVars>
          <dgm:dir/>
          <dgm:animOne val="branch"/>
          <dgm:animLvl val="lvl"/>
        </dgm:presLayoutVars>
      </dgm:prSet>
      <dgm:spPr/>
    </dgm:pt>
    <dgm:pt modelId="{B12CAF66-7481-4E72-8A29-AEF07796441A}" type="pres">
      <dgm:prSet presAssocID="{55C9374B-72D8-4B13-939F-292F6684B360}" presName="thickLine" presStyleLbl="alignNode1" presStyleIdx="0" presStyleCnt="5"/>
      <dgm:spPr/>
    </dgm:pt>
    <dgm:pt modelId="{E1A4C02E-C6E6-4A16-8810-3878D379FEB5}" type="pres">
      <dgm:prSet presAssocID="{55C9374B-72D8-4B13-939F-292F6684B360}" presName="horz1" presStyleCnt="0"/>
      <dgm:spPr/>
    </dgm:pt>
    <dgm:pt modelId="{56474FC9-2945-4BFE-8970-AD98B1DBCAB7}" type="pres">
      <dgm:prSet presAssocID="{55C9374B-72D8-4B13-939F-292F6684B360}" presName="tx1" presStyleLbl="revTx" presStyleIdx="0" presStyleCnt="5"/>
      <dgm:spPr/>
    </dgm:pt>
    <dgm:pt modelId="{79108B2E-06D5-4468-BCC2-1811DEA94106}" type="pres">
      <dgm:prSet presAssocID="{55C9374B-72D8-4B13-939F-292F6684B360}" presName="vert1" presStyleCnt="0"/>
      <dgm:spPr/>
    </dgm:pt>
    <dgm:pt modelId="{21DAAD4E-0127-4602-A2F1-3CE96460C6DD}" type="pres">
      <dgm:prSet presAssocID="{F28AF68D-E698-4020-A38B-7A9AE164CD61}" presName="thickLine" presStyleLbl="alignNode1" presStyleIdx="1" presStyleCnt="5"/>
      <dgm:spPr/>
    </dgm:pt>
    <dgm:pt modelId="{CB6BD281-3189-4798-BC9E-D51C8C903AF7}" type="pres">
      <dgm:prSet presAssocID="{F28AF68D-E698-4020-A38B-7A9AE164CD61}" presName="horz1" presStyleCnt="0"/>
      <dgm:spPr/>
    </dgm:pt>
    <dgm:pt modelId="{0AF3F5E6-665B-4E18-ACC3-F8667AAEF219}" type="pres">
      <dgm:prSet presAssocID="{F28AF68D-E698-4020-A38B-7A9AE164CD61}" presName="tx1" presStyleLbl="revTx" presStyleIdx="1" presStyleCnt="5"/>
      <dgm:spPr/>
    </dgm:pt>
    <dgm:pt modelId="{9957060C-80FB-429A-8B3D-E82C415FA591}" type="pres">
      <dgm:prSet presAssocID="{F28AF68D-E698-4020-A38B-7A9AE164CD61}" presName="vert1" presStyleCnt="0"/>
      <dgm:spPr/>
    </dgm:pt>
    <dgm:pt modelId="{46B8F722-081B-4B8C-A13D-8E450D210A05}" type="pres">
      <dgm:prSet presAssocID="{D74FA506-8EB0-4CD8-9E81-34449E90F20F}" presName="thickLine" presStyleLbl="alignNode1" presStyleIdx="2" presStyleCnt="5"/>
      <dgm:spPr/>
    </dgm:pt>
    <dgm:pt modelId="{FCDF9E7E-A899-4405-8B40-7C5C991FC0FB}" type="pres">
      <dgm:prSet presAssocID="{D74FA506-8EB0-4CD8-9E81-34449E90F20F}" presName="horz1" presStyleCnt="0"/>
      <dgm:spPr/>
    </dgm:pt>
    <dgm:pt modelId="{103F5058-96B8-45E2-8E8B-B2F84DD63973}" type="pres">
      <dgm:prSet presAssocID="{D74FA506-8EB0-4CD8-9E81-34449E90F20F}" presName="tx1" presStyleLbl="revTx" presStyleIdx="2" presStyleCnt="5"/>
      <dgm:spPr/>
    </dgm:pt>
    <dgm:pt modelId="{70819275-49C4-4612-A011-7B4FB122B85C}" type="pres">
      <dgm:prSet presAssocID="{D74FA506-8EB0-4CD8-9E81-34449E90F20F}" presName="vert1" presStyleCnt="0"/>
      <dgm:spPr/>
    </dgm:pt>
    <dgm:pt modelId="{6CBAADB2-6B4B-4420-9B9C-D3A1F7A9ACD8}" type="pres">
      <dgm:prSet presAssocID="{0279CB7F-509C-4528-A915-710FECC4BF01}" presName="thickLine" presStyleLbl="alignNode1" presStyleIdx="3" presStyleCnt="5"/>
      <dgm:spPr/>
    </dgm:pt>
    <dgm:pt modelId="{BB7BABBE-6849-4CB1-8022-4008DAD0B103}" type="pres">
      <dgm:prSet presAssocID="{0279CB7F-509C-4528-A915-710FECC4BF01}" presName="horz1" presStyleCnt="0"/>
      <dgm:spPr/>
    </dgm:pt>
    <dgm:pt modelId="{53AA22FC-F759-47DC-8C31-149D65A8947D}" type="pres">
      <dgm:prSet presAssocID="{0279CB7F-509C-4528-A915-710FECC4BF01}" presName="tx1" presStyleLbl="revTx" presStyleIdx="3" presStyleCnt="5"/>
      <dgm:spPr/>
    </dgm:pt>
    <dgm:pt modelId="{619C8F82-9B2B-42CC-B038-597337B3C9C9}" type="pres">
      <dgm:prSet presAssocID="{0279CB7F-509C-4528-A915-710FECC4BF01}" presName="vert1" presStyleCnt="0"/>
      <dgm:spPr/>
    </dgm:pt>
    <dgm:pt modelId="{02FD7601-6BA5-47C3-81B0-9CF2A6B2BB41}" type="pres">
      <dgm:prSet presAssocID="{6390E7C9-7F68-4202-99EF-F1C18620E934}" presName="thickLine" presStyleLbl="alignNode1" presStyleIdx="4" presStyleCnt="5"/>
      <dgm:spPr/>
    </dgm:pt>
    <dgm:pt modelId="{9B3CB042-D5A9-4386-931C-103FB7EAF4A4}" type="pres">
      <dgm:prSet presAssocID="{6390E7C9-7F68-4202-99EF-F1C18620E934}" presName="horz1" presStyleCnt="0"/>
      <dgm:spPr/>
    </dgm:pt>
    <dgm:pt modelId="{2F7A7AA0-2532-4B97-94D8-2260B926F717}" type="pres">
      <dgm:prSet presAssocID="{6390E7C9-7F68-4202-99EF-F1C18620E934}" presName="tx1" presStyleLbl="revTx" presStyleIdx="4" presStyleCnt="5"/>
      <dgm:spPr/>
    </dgm:pt>
    <dgm:pt modelId="{5FF20592-94EF-47E6-BA15-E27437EB03FE}" type="pres">
      <dgm:prSet presAssocID="{6390E7C9-7F68-4202-99EF-F1C18620E934}" presName="vert1" presStyleCnt="0"/>
      <dgm:spPr/>
    </dgm:pt>
  </dgm:ptLst>
  <dgm:cxnLst>
    <dgm:cxn modelId="{7A55E40C-B665-4501-B406-010112627CEB}" srcId="{9D3029DA-7F07-4617-82F6-CDD10E522EC2}" destId="{F28AF68D-E698-4020-A38B-7A9AE164CD61}" srcOrd="1" destOrd="0" parTransId="{0AB49822-E1E0-4EBE-8C1B-AA793A08A44B}" sibTransId="{B2131012-80B6-4089-B985-EA54EE53236D}"/>
    <dgm:cxn modelId="{E667D10F-2A9C-44C9-A2BB-D3E228C796AD}" srcId="{9D3029DA-7F07-4617-82F6-CDD10E522EC2}" destId="{D74FA506-8EB0-4CD8-9E81-34449E90F20F}" srcOrd="2" destOrd="0" parTransId="{B1B39CF4-6B28-4109-AA9D-BB3B0B625E94}" sibTransId="{ADD0708D-CDF6-462F-9946-726B14F648AA}"/>
    <dgm:cxn modelId="{6C8F691C-6B8E-4444-9C68-37EF41DF20AE}" srcId="{9D3029DA-7F07-4617-82F6-CDD10E522EC2}" destId="{55C9374B-72D8-4B13-939F-292F6684B360}" srcOrd="0" destOrd="0" parTransId="{E9931136-346C-48CE-8774-FEBE4C7729DA}" sibTransId="{1F2B3B2F-A2EC-440E-978D-3A3F9E626752}"/>
    <dgm:cxn modelId="{3185D035-B260-4193-86AA-1991006EBCF6}" type="presOf" srcId="{9D3029DA-7F07-4617-82F6-CDD10E522EC2}" destId="{03A525EA-D0D3-49F0-898D-20452F5632E8}" srcOrd="0" destOrd="0" presId="urn:microsoft.com/office/officeart/2008/layout/LinedList"/>
    <dgm:cxn modelId="{5F1D2946-779F-4B5D-B4D4-F36D1AC06379}" type="presOf" srcId="{6390E7C9-7F68-4202-99EF-F1C18620E934}" destId="{2F7A7AA0-2532-4B97-94D8-2260B926F717}" srcOrd="0" destOrd="0" presId="urn:microsoft.com/office/officeart/2008/layout/LinedList"/>
    <dgm:cxn modelId="{68C1DB79-C3A5-41E3-82DC-756BE4102706}" type="presOf" srcId="{F28AF68D-E698-4020-A38B-7A9AE164CD61}" destId="{0AF3F5E6-665B-4E18-ACC3-F8667AAEF219}" srcOrd="0" destOrd="0" presId="urn:microsoft.com/office/officeart/2008/layout/LinedList"/>
    <dgm:cxn modelId="{56F897AD-674C-49AD-9F69-55466F8A164F}" type="presOf" srcId="{D74FA506-8EB0-4CD8-9E81-34449E90F20F}" destId="{103F5058-96B8-45E2-8E8B-B2F84DD63973}" srcOrd="0" destOrd="0" presId="urn:microsoft.com/office/officeart/2008/layout/LinedList"/>
    <dgm:cxn modelId="{0CE615CF-9491-4154-BC6A-006989FCDC6D}" srcId="{9D3029DA-7F07-4617-82F6-CDD10E522EC2}" destId="{6390E7C9-7F68-4202-99EF-F1C18620E934}" srcOrd="4" destOrd="0" parTransId="{73FC6CD4-36F9-4119-BA05-4AFB3C51F83B}" sibTransId="{A8195E7D-307A-4E39-A148-BAEBB100C736}"/>
    <dgm:cxn modelId="{DAF247D5-938D-44BE-B912-53F1B6DB2BAE}" srcId="{9D3029DA-7F07-4617-82F6-CDD10E522EC2}" destId="{0279CB7F-509C-4528-A915-710FECC4BF01}" srcOrd="3" destOrd="0" parTransId="{5007AA9F-B5FB-4786-8B04-925906DF522F}" sibTransId="{F12151D4-49CB-46BA-9BFB-72324F4B1F97}"/>
    <dgm:cxn modelId="{DC0882DF-DF70-4487-B718-2F798A00FDC2}" type="presOf" srcId="{0279CB7F-509C-4528-A915-710FECC4BF01}" destId="{53AA22FC-F759-47DC-8C31-149D65A8947D}" srcOrd="0" destOrd="0" presId="urn:microsoft.com/office/officeart/2008/layout/LinedList"/>
    <dgm:cxn modelId="{01DB87EA-6F32-45DE-9695-BB28A50525AE}" type="presOf" srcId="{55C9374B-72D8-4B13-939F-292F6684B360}" destId="{56474FC9-2945-4BFE-8970-AD98B1DBCAB7}" srcOrd="0" destOrd="0" presId="urn:microsoft.com/office/officeart/2008/layout/LinedList"/>
    <dgm:cxn modelId="{F6222975-3B9C-4D87-B165-6FB8EDB4AC1A}" type="presParOf" srcId="{03A525EA-D0D3-49F0-898D-20452F5632E8}" destId="{B12CAF66-7481-4E72-8A29-AEF07796441A}" srcOrd="0" destOrd="0" presId="urn:microsoft.com/office/officeart/2008/layout/LinedList"/>
    <dgm:cxn modelId="{9492EAFC-55E6-4341-85A1-698B266D68C1}" type="presParOf" srcId="{03A525EA-D0D3-49F0-898D-20452F5632E8}" destId="{E1A4C02E-C6E6-4A16-8810-3878D379FEB5}" srcOrd="1" destOrd="0" presId="urn:microsoft.com/office/officeart/2008/layout/LinedList"/>
    <dgm:cxn modelId="{AD537A27-DC23-44D5-9196-9C3B24205D4D}" type="presParOf" srcId="{E1A4C02E-C6E6-4A16-8810-3878D379FEB5}" destId="{56474FC9-2945-4BFE-8970-AD98B1DBCAB7}" srcOrd="0" destOrd="0" presId="urn:microsoft.com/office/officeart/2008/layout/LinedList"/>
    <dgm:cxn modelId="{FFAFBD2E-AEC1-4805-BED8-EC12B5E36066}" type="presParOf" srcId="{E1A4C02E-C6E6-4A16-8810-3878D379FEB5}" destId="{79108B2E-06D5-4468-BCC2-1811DEA94106}" srcOrd="1" destOrd="0" presId="urn:microsoft.com/office/officeart/2008/layout/LinedList"/>
    <dgm:cxn modelId="{70F8E701-D152-4855-846D-8793563F43BA}" type="presParOf" srcId="{03A525EA-D0D3-49F0-898D-20452F5632E8}" destId="{21DAAD4E-0127-4602-A2F1-3CE96460C6DD}" srcOrd="2" destOrd="0" presId="urn:microsoft.com/office/officeart/2008/layout/LinedList"/>
    <dgm:cxn modelId="{E1330EBE-F3C7-4BBF-87C8-588A21895A6B}" type="presParOf" srcId="{03A525EA-D0D3-49F0-898D-20452F5632E8}" destId="{CB6BD281-3189-4798-BC9E-D51C8C903AF7}" srcOrd="3" destOrd="0" presId="urn:microsoft.com/office/officeart/2008/layout/LinedList"/>
    <dgm:cxn modelId="{BD2E50F0-7DE2-4C30-BD10-F03F3E9F1707}" type="presParOf" srcId="{CB6BD281-3189-4798-BC9E-D51C8C903AF7}" destId="{0AF3F5E6-665B-4E18-ACC3-F8667AAEF219}" srcOrd="0" destOrd="0" presId="urn:microsoft.com/office/officeart/2008/layout/LinedList"/>
    <dgm:cxn modelId="{1E515CAD-EE4C-4EB8-A341-0D552F0D2471}" type="presParOf" srcId="{CB6BD281-3189-4798-BC9E-D51C8C903AF7}" destId="{9957060C-80FB-429A-8B3D-E82C415FA591}" srcOrd="1" destOrd="0" presId="urn:microsoft.com/office/officeart/2008/layout/LinedList"/>
    <dgm:cxn modelId="{B505337A-B431-47AE-A254-DE4D9CC6D0B3}" type="presParOf" srcId="{03A525EA-D0D3-49F0-898D-20452F5632E8}" destId="{46B8F722-081B-4B8C-A13D-8E450D210A05}" srcOrd="4" destOrd="0" presId="urn:microsoft.com/office/officeart/2008/layout/LinedList"/>
    <dgm:cxn modelId="{2965C0C6-2D71-441B-AE4A-F5B9975EAE19}" type="presParOf" srcId="{03A525EA-D0D3-49F0-898D-20452F5632E8}" destId="{FCDF9E7E-A899-4405-8B40-7C5C991FC0FB}" srcOrd="5" destOrd="0" presId="urn:microsoft.com/office/officeart/2008/layout/LinedList"/>
    <dgm:cxn modelId="{9B30384E-369E-4EDE-83C1-B030B9669BA9}" type="presParOf" srcId="{FCDF9E7E-A899-4405-8B40-7C5C991FC0FB}" destId="{103F5058-96B8-45E2-8E8B-B2F84DD63973}" srcOrd="0" destOrd="0" presId="urn:microsoft.com/office/officeart/2008/layout/LinedList"/>
    <dgm:cxn modelId="{8311E28E-4D61-4388-8EDF-9EB91AE0B6D7}" type="presParOf" srcId="{FCDF9E7E-A899-4405-8B40-7C5C991FC0FB}" destId="{70819275-49C4-4612-A011-7B4FB122B85C}" srcOrd="1" destOrd="0" presId="urn:microsoft.com/office/officeart/2008/layout/LinedList"/>
    <dgm:cxn modelId="{89594EDC-4654-4759-B22A-BFEB96956EDD}" type="presParOf" srcId="{03A525EA-D0D3-49F0-898D-20452F5632E8}" destId="{6CBAADB2-6B4B-4420-9B9C-D3A1F7A9ACD8}" srcOrd="6" destOrd="0" presId="urn:microsoft.com/office/officeart/2008/layout/LinedList"/>
    <dgm:cxn modelId="{303E5478-3A6E-4998-A04E-5FF09567FBD7}" type="presParOf" srcId="{03A525EA-D0D3-49F0-898D-20452F5632E8}" destId="{BB7BABBE-6849-4CB1-8022-4008DAD0B103}" srcOrd="7" destOrd="0" presId="urn:microsoft.com/office/officeart/2008/layout/LinedList"/>
    <dgm:cxn modelId="{AA2BE6FA-39BF-45DB-B6FF-BEF324500776}" type="presParOf" srcId="{BB7BABBE-6849-4CB1-8022-4008DAD0B103}" destId="{53AA22FC-F759-47DC-8C31-149D65A8947D}" srcOrd="0" destOrd="0" presId="urn:microsoft.com/office/officeart/2008/layout/LinedList"/>
    <dgm:cxn modelId="{BDE784AA-924F-4728-B3E6-3DE73A950EFB}" type="presParOf" srcId="{BB7BABBE-6849-4CB1-8022-4008DAD0B103}" destId="{619C8F82-9B2B-42CC-B038-597337B3C9C9}" srcOrd="1" destOrd="0" presId="urn:microsoft.com/office/officeart/2008/layout/LinedList"/>
    <dgm:cxn modelId="{DB5BDC11-DB4A-4D16-BE01-D351793554C4}" type="presParOf" srcId="{03A525EA-D0D3-49F0-898D-20452F5632E8}" destId="{02FD7601-6BA5-47C3-81B0-9CF2A6B2BB41}" srcOrd="8" destOrd="0" presId="urn:microsoft.com/office/officeart/2008/layout/LinedList"/>
    <dgm:cxn modelId="{FA78EB49-C355-4872-8CC2-74D51557C90C}" type="presParOf" srcId="{03A525EA-D0D3-49F0-898D-20452F5632E8}" destId="{9B3CB042-D5A9-4386-931C-103FB7EAF4A4}" srcOrd="9" destOrd="0" presId="urn:microsoft.com/office/officeart/2008/layout/LinedList"/>
    <dgm:cxn modelId="{0D1475F3-2957-43D5-B0D1-F4B8EFA2350B}" type="presParOf" srcId="{9B3CB042-D5A9-4386-931C-103FB7EAF4A4}" destId="{2F7A7AA0-2532-4B97-94D8-2260B926F717}" srcOrd="0" destOrd="0" presId="urn:microsoft.com/office/officeart/2008/layout/LinedList"/>
    <dgm:cxn modelId="{104FC39B-9EE1-409E-9BAA-01DCA0F08F24}" type="presParOf" srcId="{9B3CB042-D5A9-4386-931C-103FB7EAF4A4}" destId="{5FF20592-94EF-47E6-BA15-E27437EB03FE}" srcOrd="1" destOrd="0" presId="urn:microsoft.com/office/officeart/2008/layout/LinedList"/>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A56DAA7D-82E2-4F30-854B-A7D446536109}"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3C324280-AD98-4AE4-8BE5-A9619D55387E}">
      <dgm:prSet custT="1"/>
      <dgm:spPr/>
      <dgm:t>
        <a:bodyPr/>
        <a:lstStyle/>
        <a:p>
          <a:r>
            <a:rPr lang="en-US" sz="2400" baseline="0"/>
            <a:t>Properties can be </a:t>
          </a:r>
          <a:r>
            <a:rPr lang="en-US" sz="2400" b="0" baseline="0"/>
            <a:t>found</a:t>
          </a:r>
          <a:r>
            <a:rPr lang="en-US" sz="2400" baseline="0"/>
            <a:t> in </a:t>
          </a:r>
          <a:r>
            <a:rPr lang="en-US" sz="2400" b="0" baseline="0"/>
            <a:t>multiple</a:t>
          </a:r>
          <a:r>
            <a:rPr lang="en-US" sz="2400" baseline="0"/>
            <a:t> </a:t>
          </a:r>
          <a:r>
            <a:rPr lang="en-US" sz="2400" b="0" baseline="0"/>
            <a:t>locations</a:t>
          </a:r>
          <a:r>
            <a:rPr lang="en-US" sz="2400" baseline="0"/>
            <a:t>: </a:t>
          </a:r>
          <a:br>
            <a:rPr lang="en-US" sz="2400" baseline="0"/>
          </a:br>
          <a:r>
            <a:rPr lang="en-US" sz="2400" baseline="0"/>
            <a:t>Get-Member, Docs pages, or Visual Studio pane</a:t>
          </a:r>
          <a:endParaRPr lang="en-US" sz="2400"/>
        </a:p>
      </dgm:t>
    </dgm:pt>
    <dgm:pt modelId="{597286A4-62DB-4CEE-8757-80603C1F57C2}" type="parTrans" cxnId="{8C8B393B-37B5-476E-80BF-3A9440001828}">
      <dgm:prSet/>
      <dgm:spPr/>
      <dgm:t>
        <a:bodyPr/>
        <a:lstStyle/>
        <a:p>
          <a:endParaRPr lang="en-US" sz="2400"/>
        </a:p>
      </dgm:t>
    </dgm:pt>
    <dgm:pt modelId="{39120C87-EF2D-4ECE-841C-68783C13897D}" type="sibTrans" cxnId="{8C8B393B-37B5-476E-80BF-3A9440001828}">
      <dgm:prSet/>
      <dgm:spPr/>
      <dgm:t>
        <a:bodyPr/>
        <a:lstStyle/>
        <a:p>
          <a:endParaRPr lang="en-US" sz="2400"/>
        </a:p>
      </dgm:t>
    </dgm:pt>
    <dgm:pt modelId="{70BF2235-E05A-4A1B-AB52-4625BD4FC126}" type="pres">
      <dgm:prSet presAssocID="{A56DAA7D-82E2-4F30-854B-A7D446536109}" presName="vert0" presStyleCnt="0">
        <dgm:presLayoutVars>
          <dgm:dir/>
          <dgm:animOne val="branch"/>
          <dgm:animLvl val="lvl"/>
        </dgm:presLayoutVars>
      </dgm:prSet>
      <dgm:spPr/>
    </dgm:pt>
    <dgm:pt modelId="{BF714FA6-F88F-4579-85D8-F6172F5A9637}" type="pres">
      <dgm:prSet presAssocID="{3C324280-AD98-4AE4-8BE5-A9619D55387E}" presName="thickLine" presStyleLbl="alignNode1" presStyleIdx="0" presStyleCnt="1"/>
      <dgm:spPr/>
    </dgm:pt>
    <dgm:pt modelId="{4A3B2104-37EB-49E4-810D-89374A6FD080}" type="pres">
      <dgm:prSet presAssocID="{3C324280-AD98-4AE4-8BE5-A9619D55387E}" presName="horz1" presStyleCnt="0"/>
      <dgm:spPr/>
    </dgm:pt>
    <dgm:pt modelId="{D43C939D-4BE8-4F71-8DCF-EB7E692BC7D7}" type="pres">
      <dgm:prSet presAssocID="{3C324280-AD98-4AE4-8BE5-A9619D55387E}" presName="tx1" presStyleLbl="revTx" presStyleIdx="0" presStyleCnt="1"/>
      <dgm:spPr/>
    </dgm:pt>
    <dgm:pt modelId="{5B43D660-7261-4D1A-8786-90B3CE7662F6}" type="pres">
      <dgm:prSet presAssocID="{3C324280-AD98-4AE4-8BE5-A9619D55387E}" presName="vert1" presStyleCnt="0"/>
      <dgm:spPr/>
    </dgm:pt>
  </dgm:ptLst>
  <dgm:cxnLst>
    <dgm:cxn modelId="{97DD7901-53BF-4C15-955C-71697E2CFC38}" type="presOf" srcId="{A56DAA7D-82E2-4F30-854B-A7D446536109}" destId="{70BF2235-E05A-4A1B-AB52-4625BD4FC126}" srcOrd="0" destOrd="0" presId="urn:microsoft.com/office/officeart/2008/layout/LinedList"/>
    <dgm:cxn modelId="{8C8B393B-37B5-476E-80BF-3A9440001828}" srcId="{A56DAA7D-82E2-4F30-854B-A7D446536109}" destId="{3C324280-AD98-4AE4-8BE5-A9619D55387E}" srcOrd="0" destOrd="0" parTransId="{597286A4-62DB-4CEE-8757-80603C1F57C2}" sibTransId="{39120C87-EF2D-4ECE-841C-68783C13897D}"/>
    <dgm:cxn modelId="{B1E52AAB-4F3B-4DB2-89CE-B451055E8D21}" type="presOf" srcId="{3C324280-AD98-4AE4-8BE5-A9619D55387E}" destId="{D43C939D-4BE8-4F71-8DCF-EB7E692BC7D7}" srcOrd="0" destOrd="0" presId="urn:microsoft.com/office/officeart/2008/layout/LinedList"/>
    <dgm:cxn modelId="{C1B3D31D-F384-49CE-8192-7F45C79978BB}" type="presParOf" srcId="{70BF2235-E05A-4A1B-AB52-4625BD4FC126}" destId="{BF714FA6-F88F-4579-85D8-F6172F5A9637}" srcOrd="0" destOrd="0" presId="urn:microsoft.com/office/officeart/2008/layout/LinedList"/>
    <dgm:cxn modelId="{66FB20BA-5862-4252-8617-5C656CD977B8}" type="presParOf" srcId="{70BF2235-E05A-4A1B-AB52-4625BD4FC126}" destId="{4A3B2104-37EB-49E4-810D-89374A6FD080}" srcOrd="1" destOrd="0" presId="urn:microsoft.com/office/officeart/2008/layout/LinedList"/>
    <dgm:cxn modelId="{6A18AFA9-D08C-4F87-AC3B-E4103D8761AD}" type="presParOf" srcId="{4A3B2104-37EB-49E4-810D-89374A6FD080}" destId="{D43C939D-4BE8-4F71-8DCF-EB7E692BC7D7}" srcOrd="0" destOrd="0" presId="urn:microsoft.com/office/officeart/2008/layout/LinedList"/>
    <dgm:cxn modelId="{D1BC1522-CED7-4898-A880-C3BE0C7F2473}" type="presParOf" srcId="{4A3B2104-37EB-49E4-810D-89374A6FD080}" destId="{5B43D660-7261-4D1A-8786-90B3CE7662F6}"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7515F71E-CE14-4EE7-BD98-19C0C1F7EA5E}" type="doc">
      <dgm:prSet loTypeId="urn:microsoft.com/office/officeart/2005/8/layout/process4" loCatId="list" qsTypeId="urn:microsoft.com/office/officeart/2005/8/quickstyle/simple1" qsCatId="simple" csTypeId="urn:microsoft.com/office/officeart/2005/8/colors/colorful1" csCatId="colorful" phldr="1"/>
      <dgm:spPr/>
      <dgm:t>
        <a:bodyPr/>
        <a:lstStyle/>
        <a:p>
          <a:endParaRPr lang="en-US"/>
        </a:p>
      </dgm:t>
    </dgm:pt>
    <dgm:pt modelId="{234C0B22-EB82-474C-A6A6-8AA0EECB2CA0}">
      <dgm:prSet custT="1">
        <dgm:style>
          <a:lnRef idx="2">
            <a:schemeClr val="accent1"/>
          </a:lnRef>
          <a:fillRef idx="1">
            <a:schemeClr val="lt1"/>
          </a:fillRef>
          <a:effectRef idx="0">
            <a:schemeClr val="accent1"/>
          </a:effectRef>
          <a:fontRef idx="minor">
            <a:schemeClr val="dk1"/>
          </a:fontRef>
        </dgm:style>
      </dgm:prSet>
      <dgm:spPr>
        <a:ln>
          <a:noFill/>
        </a:ln>
      </dgm:spPr>
      <dgm:t>
        <a:bodyPr/>
        <a:lstStyle/>
        <a:p>
          <a:endParaRPr lang="en-US" sz="2000"/>
        </a:p>
      </dgm:t>
    </dgm:pt>
    <dgm:pt modelId="{6D78BD82-565A-4378-BBD9-4B8A0F2461E2}" type="parTrans" cxnId="{042123B6-FCF7-4A63-ADFC-9679DD696226}">
      <dgm:prSet/>
      <dgm:spPr/>
      <dgm:t>
        <a:bodyPr/>
        <a:lstStyle/>
        <a:p>
          <a:endParaRPr lang="en-US" sz="2000"/>
        </a:p>
      </dgm:t>
    </dgm:pt>
    <dgm:pt modelId="{D5B05DDB-71AF-452C-8ECA-728809DF7425}" type="sibTrans" cxnId="{042123B6-FCF7-4A63-ADFC-9679DD696226}">
      <dgm:prSet/>
      <dgm:spPr/>
      <dgm:t>
        <a:bodyPr/>
        <a:lstStyle/>
        <a:p>
          <a:endParaRPr lang="en-US" sz="2000"/>
        </a:p>
      </dgm:t>
    </dgm:pt>
    <dgm:pt modelId="{2CB88F10-A80F-4431-895B-A4CCE24A87BA}">
      <dgm:prSet custT="1"/>
      <dgm:spPr>
        <a:solidFill>
          <a:schemeClr val="accent1">
            <a:lumMod val="40000"/>
            <a:lumOff val="60000"/>
            <a:alpha val="90000"/>
          </a:schemeClr>
        </a:solidFill>
      </dgm:spPr>
      <dgm:t>
        <a:bodyPr/>
        <a:lstStyle/>
        <a:p>
          <a:r>
            <a:rPr lang="en-US" sz="2000" baseline="0"/>
            <a:t>Button </a:t>
          </a:r>
          <a:br>
            <a:rPr lang="en-US" sz="2000" baseline="0"/>
          </a:br>
          <a:r>
            <a:rPr lang="en-US" sz="2000" b="1" baseline="0" err="1"/>
            <a:t>add_Click</a:t>
          </a:r>
          <a:r>
            <a:rPr lang="en-US" sz="2000" b="1" baseline="0"/>
            <a:t>()</a:t>
          </a:r>
          <a:endParaRPr lang="en-US" sz="2000"/>
        </a:p>
      </dgm:t>
    </dgm:pt>
    <dgm:pt modelId="{BA706FBC-F71E-4802-95F9-EB20B87C5714}" type="parTrans" cxnId="{A70AF4AD-3705-40C8-A636-9D6B7FFA70A2}">
      <dgm:prSet/>
      <dgm:spPr/>
      <dgm:t>
        <a:bodyPr/>
        <a:lstStyle/>
        <a:p>
          <a:endParaRPr lang="en-US" sz="2000"/>
        </a:p>
      </dgm:t>
    </dgm:pt>
    <dgm:pt modelId="{D11F2D9C-6D3B-45AD-AB46-D935E88248C4}" type="sibTrans" cxnId="{A70AF4AD-3705-40C8-A636-9D6B7FFA70A2}">
      <dgm:prSet/>
      <dgm:spPr/>
      <dgm:t>
        <a:bodyPr/>
        <a:lstStyle/>
        <a:p>
          <a:endParaRPr lang="en-US" sz="2000"/>
        </a:p>
      </dgm:t>
    </dgm:pt>
    <dgm:pt modelId="{A5C4CEC8-62F2-4756-A4EB-87F55BC1B023}">
      <dgm:prSet custT="1"/>
      <dgm:spPr>
        <a:solidFill>
          <a:schemeClr val="accent3">
            <a:lumMod val="40000"/>
            <a:lumOff val="60000"/>
            <a:alpha val="90000"/>
          </a:schemeClr>
        </a:solidFill>
      </dgm:spPr>
      <dgm:t>
        <a:bodyPr/>
        <a:lstStyle/>
        <a:p>
          <a:r>
            <a:rPr lang="en-US" sz="2000" baseline="0" err="1"/>
            <a:t>Combobox</a:t>
          </a:r>
          <a:r>
            <a:rPr lang="en-US" sz="2000" baseline="0"/>
            <a:t> </a:t>
          </a:r>
          <a:br>
            <a:rPr lang="en-US" sz="2000" baseline="0"/>
          </a:br>
          <a:r>
            <a:rPr lang="en-US" sz="2000" b="1" baseline="0" err="1"/>
            <a:t>add_SelectionChanged</a:t>
          </a:r>
          <a:r>
            <a:rPr lang="en-US" sz="2000" b="1" baseline="0"/>
            <a:t>()</a:t>
          </a:r>
          <a:endParaRPr lang="en-US" sz="2000"/>
        </a:p>
      </dgm:t>
    </dgm:pt>
    <dgm:pt modelId="{5BFEF1A8-1DE4-4774-AB2E-AFF11684A286}" type="parTrans" cxnId="{A4345F12-A378-4639-B814-2077BDEDC872}">
      <dgm:prSet/>
      <dgm:spPr/>
      <dgm:t>
        <a:bodyPr/>
        <a:lstStyle/>
        <a:p>
          <a:endParaRPr lang="en-US" sz="2000"/>
        </a:p>
      </dgm:t>
    </dgm:pt>
    <dgm:pt modelId="{A8A9DA18-B874-45CD-A30C-0FEB8D336931}" type="sibTrans" cxnId="{A4345F12-A378-4639-B814-2077BDEDC872}">
      <dgm:prSet/>
      <dgm:spPr/>
      <dgm:t>
        <a:bodyPr/>
        <a:lstStyle/>
        <a:p>
          <a:endParaRPr lang="en-US" sz="2000"/>
        </a:p>
      </dgm:t>
    </dgm:pt>
    <dgm:pt modelId="{74AE4483-16E9-4025-99B3-9C7629BEF5BB}">
      <dgm:prSet custT="1"/>
      <dgm:spPr>
        <a:solidFill>
          <a:schemeClr val="accent5">
            <a:lumMod val="40000"/>
            <a:lumOff val="60000"/>
            <a:alpha val="90000"/>
          </a:schemeClr>
        </a:solidFill>
      </dgm:spPr>
      <dgm:t>
        <a:bodyPr/>
        <a:lstStyle/>
        <a:p>
          <a:r>
            <a:rPr lang="en-US" sz="2000">
              <a:solidFill>
                <a:schemeClr val="tx1"/>
              </a:solidFill>
            </a:rPr>
            <a:t>Slider</a:t>
          </a:r>
          <a:br>
            <a:rPr lang="en-US" sz="2000">
              <a:solidFill>
                <a:schemeClr val="tx1"/>
              </a:solidFill>
            </a:rPr>
          </a:br>
          <a:r>
            <a:rPr lang="en-US" sz="2000" b="1" err="1">
              <a:solidFill>
                <a:schemeClr val="tx1"/>
              </a:solidFill>
            </a:rPr>
            <a:t>add_ValueChanged</a:t>
          </a:r>
          <a:r>
            <a:rPr lang="en-US" sz="2000" b="1">
              <a:solidFill>
                <a:schemeClr val="tx1"/>
              </a:solidFill>
            </a:rPr>
            <a:t>()</a:t>
          </a:r>
        </a:p>
      </dgm:t>
    </dgm:pt>
    <dgm:pt modelId="{8EEE657D-9D78-4F78-8BBA-F8A72B0D367B}" type="parTrans" cxnId="{B8EB64B9-ECE2-416D-9F58-9E7264E110D5}">
      <dgm:prSet/>
      <dgm:spPr/>
      <dgm:t>
        <a:bodyPr/>
        <a:lstStyle/>
        <a:p>
          <a:endParaRPr lang="en-US" sz="2000"/>
        </a:p>
      </dgm:t>
    </dgm:pt>
    <dgm:pt modelId="{212B8618-7099-479C-AAD1-A5205012574A}" type="sibTrans" cxnId="{B8EB64B9-ECE2-416D-9F58-9E7264E110D5}">
      <dgm:prSet/>
      <dgm:spPr/>
      <dgm:t>
        <a:bodyPr/>
        <a:lstStyle/>
        <a:p>
          <a:endParaRPr lang="en-US" sz="2000"/>
        </a:p>
      </dgm:t>
    </dgm:pt>
    <dgm:pt modelId="{061B6990-CBBE-4481-BC13-A41F69343461}" type="pres">
      <dgm:prSet presAssocID="{7515F71E-CE14-4EE7-BD98-19C0C1F7EA5E}" presName="Name0" presStyleCnt="0">
        <dgm:presLayoutVars>
          <dgm:dir/>
          <dgm:animLvl val="lvl"/>
          <dgm:resizeHandles val="exact"/>
        </dgm:presLayoutVars>
      </dgm:prSet>
      <dgm:spPr/>
    </dgm:pt>
    <dgm:pt modelId="{DAF051CD-1F33-486F-85FF-43A619B2C151}" type="pres">
      <dgm:prSet presAssocID="{234C0B22-EB82-474C-A6A6-8AA0EECB2CA0}" presName="boxAndChildren" presStyleCnt="0"/>
      <dgm:spPr/>
    </dgm:pt>
    <dgm:pt modelId="{34B87D75-230C-4682-BCF8-6FBF93B1D7C8}" type="pres">
      <dgm:prSet presAssocID="{234C0B22-EB82-474C-A6A6-8AA0EECB2CA0}" presName="parentTextBox" presStyleLbl="node1" presStyleIdx="0" presStyleCnt="1"/>
      <dgm:spPr/>
    </dgm:pt>
    <dgm:pt modelId="{89126D4B-E16C-46DB-8ECA-19977610692E}" type="pres">
      <dgm:prSet presAssocID="{234C0B22-EB82-474C-A6A6-8AA0EECB2CA0}" presName="entireBox" presStyleLbl="node1" presStyleIdx="0" presStyleCnt="1"/>
      <dgm:spPr/>
    </dgm:pt>
    <dgm:pt modelId="{19428338-AA45-4A8D-B19E-B543B62DE821}" type="pres">
      <dgm:prSet presAssocID="{234C0B22-EB82-474C-A6A6-8AA0EECB2CA0}" presName="descendantBox" presStyleCnt="0"/>
      <dgm:spPr/>
    </dgm:pt>
    <dgm:pt modelId="{5D8B8104-6F06-46B7-B934-BE0CA2848C12}" type="pres">
      <dgm:prSet presAssocID="{2CB88F10-A80F-4431-895B-A4CCE24A87BA}" presName="childTextBox" presStyleLbl="fgAccFollowNode1" presStyleIdx="0" presStyleCnt="3">
        <dgm:presLayoutVars>
          <dgm:bulletEnabled val="1"/>
        </dgm:presLayoutVars>
      </dgm:prSet>
      <dgm:spPr/>
    </dgm:pt>
    <dgm:pt modelId="{197E540E-B8FC-4F48-A948-E503244E2D35}" type="pres">
      <dgm:prSet presAssocID="{A5C4CEC8-62F2-4756-A4EB-87F55BC1B023}" presName="childTextBox" presStyleLbl="fgAccFollowNode1" presStyleIdx="1" presStyleCnt="3">
        <dgm:presLayoutVars>
          <dgm:bulletEnabled val="1"/>
        </dgm:presLayoutVars>
      </dgm:prSet>
      <dgm:spPr/>
    </dgm:pt>
    <dgm:pt modelId="{ACCCAA64-C0CA-4FAB-A22C-4F79350E6DC7}" type="pres">
      <dgm:prSet presAssocID="{74AE4483-16E9-4025-99B3-9C7629BEF5BB}" presName="childTextBox" presStyleLbl="fgAccFollowNode1" presStyleIdx="2" presStyleCnt="3">
        <dgm:presLayoutVars>
          <dgm:bulletEnabled val="1"/>
        </dgm:presLayoutVars>
      </dgm:prSet>
      <dgm:spPr/>
    </dgm:pt>
  </dgm:ptLst>
  <dgm:cxnLst>
    <dgm:cxn modelId="{149D1211-9904-4C4C-9A72-CE76F416964B}" type="presOf" srcId="{234C0B22-EB82-474C-A6A6-8AA0EECB2CA0}" destId="{34B87D75-230C-4682-BCF8-6FBF93B1D7C8}" srcOrd="0" destOrd="0" presId="urn:microsoft.com/office/officeart/2005/8/layout/process4"/>
    <dgm:cxn modelId="{A4345F12-A378-4639-B814-2077BDEDC872}" srcId="{234C0B22-EB82-474C-A6A6-8AA0EECB2CA0}" destId="{A5C4CEC8-62F2-4756-A4EB-87F55BC1B023}" srcOrd="1" destOrd="0" parTransId="{5BFEF1A8-1DE4-4774-AB2E-AFF11684A286}" sibTransId="{A8A9DA18-B874-45CD-A30C-0FEB8D336931}"/>
    <dgm:cxn modelId="{32202224-2704-4C1D-84CB-4F6CF1178A8F}" type="presOf" srcId="{234C0B22-EB82-474C-A6A6-8AA0EECB2CA0}" destId="{89126D4B-E16C-46DB-8ECA-19977610692E}" srcOrd="1" destOrd="0" presId="urn:microsoft.com/office/officeart/2005/8/layout/process4"/>
    <dgm:cxn modelId="{B915ED5F-A760-4E61-93C8-76FCE34099BD}" type="presOf" srcId="{A5C4CEC8-62F2-4756-A4EB-87F55BC1B023}" destId="{197E540E-B8FC-4F48-A948-E503244E2D35}" srcOrd="0" destOrd="0" presId="urn:microsoft.com/office/officeart/2005/8/layout/process4"/>
    <dgm:cxn modelId="{1DA71470-28B3-473B-8B64-8500AD12A9C6}" type="presOf" srcId="{74AE4483-16E9-4025-99B3-9C7629BEF5BB}" destId="{ACCCAA64-C0CA-4FAB-A22C-4F79350E6DC7}" srcOrd="0" destOrd="0" presId="urn:microsoft.com/office/officeart/2005/8/layout/process4"/>
    <dgm:cxn modelId="{C6A57187-2A14-4089-9C3D-2116E906EC93}" type="presOf" srcId="{7515F71E-CE14-4EE7-BD98-19C0C1F7EA5E}" destId="{061B6990-CBBE-4481-BC13-A41F69343461}" srcOrd="0" destOrd="0" presId="urn:microsoft.com/office/officeart/2005/8/layout/process4"/>
    <dgm:cxn modelId="{21595D9E-D06D-44EA-A9F0-E6D6D25B2B8F}" type="presOf" srcId="{2CB88F10-A80F-4431-895B-A4CCE24A87BA}" destId="{5D8B8104-6F06-46B7-B934-BE0CA2848C12}" srcOrd="0" destOrd="0" presId="urn:microsoft.com/office/officeart/2005/8/layout/process4"/>
    <dgm:cxn modelId="{A70AF4AD-3705-40C8-A636-9D6B7FFA70A2}" srcId="{234C0B22-EB82-474C-A6A6-8AA0EECB2CA0}" destId="{2CB88F10-A80F-4431-895B-A4CCE24A87BA}" srcOrd="0" destOrd="0" parTransId="{BA706FBC-F71E-4802-95F9-EB20B87C5714}" sibTransId="{D11F2D9C-6D3B-45AD-AB46-D935E88248C4}"/>
    <dgm:cxn modelId="{042123B6-FCF7-4A63-ADFC-9679DD696226}" srcId="{7515F71E-CE14-4EE7-BD98-19C0C1F7EA5E}" destId="{234C0B22-EB82-474C-A6A6-8AA0EECB2CA0}" srcOrd="0" destOrd="0" parTransId="{6D78BD82-565A-4378-BBD9-4B8A0F2461E2}" sibTransId="{D5B05DDB-71AF-452C-8ECA-728809DF7425}"/>
    <dgm:cxn modelId="{B8EB64B9-ECE2-416D-9F58-9E7264E110D5}" srcId="{234C0B22-EB82-474C-A6A6-8AA0EECB2CA0}" destId="{74AE4483-16E9-4025-99B3-9C7629BEF5BB}" srcOrd="2" destOrd="0" parTransId="{8EEE657D-9D78-4F78-8BBA-F8A72B0D367B}" sibTransId="{212B8618-7099-479C-AAD1-A5205012574A}"/>
    <dgm:cxn modelId="{6781AF4E-6712-46B2-B13B-4A1F86910CF0}" type="presParOf" srcId="{061B6990-CBBE-4481-BC13-A41F69343461}" destId="{DAF051CD-1F33-486F-85FF-43A619B2C151}" srcOrd="0" destOrd="0" presId="urn:microsoft.com/office/officeart/2005/8/layout/process4"/>
    <dgm:cxn modelId="{CB712F57-D41B-4D0B-9BF5-B6F92387CC0A}" type="presParOf" srcId="{DAF051CD-1F33-486F-85FF-43A619B2C151}" destId="{34B87D75-230C-4682-BCF8-6FBF93B1D7C8}" srcOrd="0" destOrd="0" presId="urn:microsoft.com/office/officeart/2005/8/layout/process4"/>
    <dgm:cxn modelId="{5C0E4ACB-8AE5-453E-91D7-8DDF9BBB474F}" type="presParOf" srcId="{DAF051CD-1F33-486F-85FF-43A619B2C151}" destId="{89126D4B-E16C-46DB-8ECA-19977610692E}" srcOrd="1" destOrd="0" presId="urn:microsoft.com/office/officeart/2005/8/layout/process4"/>
    <dgm:cxn modelId="{090EB89C-EA10-4B64-999A-1690960805F3}" type="presParOf" srcId="{DAF051CD-1F33-486F-85FF-43A619B2C151}" destId="{19428338-AA45-4A8D-B19E-B543B62DE821}" srcOrd="2" destOrd="0" presId="urn:microsoft.com/office/officeart/2005/8/layout/process4"/>
    <dgm:cxn modelId="{EC5FA734-64A2-4B7B-B4AC-C918930E96F9}" type="presParOf" srcId="{19428338-AA45-4A8D-B19E-B543B62DE821}" destId="{5D8B8104-6F06-46B7-B934-BE0CA2848C12}" srcOrd="0" destOrd="0" presId="urn:microsoft.com/office/officeart/2005/8/layout/process4"/>
    <dgm:cxn modelId="{2CBD2871-EF19-4101-A0B7-1E66BEE34263}" type="presParOf" srcId="{19428338-AA45-4A8D-B19E-B543B62DE821}" destId="{197E540E-B8FC-4F48-A948-E503244E2D35}" srcOrd="1" destOrd="0" presId="urn:microsoft.com/office/officeart/2005/8/layout/process4"/>
    <dgm:cxn modelId="{533CAE3F-0294-4F24-AC91-8F6D96A29C78}" type="presParOf" srcId="{19428338-AA45-4A8D-B19E-B543B62DE821}" destId="{ACCCAA64-C0CA-4FAB-A22C-4F79350E6DC7}" srcOrd="2" destOrd="0" presId="urn:microsoft.com/office/officeart/2005/8/layout/process4"/>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9D3029DA-7F07-4617-82F6-CDD10E522EC2}" type="doc">
      <dgm:prSet loTypeId="urn:microsoft.com/office/officeart/2008/layout/LinedList" loCatId="list" qsTypeId="urn:microsoft.com/office/officeart/2005/8/quickstyle/simple1" qsCatId="simple" csTypeId="urn:microsoft.com/office/officeart/2005/8/colors/accent3_1" csCatId="accent3" phldr="1"/>
      <dgm:spPr/>
      <dgm:t>
        <a:bodyPr/>
        <a:lstStyle/>
        <a:p>
          <a:endParaRPr lang="en-US"/>
        </a:p>
      </dgm:t>
    </dgm:pt>
    <dgm:pt modelId="{55C9374B-72D8-4B13-939F-292F6684B360}">
      <dgm:prSet custT="1"/>
      <dgm:spPr/>
      <dgm:t>
        <a:bodyPr/>
        <a:lstStyle/>
        <a:p>
          <a:r>
            <a:rPr lang="en-US" sz="2400" baseline="0"/>
            <a:t>Events are a way for an object to </a:t>
          </a:r>
          <a:r>
            <a:rPr lang="en-US" sz="2400" b="1" baseline="0"/>
            <a:t>broadcast</a:t>
          </a:r>
          <a:r>
            <a:rPr lang="en-US" sz="2400" baseline="0"/>
            <a:t> that </a:t>
          </a:r>
          <a:r>
            <a:rPr lang="en-US" sz="2400" b="1" baseline="0"/>
            <a:t>something</a:t>
          </a:r>
          <a:r>
            <a:rPr lang="en-US" sz="2400" baseline="0"/>
            <a:t> has happened</a:t>
          </a:r>
          <a:endParaRPr lang="en-US" sz="2400"/>
        </a:p>
      </dgm:t>
    </dgm:pt>
    <dgm:pt modelId="{E9931136-346C-48CE-8774-FEBE4C7729DA}" type="parTrans" cxnId="{6C8F691C-6B8E-4444-9C68-37EF41DF20AE}">
      <dgm:prSet/>
      <dgm:spPr/>
      <dgm:t>
        <a:bodyPr/>
        <a:lstStyle/>
        <a:p>
          <a:endParaRPr lang="en-US" sz="2400"/>
        </a:p>
      </dgm:t>
    </dgm:pt>
    <dgm:pt modelId="{1F2B3B2F-A2EC-440E-978D-3A3F9E626752}" type="sibTrans" cxnId="{6C8F691C-6B8E-4444-9C68-37EF41DF20AE}">
      <dgm:prSet/>
      <dgm:spPr/>
      <dgm:t>
        <a:bodyPr/>
        <a:lstStyle/>
        <a:p>
          <a:endParaRPr lang="en-US" sz="2400"/>
        </a:p>
      </dgm:t>
    </dgm:pt>
    <dgm:pt modelId="{DB81268E-7BA1-405F-8ECA-304C2464DCDC}">
      <dgm:prSet custT="1"/>
      <dgm:spPr/>
      <dgm:t>
        <a:bodyPr/>
        <a:lstStyle/>
        <a:p>
          <a:r>
            <a:rPr lang="en-US" sz="2400" baseline="0"/>
            <a:t>PowerShell </a:t>
          </a:r>
          <a:r>
            <a:rPr lang="en-US" sz="2400" b="1" baseline="0"/>
            <a:t>code</a:t>
          </a:r>
          <a:r>
            <a:rPr lang="en-US" sz="2400" baseline="0"/>
            <a:t> can be </a:t>
          </a:r>
          <a:r>
            <a:rPr lang="en-US" sz="2400" b="1" baseline="0"/>
            <a:t>triggered</a:t>
          </a:r>
          <a:r>
            <a:rPr lang="en-US" sz="2400" baseline="0"/>
            <a:t> from these events </a:t>
          </a:r>
          <a:endParaRPr lang="en-US" sz="2400"/>
        </a:p>
      </dgm:t>
    </dgm:pt>
    <dgm:pt modelId="{1E4C8107-5B57-46EF-84B8-1364BA1F13BC}" type="parTrans" cxnId="{E92D157C-35FF-4F92-8575-577B0A0B641B}">
      <dgm:prSet/>
      <dgm:spPr/>
      <dgm:t>
        <a:bodyPr/>
        <a:lstStyle/>
        <a:p>
          <a:endParaRPr lang="en-US" sz="2400"/>
        </a:p>
      </dgm:t>
    </dgm:pt>
    <dgm:pt modelId="{64C42496-E2BE-4E61-B865-DD1AD2ABC16B}" type="sibTrans" cxnId="{E92D157C-35FF-4F92-8575-577B0A0B641B}">
      <dgm:prSet/>
      <dgm:spPr/>
      <dgm:t>
        <a:bodyPr/>
        <a:lstStyle/>
        <a:p>
          <a:endParaRPr lang="en-US" sz="2400"/>
        </a:p>
      </dgm:t>
    </dgm:pt>
    <dgm:pt modelId="{2380344B-22AA-4DB5-BC3B-550F979B7A33}">
      <dgm:prSet custT="1"/>
      <dgm:spPr/>
      <dgm:t>
        <a:bodyPr/>
        <a:lstStyle/>
        <a:p>
          <a:r>
            <a:rPr lang="en-US" sz="2400" baseline="0"/>
            <a:t>Code is stored in </a:t>
          </a:r>
          <a:r>
            <a:rPr lang="en-US" sz="2400" b="1" baseline="0"/>
            <a:t>script blocks </a:t>
          </a:r>
          <a:r>
            <a:rPr lang="en-US" sz="2400" baseline="0"/>
            <a:t>and added via </a:t>
          </a:r>
          <a:r>
            <a:rPr lang="en-US" sz="2400" b="1" baseline="0"/>
            <a:t>methods</a:t>
          </a:r>
          <a:endParaRPr lang="en-US" sz="2400"/>
        </a:p>
      </dgm:t>
    </dgm:pt>
    <dgm:pt modelId="{E7A998E7-E386-47FF-88EF-84E582CF1033}" type="parTrans" cxnId="{B2449680-E99A-4D1F-AFDB-14F16A57DF1D}">
      <dgm:prSet/>
      <dgm:spPr/>
      <dgm:t>
        <a:bodyPr/>
        <a:lstStyle/>
        <a:p>
          <a:endParaRPr lang="en-US" sz="2400"/>
        </a:p>
      </dgm:t>
    </dgm:pt>
    <dgm:pt modelId="{3ADDB370-93B0-4E2C-B909-77A9FF2DDDFD}" type="sibTrans" cxnId="{B2449680-E99A-4D1F-AFDB-14F16A57DF1D}">
      <dgm:prSet/>
      <dgm:spPr/>
      <dgm:t>
        <a:bodyPr/>
        <a:lstStyle/>
        <a:p>
          <a:endParaRPr lang="en-US" sz="2400"/>
        </a:p>
      </dgm:t>
    </dgm:pt>
    <dgm:pt modelId="{2F5D5A2B-607C-4FA6-A6BA-336D007B5963}">
      <dgm:prSet custT="1"/>
      <dgm:spPr/>
      <dgm:t>
        <a:bodyPr/>
        <a:lstStyle/>
        <a:p>
          <a:r>
            <a:rPr lang="en-US" sz="2400" baseline="0"/>
            <a:t>Method </a:t>
          </a:r>
          <a:r>
            <a:rPr lang="en-US" sz="2400" b="1" baseline="0"/>
            <a:t>syntax</a:t>
          </a:r>
          <a:r>
            <a:rPr lang="en-US" sz="2400" baseline="0"/>
            <a:t> is </a:t>
          </a:r>
          <a:r>
            <a:rPr lang="en-US" sz="2400" b="1" baseline="0"/>
            <a:t>add_</a:t>
          </a:r>
          <a:r>
            <a:rPr lang="en-US" sz="2400" b="1" i="1" baseline="0"/>
            <a:t>EVENTNAME</a:t>
          </a:r>
          <a:r>
            <a:rPr lang="en-US" sz="2400" baseline="0"/>
            <a:t>(&lt;scriptblock&gt;)</a:t>
          </a:r>
          <a:endParaRPr lang="en-US" sz="2400"/>
        </a:p>
      </dgm:t>
    </dgm:pt>
    <dgm:pt modelId="{7EA2B39E-7D8A-41D3-975E-532D54C3DA80}" type="parTrans" cxnId="{8BABBE95-00B4-46B8-80CA-6245CFC197E6}">
      <dgm:prSet/>
      <dgm:spPr/>
      <dgm:t>
        <a:bodyPr/>
        <a:lstStyle/>
        <a:p>
          <a:endParaRPr lang="en-US" sz="2400"/>
        </a:p>
      </dgm:t>
    </dgm:pt>
    <dgm:pt modelId="{163BE459-95CC-4898-A8B4-4FC1843FCA48}" type="sibTrans" cxnId="{8BABBE95-00B4-46B8-80CA-6245CFC197E6}">
      <dgm:prSet/>
      <dgm:spPr/>
      <dgm:t>
        <a:bodyPr/>
        <a:lstStyle/>
        <a:p>
          <a:endParaRPr lang="en-US" sz="2400"/>
        </a:p>
      </dgm:t>
    </dgm:pt>
    <dgm:pt modelId="{03A525EA-D0D3-49F0-898D-20452F5632E8}" type="pres">
      <dgm:prSet presAssocID="{9D3029DA-7F07-4617-82F6-CDD10E522EC2}" presName="vert0" presStyleCnt="0">
        <dgm:presLayoutVars>
          <dgm:dir/>
          <dgm:animOne val="branch"/>
          <dgm:animLvl val="lvl"/>
        </dgm:presLayoutVars>
      </dgm:prSet>
      <dgm:spPr/>
    </dgm:pt>
    <dgm:pt modelId="{B12CAF66-7481-4E72-8A29-AEF07796441A}" type="pres">
      <dgm:prSet presAssocID="{55C9374B-72D8-4B13-939F-292F6684B360}" presName="thickLine" presStyleLbl="alignNode1" presStyleIdx="0" presStyleCnt="4"/>
      <dgm:spPr/>
    </dgm:pt>
    <dgm:pt modelId="{E1A4C02E-C6E6-4A16-8810-3878D379FEB5}" type="pres">
      <dgm:prSet presAssocID="{55C9374B-72D8-4B13-939F-292F6684B360}" presName="horz1" presStyleCnt="0"/>
      <dgm:spPr/>
    </dgm:pt>
    <dgm:pt modelId="{56474FC9-2945-4BFE-8970-AD98B1DBCAB7}" type="pres">
      <dgm:prSet presAssocID="{55C9374B-72D8-4B13-939F-292F6684B360}" presName="tx1" presStyleLbl="revTx" presStyleIdx="0" presStyleCnt="4"/>
      <dgm:spPr/>
    </dgm:pt>
    <dgm:pt modelId="{79108B2E-06D5-4468-BCC2-1811DEA94106}" type="pres">
      <dgm:prSet presAssocID="{55C9374B-72D8-4B13-939F-292F6684B360}" presName="vert1" presStyleCnt="0"/>
      <dgm:spPr/>
    </dgm:pt>
    <dgm:pt modelId="{483FC6AD-69AD-44E2-B125-358BCA43247C}" type="pres">
      <dgm:prSet presAssocID="{DB81268E-7BA1-405F-8ECA-304C2464DCDC}" presName="thickLine" presStyleLbl="alignNode1" presStyleIdx="1" presStyleCnt="4"/>
      <dgm:spPr/>
    </dgm:pt>
    <dgm:pt modelId="{1A012AAE-12D5-4BDA-951A-711F8E38AB32}" type="pres">
      <dgm:prSet presAssocID="{DB81268E-7BA1-405F-8ECA-304C2464DCDC}" presName="horz1" presStyleCnt="0"/>
      <dgm:spPr/>
    </dgm:pt>
    <dgm:pt modelId="{BD4B5E9D-38A0-40C2-A10F-2D9105683AD5}" type="pres">
      <dgm:prSet presAssocID="{DB81268E-7BA1-405F-8ECA-304C2464DCDC}" presName="tx1" presStyleLbl="revTx" presStyleIdx="1" presStyleCnt="4"/>
      <dgm:spPr/>
    </dgm:pt>
    <dgm:pt modelId="{4C5991F9-B92C-43F2-A264-10BDD1871B0A}" type="pres">
      <dgm:prSet presAssocID="{DB81268E-7BA1-405F-8ECA-304C2464DCDC}" presName="vert1" presStyleCnt="0"/>
      <dgm:spPr/>
    </dgm:pt>
    <dgm:pt modelId="{4F0E979F-8634-4083-B3C6-48117D22F063}" type="pres">
      <dgm:prSet presAssocID="{2380344B-22AA-4DB5-BC3B-550F979B7A33}" presName="thickLine" presStyleLbl="alignNode1" presStyleIdx="2" presStyleCnt="4"/>
      <dgm:spPr/>
    </dgm:pt>
    <dgm:pt modelId="{9D86196E-1797-40BC-AC38-F82C52427EEC}" type="pres">
      <dgm:prSet presAssocID="{2380344B-22AA-4DB5-BC3B-550F979B7A33}" presName="horz1" presStyleCnt="0"/>
      <dgm:spPr/>
    </dgm:pt>
    <dgm:pt modelId="{041A8B7D-358B-49F6-AC44-183CB5A8C1FC}" type="pres">
      <dgm:prSet presAssocID="{2380344B-22AA-4DB5-BC3B-550F979B7A33}" presName="tx1" presStyleLbl="revTx" presStyleIdx="2" presStyleCnt="4"/>
      <dgm:spPr/>
    </dgm:pt>
    <dgm:pt modelId="{37CB98EC-C354-434E-A0EB-45D79AB11F4E}" type="pres">
      <dgm:prSet presAssocID="{2380344B-22AA-4DB5-BC3B-550F979B7A33}" presName="vert1" presStyleCnt="0"/>
      <dgm:spPr/>
    </dgm:pt>
    <dgm:pt modelId="{12479E5A-8707-48F7-8053-F5165FEE7AB8}" type="pres">
      <dgm:prSet presAssocID="{2F5D5A2B-607C-4FA6-A6BA-336D007B5963}" presName="thickLine" presStyleLbl="alignNode1" presStyleIdx="3" presStyleCnt="4"/>
      <dgm:spPr/>
    </dgm:pt>
    <dgm:pt modelId="{6259120E-FFF7-464D-A3FD-820C6322EA74}" type="pres">
      <dgm:prSet presAssocID="{2F5D5A2B-607C-4FA6-A6BA-336D007B5963}" presName="horz1" presStyleCnt="0"/>
      <dgm:spPr/>
    </dgm:pt>
    <dgm:pt modelId="{96B6A64A-F356-4883-9B4B-0F7701813563}" type="pres">
      <dgm:prSet presAssocID="{2F5D5A2B-607C-4FA6-A6BA-336D007B5963}" presName="tx1" presStyleLbl="revTx" presStyleIdx="3" presStyleCnt="4"/>
      <dgm:spPr/>
    </dgm:pt>
    <dgm:pt modelId="{A7ABA76F-F7D0-4347-8F3C-4846B06AEB05}" type="pres">
      <dgm:prSet presAssocID="{2F5D5A2B-607C-4FA6-A6BA-336D007B5963}" presName="vert1" presStyleCnt="0"/>
      <dgm:spPr/>
    </dgm:pt>
  </dgm:ptLst>
  <dgm:cxnLst>
    <dgm:cxn modelId="{6C8F691C-6B8E-4444-9C68-37EF41DF20AE}" srcId="{9D3029DA-7F07-4617-82F6-CDD10E522EC2}" destId="{55C9374B-72D8-4B13-939F-292F6684B360}" srcOrd="0" destOrd="0" parTransId="{E9931136-346C-48CE-8774-FEBE4C7729DA}" sibTransId="{1F2B3B2F-A2EC-440E-978D-3A3F9E626752}"/>
    <dgm:cxn modelId="{3185D035-B260-4193-86AA-1991006EBCF6}" type="presOf" srcId="{9D3029DA-7F07-4617-82F6-CDD10E522EC2}" destId="{03A525EA-D0D3-49F0-898D-20452F5632E8}" srcOrd="0" destOrd="0" presId="urn:microsoft.com/office/officeart/2008/layout/LinedList"/>
    <dgm:cxn modelId="{DDD7FC5C-FD1F-42CF-87D9-CD6B5CB47C44}" type="presOf" srcId="{2F5D5A2B-607C-4FA6-A6BA-336D007B5963}" destId="{96B6A64A-F356-4883-9B4B-0F7701813563}" srcOrd="0" destOrd="0" presId="urn:microsoft.com/office/officeart/2008/layout/LinedList"/>
    <dgm:cxn modelId="{E92D157C-35FF-4F92-8575-577B0A0B641B}" srcId="{9D3029DA-7F07-4617-82F6-CDD10E522EC2}" destId="{DB81268E-7BA1-405F-8ECA-304C2464DCDC}" srcOrd="1" destOrd="0" parTransId="{1E4C8107-5B57-46EF-84B8-1364BA1F13BC}" sibTransId="{64C42496-E2BE-4E61-B865-DD1AD2ABC16B}"/>
    <dgm:cxn modelId="{B2449680-E99A-4D1F-AFDB-14F16A57DF1D}" srcId="{9D3029DA-7F07-4617-82F6-CDD10E522EC2}" destId="{2380344B-22AA-4DB5-BC3B-550F979B7A33}" srcOrd="2" destOrd="0" parTransId="{E7A998E7-E386-47FF-88EF-84E582CF1033}" sibTransId="{3ADDB370-93B0-4E2C-B909-77A9FF2DDDFD}"/>
    <dgm:cxn modelId="{5FA64E88-6BCA-4696-986C-0336A31369B9}" type="presOf" srcId="{DB81268E-7BA1-405F-8ECA-304C2464DCDC}" destId="{BD4B5E9D-38A0-40C2-A10F-2D9105683AD5}" srcOrd="0" destOrd="0" presId="urn:microsoft.com/office/officeart/2008/layout/LinedList"/>
    <dgm:cxn modelId="{8BABBE95-00B4-46B8-80CA-6245CFC197E6}" srcId="{9D3029DA-7F07-4617-82F6-CDD10E522EC2}" destId="{2F5D5A2B-607C-4FA6-A6BA-336D007B5963}" srcOrd="3" destOrd="0" parTransId="{7EA2B39E-7D8A-41D3-975E-532D54C3DA80}" sibTransId="{163BE459-95CC-4898-A8B4-4FC1843FCA48}"/>
    <dgm:cxn modelId="{5BB631D0-A4D3-4E74-8A7A-C5551B238067}" type="presOf" srcId="{2380344B-22AA-4DB5-BC3B-550F979B7A33}" destId="{041A8B7D-358B-49F6-AC44-183CB5A8C1FC}" srcOrd="0" destOrd="0" presId="urn:microsoft.com/office/officeart/2008/layout/LinedList"/>
    <dgm:cxn modelId="{01DB87EA-6F32-45DE-9695-BB28A50525AE}" type="presOf" srcId="{55C9374B-72D8-4B13-939F-292F6684B360}" destId="{56474FC9-2945-4BFE-8970-AD98B1DBCAB7}" srcOrd="0" destOrd="0" presId="urn:microsoft.com/office/officeart/2008/layout/LinedList"/>
    <dgm:cxn modelId="{F6222975-3B9C-4D87-B165-6FB8EDB4AC1A}" type="presParOf" srcId="{03A525EA-D0D3-49F0-898D-20452F5632E8}" destId="{B12CAF66-7481-4E72-8A29-AEF07796441A}" srcOrd="0" destOrd="0" presId="urn:microsoft.com/office/officeart/2008/layout/LinedList"/>
    <dgm:cxn modelId="{9492EAFC-55E6-4341-85A1-698B266D68C1}" type="presParOf" srcId="{03A525EA-D0D3-49F0-898D-20452F5632E8}" destId="{E1A4C02E-C6E6-4A16-8810-3878D379FEB5}" srcOrd="1" destOrd="0" presId="urn:microsoft.com/office/officeart/2008/layout/LinedList"/>
    <dgm:cxn modelId="{AD537A27-DC23-44D5-9196-9C3B24205D4D}" type="presParOf" srcId="{E1A4C02E-C6E6-4A16-8810-3878D379FEB5}" destId="{56474FC9-2945-4BFE-8970-AD98B1DBCAB7}" srcOrd="0" destOrd="0" presId="urn:microsoft.com/office/officeart/2008/layout/LinedList"/>
    <dgm:cxn modelId="{FFAFBD2E-AEC1-4805-BED8-EC12B5E36066}" type="presParOf" srcId="{E1A4C02E-C6E6-4A16-8810-3878D379FEB5}" destId="{79108B2E-06D5-4468-BCC2-1811DEA94106}" srcOrd="1" destOrd="0" presId="urn:microsoft.com/office/officeart/2008/layout/LinedList"/>
    <dgm:cxn modelId="{FEF1824D-F0F1-4626-BFE3-CB512A34D06E}" type="presParOf" srcId="{03A525EA-D0D3-49F0-898D-20452F5632E8}" destId="{483FC6AD-69AD-44E2-B125-358BCA43247C}" srcOrd="2" destOrd="0" presId="urn:microsoft.com/office/officeart/2008/layout/LinedList"/>
    <dgm:cxn modelId="{CC27FE18-1A98-40FB-8FEA-A4C931280345}" type="presParOf" srcId="{03A525EA-D0D3-49F0-898D-20452F5632E8}" destId="{1A012AAE-12D5-4BDA-951A-711F8E38AB32}" srcOrd="3" destOrd="0" presId="urn:microsoft.com/office/officeart/2008/layout/LinedList"/>
    <dgm:cxn modelId="{46D14831-FDD1-4AB6-B13F-0AD9EBCBC944}" type="presParOf" srcId="{1A012AAE-12D5-4BDA-951A-711F8E38AB32}" destId="{BD4B5E9D-38A0-40C2-A10F-2D9105683AD5}" srcOrd="0" destOrd="0" presId="urn:microsoft.com/office/officeart/2008/layout/LinedList"/>
    <dgm:cxn modelId="{071C36FC-A681-420C-9ADD-757C9A2ECE7F}" type="presParOf" srcId="{1A012AAE-12D5-4BDA-951A-711F8E38AB32}" destId="{4C5991F9-B92C-43F2-A264-10BDD1871B0A}" srcOrd="1" destOrd="0" presId="urn:microsoft.com/office/officeart/2008/layout/LinedList"/>
    <dgm:cxn modelId="{44E273D4-6B9E-4592-998D-E580C06534B6}" type="presParOf" srcId="{03A525EA-D0D3-49F0-898D-20452F5632E8}" destId="{4F0E979F-8634-4083-B3C6-48117D22F063}" srcOrd="4" destOrd="0" presId="urn:microsoft.com/office/officeart/2008/layout/LinedList"/>
    <dgm:cxn modelId="{691B768E-EC96-4A22-AED4-3EC136440620}" type="presParOf" srcId="{03A525EA-D0D3-49F0-898D-20452F5632E8}" destId="{9D86196E-1797-40BC-AC38-F82C52427EEC}" srcOrd="5" destOrd="0" presId="urn:microsoft.com/office/officeart/2008/layout/LinedList"/>
    <dgm:cxn modelId="{C0BABFA6-D108-42E7-A186-E8D4FDE37FB5}" type="presParOf" srcId="{9D86196E-1797-40BC-AC38-F82C52427EEC}" destId="{041A8B7D-358B-49F6-AC44-183CB5A8C1FC}" srcOrd="0" destOrd="0" presId="urn:microsoft.com/office/officeart/2008/layout/LinedList"/>
    <dgm:cxn modelId="{C781B6E6-EB07-45D7-AA96-AACF661BA44B}" type="presParOf" srcId="{9D86196E-1797-40BC-AC38-F82C52427EEC}" destId="{37CB98EC-C354-434E-A0EB-45D79AB11F4E}" srcOrd="1" destOrd="0" presId="urn:microsoft.com/office/officeart/2008/layout/LinedList"/>
    <dgm:cxn modelId="{E89B23CC-3F31-441B-97D3-B3FACB14AD88}" type="presParOf" srcId="{03A525EA-D0D3-49F0-898D-20452F5632E8}" destId="{12479E5A-8707-48F7-8053-F5165FEE7AB8}" srcOrd="6" destOrd="0" presId="urn:microsoft.com/office/officeart/2008/layout/LinedList"/>
    <dgm:cxn modelId="{5843EE09-4CB5-40F2-8207-43BB3634BD8A}" type="presParOf" srcId="{03A525EA-D0D3-49F0-898D-20452F5632E8}" destId="{6259120E-FFF7-464D-A3FD-820C6322EA74}" srcOrd="7" destOrd="0" presId="urn:microsoft.com/office/officeart/2008/layout/LinedList"/>
    <dgm:cxn modelId="{F1CE2B08-BEED-45BC-B8FC-0409A4EC505F}" type="presParOf" srcId="{6259120E-FFF7-464D-A3FD-820C6322EA74}" destId="{96B6A64A-F356-4883-9B4B-0F7701813563}" srcOrd="0" destOrd="0" presId="urn:microsoft.com/office/officeart/2008/layout/LinedList"/>
    <dgm:cxn modelId="{55B927FC-43C1-472A-80E5-ED11222F1868}" type="presParOf" srcId="{6259120E-FFF7-464D-A3FD-820C6322EA74}" destId="{A7ABA76F-F7D0-4347-8F3C-4846B06AEB05}" srcOrd="1" destOrd="0" presId="urn:microsoft.com/office/officeart/2008/layout/LinedList"/>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A56DAA7D-82E2-4F30-854B-A7D446536109}"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3C324280-AD98-4AE4-8BE5-A9619D55387E}">
      <dgm:prSet custT="1"/>
      <dgm:spPr/>
      <dgm:t>
        <a:bodyPr/>
        <a:lstStyle/>
        <a:p>
          <a:r>
            <a:rPr lang="en-US" sz="2400" baseline="0"/>
            <a:t>Events can be </a:t>
          </a:r>
          <a:r>
            <a:rPr lang="en-US" sz="2400" b="0" baseline="0"/>
            <a:t>found</a:t>
          </a:r>
          <a:r>
            <a:rPr lang="en-US" sz="2400" baseline="0"/>
            <a:t> in </a:t>
          </a:r>
          <a:r>
            <a:rPr lang="en-US" sz="2400" b="0" baseline="0"/>
            <a:t>multiple</a:t>
          </a:r>
          <a:r>
            <a:rPr lang="en-US" sz="2400" baseline="0"/>
            <a:t> </a:t>
          </a:r>
          <a:r>
            <a:rPr lang="en-US" sz="2400" b="0" baseline="0"/>
            <a:t>locations</a:t>
          </a:r>
          <a:r>
            <a:rPr lang="en-US" sz="2400" baseline="0"/>
            <a:t>: </a:t>
          </a:r>
          <a:br>
            <a:rPr lang="en-US" sz="2400" baseline="0"/>
          </a:br>
          <a:r>
            <a:rPr lang="en-US" sz="2400" baseline="0"/>
            <a:t>Get-Member, Docs pages, or Visual Studio pane</a:t>
          </a:r>
          <a:endParaRPr lang="en-US" sz="2400"/>
        </a:p>
      </dgm:t>
    </dgm:pt>
    <dgm:pt modelId="{597286A4-62DB-4CEE-8757-80603C1F57C2}" type="parTrans" cxnId="{8C8B393B-37B5-476E-80BF-3A9440001828}">
      <dgm:prSet/>
      <dgm:spPr/>
      <dgm:t>
        <a:bodyPr/>
        <a:lstStyle/>
        <a:p>
          <a:endParaRPr lang="en-US" sz="2400"/>
        </a:p>
      </dgm:t>
    </dgm:pt>
    <dgm:pt modelId="{39120C87-EF2D-4ECE-841C-68783C13897D}" type="sibTrans" cxnId="{8C8B393B-37B5-476E-80BF-3A9440001828}">
      <dgm:prSet/>
      <dgm:spPr/>
      <dgm:t>
        <a:bodyPr/>
        <a:lstStyle/>
        <a:p>
          <a:endParaRPr lang="en-US" sz="2400"/>
        </a:p>
      </dgm:t>
    </dgm:pt>
    <dgm:pt modelId="{70BF2235-E05A-4A1B-AB52-4625BD4FC126}" type="pres">
      <dgm:prSet presAssocID="{A56DAA7D-82E2-4F30-854B-A7D446536109}" presName="vert0" presStyleCnt="0">
        <dgm:presLayoutVars>
          <dgm:dir/>
          <dgm:animOne val="branch"/>
          <dgm:animLvl val="lvl"/>
        </dgm:presLayoutVars>
      </dgm:prSet>
      <dgm:spPr/>
    </dgm:pt>
    <dgm:pt modelId="{BF714FA6-F88F-4579-85D8-F6172F5A9637}" type="pres">
      <dgm:prSet presAssocID="{3C324280-AD98-4AE4-8BE5-A9619D55387E}" presName="thickLine" presStyleLbl="alignNode1" presStyleIdx="0" presStyleCnt="1"/>
      <dgm:spPr/>
    </dgm:pt>
    <dgm:pt modelId="{4A3B2104-37EB-49E4-810D-89374A6FD080}" type="pres">
      <dgm:prSet presAssocID="{3C324280-AD98-4AE4-8BE5-A9619D55387E}" presName="horz1" presStyleCnt="0"/>
      <dgm:spPr/>
    </dgm:pt>
    <dgm:pt modelId="{D43C939D-4BE8-4F71-8DCF-EB7E692BC7D7}" type="pres">
      <dgm:prSet presAssocID="{3C324280-AD98-4AE4-8BE5-A9619D55387E}" presName="tx1" presStyleLbl="revTx" presStyleIdx="0" presStyleCnt="1"/>
      <dgm:spPr/>
    </dgm:pt>
    <dgm:pt modelId="{5B43D660-7261-4D1A-8786-90B3CE7662F6}" type="pres">
      <dgm:prSet presAssocID="{3C324280-AD98-4AE4-8BE5-A9619D55387E}" presName="vert1" presStyleCnt="0"/>
      <dgm:spPr/>
    </dgm:pt>
  </dgm:ptLst>
  <dgm:cxnLst>
    <dgm:cxn modelId="{97DD7901-53BF-4C15-955C-71697E2CFC38}" type="presOf" srcId="{A56DAA7D-82E2-4F30-854B-A7D446536109}" destId="{70BF2235-E05A-4A1B-AB52-4625BD4FC126}" srcOrd="0" destOrd="0" presId="urn:microsoft.com/office/officeart/2008/layout/LinedList"/>
    <dgm:cxn modelId="{8C8B393B-37B5-476E-80BF-3A9440001828}" srcId="{A56DAA7D-82E2-4F30-854B-A7D446536109}" destId="{3C324280-AD98-4AE4-8BE5-A9619D55387E}" srcOrd="0" destOrd="0" parTransId="{597286A4-62DB-4CEE-8757-80603C1F57C2}" sibTransId="{39120C87-EF2D-4ECE-841C-68783C13897D}"/>
    <dgm:cxn modelId="{B1E52AAB-4F3B-4DB2-89CE-B451055E8D21}" type="presOf" srcId="{3C324280-AD98-4AE4-8BE5-A9619D55387E}" destId="{D43C939D-4BE8-4F71-8DCF-EB7E692BC7D7}" srcOrd="0" destOrd="0" presId="urn:microsoft.com/office/officeart/2008/layout/LinedList"/>
    <dgm:cxn modelId="{C1B3D31D-F384-49CE-8192-7F45C79978BB}" type="presParOf" srcId="{70BF2235-E05A-4A1B-AB52-4625BD4FC126}" destId="{BF714FA6-F88F-4579-85D8-F6172F5A9637}" srcOrd="0" destOrd="0" presId="urn:microsoft.com/office/officeart/2008/layout/LinedList"/>
    <dgm:cxn modelId="{66FB20BA-5862-4252-8617-5C656CD977B8}" type="presParOf" srcId="{70BF2235-E05A-4A1B-AB52-4625BD4FC126}" destId="{4A3B2104-37EB-49E4-810D-89374A6FD080}" srcOrd="1" destOrd="0" presId="urn:microsoft.com/office/officeart/2008/layout/LinedList"/>
    <dgm:cxn modelId="{6A18AFA9-D08C-4F87-AC3B-E4103D8761AD}" type="presParOf" srcId="{4A3B2104-37EB-49E4-810D-89374A6FD080}" destId="{D43C939D-4BE8-4F71-8DCF-EB7E692BC7D7}" srcOrd="0" destOrd="0" presId="urn:microsoft.com/office/officeart/2008/layout/LinedList"/>
    <dgm:cxn modelId="{D1BC1522-CED7-4898-A880-C3BE0C7F2473}" type="presParOf" srcId="{4A3B2104-37EB-49E4-810D-89374A6FD080}" destId="{5B43D660-7261-4D1A-8786-90B3CE7662F6}" srcOrd="1" destOrd="0" presId="urn:microsoft.com/office/officeart/2008/layout/Line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4098FD91-DBCF-4EC9-A047-5D38CED4729E}" type="doc">
      <dgm:prSet loTypeId="urn:microsoft.com/office/officeart/2005/8/layout/vList2" loCatId="list" qsTypeId="urn:microsoft.com/office/officeart/2005/8/quickstyle/simple2" qsCatId="simple" csTypeId="urn:microsoft.com/office/officeart/2005/8/colors/colorful1" csCatId="colorful" phldr="1"/>
      <dgm:spPr/>
      <dgm:t>
        <a:bodyPr/>
        <a:lstStyle/>
        <a:p>
          <a:endParaRPr lang="en-US"/>
        </a:p>
      </dgm:t>
    </dgm:pt>
    <dgm:pt modelId="{AC3E9C15-77B3-4A87-BE3A-85906A252E85}">
      <dgm:prSet custT="1"/>
      <dgm:spPr/>
      <dgm:t>
        <a:bodyPr/>
        <a:lstStyle/>
        <a:p>
          <a:pPr>
            <a:defRPr b="1"/>
          </a:pPr>
          <a:r>
            <a:rPr lang="en-US" sz="2400" b="0"/>
            <a:t>A method to </a:t>
          </a:r>
          <a:r>
            <a:rPr lang="en-US" sz="2400" b="1"/>
            <a:t>link</a:t>
          </a:r>
          <a:r>
            <a:rPr lang="en-US" sz="2400" b="0"/>
            <a:t> a property of a control to another value to keep them in </a:t>
          </a:r>
          <a:r>
            <a:rPr lang="en-US" sz="2400" b="1"/>
            <a:t>sync</a:t>
          </a:r>
        </a:p>
      </dgm:t>
    </dgm:pt>
    <dgm:pt modelId="{9AA29BE9-D639-4EB6-816B-7A2D945FB6C4}" type="parTrans" cxnId="{7DB6D0E8-8BB4-47E4-A765-35CAFF0F8AE4}">
      <dgm:prSet/>
      <dgm:spPr/>
      <dgm:t>
        <a:bodyPr/>
        <a:lstStyle/>
        <a:p>
          <a:endParaRPr lang="en-US" sz="2400"/>
        </a:p>
      </dgm:t>
    </dgm:pt>
    <dgm:pt modelId="{3CB797D5-AC8B-491B-86F5-820614015E2B}" type="sibTrans" cxnId="{7DB6D0E8-8BB4-47E4-A765-35CAFF0F8AE4}">
      <dgm:prSet/>
      <dgm:spPr/>
      <dgm:t>
        <a:bodyPr/>
        <a:lstStyle/>
        <a:p>
          <a:endParaRPr lang="en-US" sz="2400"/>
        </a:p>
      </dgm:t>
    </dgm:pt>
    <dgm:pt modelId="{CD323CFF-4F68-4E53-B766-106F81C113AF}">
      <dgm:prSet custT="1"/>
      <dgm:spPr>
        <a:solidFill>
          <a:schemeClr val="accent3">
            <a:lumMod val="75000"/>
          </a:schemeClr>
        </a:solidFill>
      </dgm:spPr>
      <dgm:t>
        <a:bodyPr/>
        <a:lstStyle/>
        <a:p>
          <a:r>
            <a:rPr lang="en-US" sz="2400" b="1"/>
            <a:t>Updating</a:t>
          </a:r>
          <a:r>
            <a:rPr lang="en-US" sz="2400"/>
            <a:t> source value causes other controls to get updated </a:t>
          </a:r>
          <a:r>
            <a:rPr lang="en-US" sz="2400" b="1"/>
            <a:t>automatically</a:t>
          </a:r>
        </a:p>
      </dgm:t>
    </dgm:pt>
    <dgm:pt modelId="{861F9E08-460A-4274-99DA-8EE23193C29C}" type="parTrans" cxnId="{74915EA2-E8F8-4F7E-8393-C6FEB5E8ACFF}">
      <dgm:prSet/>
      <dgm:spPr/>
      <dgm:t>
        <a:bodyPr/>
        <a:lstStyle/>
        <a:p>
          <a:endParaRPr lang="en-US" sz="2400"/>
        </a:p>
      </dgm:t>
    </dgm:pt>
    <dgm:pt modelId="{6200ACFA-FBBF-48FF-A1DE-81AED00F1836}" type="sibTrans" cxnId="{74915EA2-E8F8-4F7E-8393-C6FEB5E8ACFF}">
      <dgm:prSet/>
      <dgm:spPr/>
      <dgm:t>
        <a:bodyPr/>
        <a:lstStyle/>
        <a:p>
          <a:endParaRPr lang="en-US" sz="2400"/>
        </a:p>
      </dgm:t>
    </dgm:pt>
    <dgm:pt modelId="{903DB6DB-D25C-4045-A31B-DA8318062D21}">
      <dgm:prSet custT="1"/>
      <dgm:spPr>
        <a:solidFill>
          <a:srgbClr val="3B2E58"/>
        </a:solidFill>
      </dgm:spPr>
      <dgm:t>
        <a:bodyPr/>
        <a:lstStyle/>
        <a:p>
          <a:pPr>
            <a:defRPr b="1"/>
          </a:pPr>
          <a:r>
            <a:rPr lang="en-US" sz="2400" b="0"/>
            <a:t>Ways to </a:t>
          </a:r>
          <a:r>
            <a:rPr lang="en-US" sz="2400" b="1"/>
            <a:t>declare</a:t>
          </a:r>
          <a:r>
            <a:rPr lang="en-US" sz="2400" b="0"/>
            <a:t> data binding</a:t>
          </a:r>
        </a:p>
      </dgm:t>
    </dgm:pt>
    <dgm:pt modelId="{CC6A0FE0-1269-42DB-A610-42719C96A71C}" type="parTrans" cxnId="{A041D3DD-A7D8-448E-8C60-A55F20DD67C9}">
      <dgm:prSet/>
      <dgm:spPr/>
      <dgm:t>
        <a:bodyPr/>
        <a:lstStyle/>
        <a:p>
          <a:endParaRPr lang="en-US" sz="2400"/>
        </a:p>
      </dgm:t>
    </dgm:pt>
    <dgm:pt modelId="{967D56EC-0095-4F3C-9711-A519E8DD77A3}" type="sibTrans" cxnId="{A041D3DD-A7D8-448E-8C60-A55F20DD67C9}">
      <dgm:prSet/>
      <dgm:spPr/>
      <dgm:t>
        <a:bodyPr/>
        <a:lstStyle/>
        <a:p>
          <a:endParaRPr lang="en-US" sz="2400"/>
        </a:p>
      </dgm:t>
    </dgm:pt>
    <dgm:pt modelId="{778BE23F-AB3C-447B-B363-B930078F09A9}">
      <dgm:prSet custT="1"/>
      <dgm:spPr/>
      <dgm:t>
        <a:bodyPr/>
        <a:lstStyle/>
        <a:p>
          <a:r>
            <a:rPr lang="en-US" sz="2400"/>
            <a:t>Directly in </a:t>
          </a:r>
          <a:r>
            <a:rPr lang="en-US" sz="2400" b="1"/>
            <a:t>XAML</a:t>
          </a:r>
          <a:r>
            <a:rPr lang="en-US" sz="2400"/>
            <a:t> referencing another control as source</a:t>
          </a:r>
        </a:p>
      </dgm:t>
    </dgm:pt>
    <dgm:pt modelId="{EBA31F86-64C9-47F7-81CC-6B0D3E09AF3A}" type="parTrans" cxnId="{4271D13C-D9E1-4E26-BE0F-8D287ADAF7F5}">
      <dgm:prSet/>
      <dgm:spPr/>
      <dgm:t>
        <a:bodyPr/>
        <a:lstStyle/>
        <a:p>
          <a:endParaRPr lang="en-US" sz="2400"/>
        </a:p>
      </dgm:t>
    </dgm:pt>
    <dgm:pt modelId="{3755714C-C224-476C-B5EF-1913806476D0}" type="sibTrans" cxnId="{4271D13C-D9E1-4E26-BE0F-8D287ADAF7F5}">
      <dgm:prSet/>
      <dgm:spPr/>
      <dgm:t>
        <a:bodyPr/>
        <a:lstStyle/>
        <a:p>
          <a:endParaRPr lang="en-US" sz="2400"/>
        </a:p>
      </dgm:t>
    </dgm:pt>
    <dgm:pt modelId="{2444AB7B-B6AB-4495-B158-B402EDC08B76}">
      <dgm:prSet custT="1"/>
      <dgm:spPr/>
      <dgm:t>
        <a:bodyPr/>
        <a:lstStyle/>
        <a:p>
          <a:r>
            <a:rPr lang="en-US" sz="2400"/>
            <a:t>In </a:t>
          </a:r>
          <a:r>
            <a:rPr lang="en-US" sz="2400" b="1"/>
            <a:t>PowerShell code </a:t>
          </a:r>
          <a:r>
            <a:rPr lang="en-US" sz="2400"/>
            <a:t>referencing a PowerShell variable object</a:t>
          </a:r>
        </a:p>
      </dgm:t>
    </dgm:pt>
    <dgm:pt modelId="{09B26175-C571-42EF-9EDF-89ED44362AFA}" type="parTrans" cxnId="{9415BA10-B36B-4727-98EF-4BB23BBDCDBC}">
      <dgm:prSet/>
      <dgm:spPr/>
      <dgm:t>
        <a:bodyPr/>
        <a:lstStyle/>
        <a:p>
          <a:endParaRPr lang="en-US" sz="2400"/>
        </a:p>
      </dgm:t>
    </dgm:pt>
    <dgm:pt modelId="{99A57409-E337-4988-BD19-BC37B54F3450}" type="sibTrans" cxnId="{9415BA10-B36B-4727-98EF-4BB23BBDCDBC}">
      <dgm:prSet/>
      <dgm:spPr/>
      <dgm:t>
        <a:bodyPr/>
        <a:lstStyle/>
        <a:p>
          <a:endParaRPr lang="en-US" sz="2400"/>
        </a:p>
      </dgm:t>
    </dgm:pt>
    <dgm:pt modelId="{015EAE81-AE54-4D34-A280-CB070323AF00}">
      <dgm:prSet custT="1"/>
      <dgm:spPr>
        <a:solidFill>
          <a:schemeClr val="accent4">
            <a:lumMod val="75000"/>
          </a:schemeClr>
        </a:solidFill>
      </dgm:spPr>
      <dgm:t>
        <a:bodyPr/>
        <a:lstStyle/>
        <a:p>
          <a:r>
            <a:rPr lang="en-US" sz="2400"/>
            <a:t>Used to </a:t>
          </a:r>
          <a:r>
            <a:rPr lang="en-US" sz="2400" b="1"/>
            <a:t>improve</a:t>
          </a:r>
          <a:r>
            <a:rPr lang="en-US" sz="2400"/>
            <a:t> </a:t>
          </a:r>
          <a:r>
            <a:rPr lang="en-US" sz="2400" b="0"/>
            <a:t>visual</a:t>
          </a:r>
          <a:r>
            <a:rPr lang="en-US" sz="2400"/>
            <a:t> experience and sync </a:t>
          </a:r>
          <a:r>
            <a:rPr lang="en-US" sz="2400" b="1"/>
            <a:t>multiple</a:t>
          </a:r>
          <a:r>
            <a:rPr lang="en-US" sz="2400"/>
            <a:t> input methods </a:t>
          </a:r>
        </a:p>
      </dgm:t>
    </dgm:pt>
    <dgm:pt modelId="{157C12E4-8748-4D96-9E50-EBF89203BE21}" type="parTrans" cxnId="{7CEE6BB9-0DDB-466D-9115-ADD0C5CFB749}">
      <dgm:prSet/>
      <dgm:spPr/>
      <dgm:t>
        <a:bodyPr/>
        <a:lstStyle/>
        <a:p>
          <a:endParaRPr lang="en-US" sz="2400"/>
        </a:p>
      </dgm:t>
    </dgm:pt>
    <dgm:pt modelId="{DC31D0A4-EB27-4989-B876-E696FC5ED2B2}" type="sibTrans" cxnId="{7CEE6BB9-0DDB-466D-9115-ADD0C5CFB749}">
      <dgm:prSet/>
      <dgm:spPr/>
      <dgm:t>
        <a:bodyPr/>
        <a:lstStyle/>
        <a:p>
          <a:endParaRPr lang="en-US" sz="2400"/>
        </a:p>
      </dgm:t>
    </dgm:pt>
    <dgm:pt modelId="{995DA5ED-133C-471D-BFEB-6C67B57744C6}" type="pres">
      <dgm:prSet presAssocID="{4098FD91-DBCF-4EC9-A047-5D38CED4729E}" presName="linear" presStyleCnt="0">
        <dgm:presLayoutVars>
          <dgm:animLvl val="lvl"/>
          <dgm:resizeHandles val="exact"/>
        </dgm:presLayoutVars>
      </dgm:prSet>
      <dgm:spPr/>
    </dgm:pt>
    <dgm:pt modelId="{6F06E09D-1FEB-413A-9449-C98D8A21796D}" type="pres">
      <dgm:prSet presAssocID="{AC3E9C15-77B3-4A87-BE3A-85906A252E85}" presName="parentText" presStyleLbl="node1" presStyleIdx="0" presStyleCnt="4">
        <dgm:presLayoutVars>
          <dgm:chMax val="0"/>
          <dgm:bulletEnabled val="1"/>
        </dgm:presLayoutVars>
      </dgm:prSet>
      <dgm:spPr/>
    </dgm:pt>
    <dgm:pt modelId="{E61F2DA1-4829-4863-AA6F-BCB8E2878D37}" type="pres">
      <dgm:prSet presAssocID="{3CB797D5-AC8B-491B-86F5-820614015E2B}" presName="spacer" presStyleCnt="0"/>
      <dgm:spPr/>
    </dgm:pt>
    <dgm:pt modelId="{BFB7A520-2282-4A5C-8803-AC913DCAF558}" type="pres">
      <dgm:prSet presAssocID="{CD323CFF-4F68-4E53-B766-106F81C113AF}" presName="parentText" presStyleLbl="node1" presStyleIdx="1" presStyleCnt="4">
        <dgm:presLayoutVars>
          <dgm:chMax val="0"/>
          <dgm:bulletEnabled val="1"/>
        </dgm:presLayoutVars>
      </dgm:prSet>
      <dgm:spPr/>
    </dgm:pt>
    <dgm:pt modelId="{D34BEF50-6F0C-4AF0-B0BB-2B0F8CE38691}" type="pres">
      <dgm:prSet presAssocID="{6200ACFA-FBBF-48FF-A1DE-81AED00F1836}" presName="spacer" presStyleCnt="0"/>
      <dgm:spPr/>
    </dgm:pt>
    <dgm:pt modelId="{798FC048-0703-458F-887A-BE4834216473}" type="pres">
      <dgm:prSet presAssocID="{015EAE81-AE54-4D34-A280-CB070323AF00}" presName="parentText" presStyleLbl="node1" presStyleIdx="2" presStyleCnt="4">
        <dgm:presLayoutVars>
          <dgm:chMax val="0"/>
          <dgm:bulletEnabled val="1"/>
        </dgm:presLayoutVars>
      </dgm:prSet>
      <dgm:spPr/>
    </dgm:pt>
    <dgm:pt modelId="{614454CC-7670-40CE-A096-023425D035F7}" type="pres">
      <dgm:prSet presAssocID="{DC31D0A4-EB27-4989-B876-E696FC5ED2B2}" presName="spacer" presStyleCnt="0"/>
      <dgm:spPr/>
    </dgm:pt>
    <dgm:pt modelId="{AD2BAD64-9C17-4076-A048-06BAC57B9C15}" type="pres">
      <dgm:prSet presAssocID="{903DB6DB-D25C-4045-A31B-DA8318062D21}" presName="parentText" presStyleLbl="node1" presStyleIdx="3" presStyleCnt="4">
        <dgm:presLayoutVars>
          <dgm:chMax val="0"/>
          <dgm:bulletEnabled val="1"/>
        </dgm:presLayoutVars>
      </dgm:prSet>
      <dgm:spPr/>
    </dgm:pt>
    <dgm:pt modelId="{0BF68657-3B3C-4C8B-9AE4-54302DFDB9BD}" type="pres">
      <dgm:prSet presAssocID="{903DB6DB-D25C-4045-A31B-DA8318062D21}" presName="childText" presStyleLbl="revTx" presStyleIdx="0" presStyleCnt="1">
        <dgm:presLayoutVars>
          <dgm:bulletEnabled val="1"/>
        </dgm:presLayoutVars>
      </dgm:prSet>
      <dgm:spPr/>
    </dgm:pt>
  </dgm:ptLst>
  <dgm:cxnLst>
    <dgm:cxn modelId="{DA5C730E-B118-4C6A-8544-726F1149508D}" type="presOf" srcId="{015EAE81-AE54-4D34-A280-CB070323AF00}" destId="{798FC048-0703-458F-887A-BE4834216473}" srcOrd="0" destOrd="0" presId="urn:microsoft.com/office/officeart/2005/8/layout/vList2"/>
    <dgm:cxn modelId="{9415BA10-B36B-4727-98EF-4BB23BBDCDBC}" srcId="{903DB6DB-D25C-4045-A31B-DA8318062D21}" destId="{2444AB7B-B6AB-4495-B158-B402EDC08B76}" srcOrd="1" destOrd="0" parTransId="{09B26175-C571-42EF-9EDF-89ED44362AFA}" sibTransId="{99A57409-E337-4988-BD19-BC37B54F3450}"/>
    <dgm:cxn modelId="{A548F617-DDED-45CC-985A-348164B611E3}" type="presOf" srcId="{2444AB7B-B6AB-4495-B158-B402EDC08B76}" destId="{0BF68657-3B3C-4C8B-9AE4-54302DFDB9BD}" srcOrd="0" destOrd="1" presId="urn:microsoft.com/office/officeart/2005/8/layout/vList2"/>
    <dgm:cxn modelId="{BC9FB719-20CE-408B-A467-229C1344A0F5}" type="presOf" srcId="{778BE23F-AB3C-447B-B363-B930078F09A9}" destId="{0BF68657-3B3C-4C8B-9AE4-54302DFDB9BD}" srcOrd="0" destOrd="0" presId="urn:microsoft.com/office/officeart/2005/8/layout/vList2"/>
    <dgm:cxn modelId="{4271D13C-D9E1-4E26-BE0F-8D287ADAF7F5}" srcId="{903DB6DB-D25C-4045-A31B-DA8318062D21}" destId="{778BE23F-AB3C-447B-B363-B930078F09A9}" srcOrd="0" destOrd="0" parTransId="{EBA31F86-64C9-47F7-81CC-6B0D3E09AF3A}" sibTransId="{3755714C-C224-476C-B5EF-1913806476D0}"/>
    <dgm:cxn modelId="{74915EA2-E8F8-4F7E-8393-C6FEB5E8ACFF}" srcId="{4098FD91-DBCF-4EC9-A047-5D38CED4729E}" destId="{CD323CFF-4F68-4E53-B766-106F81C113AF}" srcOrd="1" destOrd="0" parTransId="{861F9E08-460A-4274-99DA-8EE23193C29C}" sibTransId="{6200ACFA-FBBF-48FF-A1DE-81AED00F1836}"/>
    <dgm:cxn modelId="{98C85DAC-1E44-4FB5-84C5-A012DB56CAED}" type="presOf" srcId="{AC3E9C15-77B3-4A87-BE3A-85906A252E85}" destId="{6F06E09D-1FEB-413A-9449-C98D8A21796D}" srcOrd="0" destOrd="0" presId="urn:microsoft.com/office/officeart/2005/8/layout/vList2"/>
    <dgm:cxn modelId="{4844FFAD-498E-4100-B736-B19321A31DC3}" type="presOf" srcId="{CD323CFF-4F68-4E53-B766-106F81C113AF}" destId="{BFB7A520-2282-4A5C-8803-AC913DCAF558}" srcOrd="0" destOrd="0" presId="urn:microsoft.com/office/officeart/2005/8/layout/vList2"/>
    <dgm:cxn modelId="{689815B6-0DCD-4D96-B5D7-2475773A0CDB}" type="presOf" srcId="{4098FD91-DBCF-4EC9-A047-5D38CED4729E}" destId="{995DA5ED-133C-471D-BFEB-6C67B57744C6}" srcOrd="0" destOrd="0" presId="urn:microsoft.com/office/officeart/2005/8/layout/vList2"/>
    <dgm:cxn modelId="{7CEE6BB9-0DDB-466D-9115-ADD0C5CFB749}" srcId="{4098FD91-DBCF-4EC9-A047-5D38CED4729E}" destId="{015EAE81-AE54-4D34-A280-CB070323AF00}" srcOrd="2" destOrd="0" parTransId="{157C12E4-8748-4D96-9E50-EBF89203BE21}" sibTransId="{DC31D0A4-EB27-4989-B876-E696FC5ED2B2}"/>
    <dgm:cxn modelId="{FEBFFCC1-97B7-4B4B-83F8-4F342CC7538D}" type="presOf" srcId="{903DB6DB-D25C-4045-A31B-DA8318062D21}" destId="{AD2BAD64-9C17-4076-A048-06BAC57B9C15}" srcOrd="0" destOrd="0" presId="urn:microsoft.com/office/officeart/2005/8/layout/vList2"/>
    <dgm:cxn modelId="{A041D3DD-A7D8-448E-8C60-A55F20DD67C9}" srcId="{4098FD91-DBCF-4EC9-A047-5D38CED4729E}" destId="{903DB6DB-D25C-4045-A31B-DA8318062D21}" srcOrd="3" destOrd="0" parTransId="{CC6A0FE0-1269-42DB-A610-42719C96A71C}" sibTransId="{967D56EC-0095-4F3C-9711-A519E8DD77A3}"/>
    <dgm:cxn modelId="{7DB6D0E8-8BB4-47E4-A765-35CAFF0F8AE4}" srcId="{4098FD91-DBCF-4EC9-A047-5D38CED4729E}" destId="{AC3E9C15-77B3-4A87-BE3A-85906A252E85}" srcOrd="0" destOrd="0" parTransId="{9AA29BE9-D639-4EB6-816B-7A2D945FB6C4}" sibTransId="{3CB797D5-AC8B-491B-86F5-820614015E2B}"/>
    <dgm:cxn modelId="{7BC82BBC-E037-42C8-AEF6-A0CE1428BF14}" type="presParOf" srcId="{995DA5ED-133C-471D-BFEB-6C67B57744C6}" destId="{6F06E09D-1FEB-413A-9449-C98D8A21796D}" srcOrd="0" destOrd="0" presId="urn:microsoft.com/office/officeart/2005/8/layout/vList2"/>
    <dgm:cxn modelId="{64068E79-EF6B-4BCF-8883-F127EA51B1BC}" type="presParOf" srcId="{995DA5ED-133C-471D-BFEB-6C67B57744C6}" destId="{E61F2DA1-4829-4863-AA6F-BCB8E2878D37}" srcOrd="1" destOrd="0" presId="urn:microsoft.com/office/officeart/2005/8/layout/vList2"/>
    <dgm:cxn modelId="{740F3606-E54F-444B-A60A-3CF834B3FC05}" type="presParOf" srcId="{995DA5ED-133C-471D-BFEB-6C67B57744C6}" destId="{BFB7A520-2282-4A5C-8803-AC913DCAF558}" srcOrd="2" destOrd="0" presId="urn:microsoft.com/office/officeart/2005/8/layout/vList2"/>
    <dgm:cxn modelId="{F4AADE22-4F8C-4F26-A990-3FF3C62E9186}" type="presParOf" srcId="{995DA5ED-133C-471D-BFEB-6C67B57744C6}" destId="{D34BEF50-6F0C-4AF0-B0BB-2B0F8CE38691}" srcOrd="3" destOrd="0" presId="urn:microsoft.com/office/officeart/2005/8/layout/vList2"/>
    <dgm:cxn modelId="{964033AE-3E53-411A-AB57-60FE40E7EECE}" type="presParOf" srcId="{995DA5ED-133C-471D-BFEB-6C67B57744C6}" destId="{798FC048-0703-458F-887A-BE4834216473}" srcOrd="4" destOrd="0" presId="urn:microsoft.com/office/officeart/2005/8/layout/vList2"/>
    <dgm:cxn modelId="{6439BECA-31FF-482C-B308-DE14995C4808}" type="presParOf" srcId="{995DA5ED-133C-471D-BFEB-6C67B57744C6}" destId="{614454CC-7670-40CE-A096-023425D035F7}" srcOrd="5" destOrd="0" presId="urn:microsoft.com/office/officeart/2005/8/layout/vList2"/>
    <dgm:cxn modelId="{9E3069AA-DA37-465C-B912-EDDBE474DD8D}" type="presParOf" srcId="{995DA5ED-133C-471D-BFEB-6C67B57744C6}" destId="{AD2BAD64-9C17-4076-A048-06BAC57B9C15}" srcOrd="6" destOrd="0" presId="urn:microsoft.com/office/officeart/2005/8/layout/vList2"/>
    <dgm:cxn modelId="{2929954D-B578-47A1-8EDD-8B437ADE3343}" type="presParOf" srcId="{995DA5ED-133C-471D-BFEB-6C67B57744C6}" destId="{0BF68657-3B3C-4C8B-9AE4-54302DFDB9BD}" srcOrd="7"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9A3CA89A-E72D-48AF-83DA-B701DB02D005}" type="doc">
      <dgm:prSet loTypeId="urn:microsoft.com/office/officeart/2005/8/layout/hierarchy4" loCatId="list" qsTypeId="urn:microsoft.com/office/officeart/2005/8/quickstyle/simple1" qsCatId="simple" csTypeId="urn:microsoft.com/office/officeart/2005/8/colors/accent1_1" csCatId="accent1" phldr="1"/>
      <dgm:spPr/>
      <dgm:t>
        <a:bodyPr/>
        <a:lstStyle/>
        <a:p>
          <a:endParaRPr lang="en-US"/>
        </a:p>
      </dgm:t>
    </dgm:pt>
    <dgm:pt modelId="{C6AABC73-A830-4EBB-8B72-A2EB32B58E33}">
      <dgm:prSet custT="1"/>
      <dgm:spPr/>
      <dgm:t>
        <a:bodyPr/>
        <a:lstStyle/>
        <a:p>
          <a:r>
            <a:rPr lang="en-US" sz="2800" baseline="0"/>
            <a:t>Allows binding existing GUI elements together </a:t>
          </a:r>
          <a:r>
            <a:rPr lang="en-US" sz="2800" b="1" baseline="0"/>
            <a:t>without </a:t>
          </a:r>
          <a:r>
            <a:rPr lang="en-US" sz="2800" b="0" baseline="0"/>
            <a:t>PowerShell</a:t>
          </a:r>
          <a:r>
            <a:rPr lang="en-US" sz="2800" b="1" baseline="0"/>
            <a:t> </a:t>
          </a:r>
          <a:r>
            <a:rPr lang="en-US" sz="2800" b="0" baseline="0"/>
            <a:t>code</a:t>
          </a:r>
          <a:endParaRPr lang="en-US" sz="2800" b="0"/>
        </a:p>
      </dgm:t>
    </dgm:pt>
    <dgm:pt modelId="{6E89FBFF-EF16-46DA-9256-C1363FEA1DF6}" type="parTrans" cxnId="{CE5C4763-82E7-409F-8023-3BDD1960960D}">
      <dgm:prSet/>
      <dgm:spPr/>
      <dgm:t>
        <a:bodyPr/>
        <a:lstStyle/>
        <a:p>
          <a:endParaRPr lang="en-US"/>
        </a:p>
      </dgm:t>
    </dgm:pt>
    <dgm:pt modelId="{A6532B86-73A1-4DF1-BA53-5206D8F7F739}" type="sibTrans" cxnId="{CE5C4763-82E7-409F-8023-3BDD1960960D}">
      <dgm:prSet/>
      <dgm:spPr/>
      <dgm:t>
        <a:bodyPr/>
        <a:lstStyle/>
        <a:p>
          <a:endParaRPr lang="en-US"/>
        </a:p>
      </dgm:t>
    </dgm:pt>
    <dgm:pt modelId="{FA82F773-5504-41E7-86DF-00CBF15AD779}">
      <dgm:prSet custT="1"/>
      <dgm:spPr/>
      <dgm:t>
        <a:bodyPr/>
        <a:lstStyle/>
        <a:p>
          <a:r>
            <a:rPr lang="en-US" sz="2400" b="1" baseline="0" err="1"/>
            <a:t>ElementName</a:t>
          </a:r>
          <a:r>
            <a:rPr lang="en-US" sz="2400" baseline="0"/>
            <a:t> </a:t>
          </a:r>
          <a:br>
            <a:rPr lang="en-US" sz="2400" baseline="0"/>
          </a:br>
          <a:r>
            <a:rPr lang="en-US" sz="2400" baseline="0"/>
            <a:t>X:Name of XAML control to bind to</a:t>
          </a:r>
          <a:endParaRPr lang="en-US" sz="2400"/>
        </a:p>
      </dgm:t>
    </dgm:pt>
    <dgm:pt modelId="{ACFBE9E2-B633-4A26-8C1F-980032861094}" type="parTrans" cxnId="{D1E53AD6-BCD9-4C12-95C7-0C85580EB7E4}">
      <dgm:prSet/>
      <dgm:spPr/>
      <dgm:t>
        <a:bodyPr/>
        <a:lstStyle/>
        <a:p>
          <a:endParaRPr lang="en-US"/>
        </a:p>
      </dgm:t>
    </dgm:pt>
    <dgm:pt modelId="{F9365272-5EFB-4688-BB97-1177E3651F57}" type="sibTrans" cxnId="{D1E53AD6-BCD9-4C12-95C7-0C85580EB7E4}">
      <dgm:prSet/>
      <dgm:spPr/>
      <dgm:t>
        <a:bodyPr/>
        <a:lstStyle/>
        <a:p>
          <a:endParaRPr lang="en-US"/>
        </a:p>
      </dgm:t>
    </dgm:pt>
    <dgm:pt modelId="{63180AA3-B790-4C58-8F0A-45775A5E8D3C}">
      <dgm:prSet custT="1"/>
      <dgm:spPr/>
      <dgm:t>
        <a:bodyPr/>
        <a:lstStyle/>
        <a:p>
          <a:r>
            <a:rPr lang="en-US" sz="2400" b="1" baseline="0"/>
            <a:t>Path</a:t>
          </a:r>
          <a:r>
            <a:rPr lang="en-US" sz="2400" baseline="0"/>
            <a:t> </a:t>
          </a:r>
          <a:br>
            <a:rPr lang="en-US" sz="2400" baseline="0"/>
          </a:br>
          <a:r>
            <a:rPr lang="en-US" sz="2400" baseline="0"/>
            <a:t>Property name of control to bind to</a:t>
          </a:r>
          <a:endParaRPr lang="en-US" sz="2400"/>
        </a:p>
      </dgm:t>
    </dgm:pt>
    <dgm:pt modelId="{8F062ED3-8F5F-4CBC-97A2-AC36457EFC72}" type="parTrans" cxnId="{D1DDE6B3-3CF1-40A7-AA75-B725DF43AA38}">
      <dgm:prSet/>
      <dgm:spPr/>
      <dgm:t>
        <a:bodyPr/>
        <a:lstStyle/>
        <a:p>
          <a:endParaRPr lang="en-US"/>
        </a:p>
      </dgm:t>
    </dgm:pt>
    <dgm:pt modelId="{0851630E-2E2E-431B-8674-8858235940C2}" type="sibTrans" cxnId="{D1DDE6B3-3CF1-40A7-AA75-B725DF43AA38}">
      <dgm:prSet/>
      <dgm:spPr/>
      <dgm:t>
        <a:bodyPr/>
        <a:lstStyle/>
        <a:p>
          <a:endParaRPr lang="en-US"/>
        </a:p>
      </dgm:t>
    </dgm:pt>
    <dgm:pt modelId="{F659A4AD-4D8E-48D0-BCAF-171EFFA57812}">
      <dgm:prSet custT="1"/>
      <dgm:spPr/>
      <dgm:t>
        <a:bodyPr/>
        <a:lstStyle/>
        <a:p>
          <a:r>
            <a:rPr lang="en-US" sz="2400" b="1" baseline="0"/>
            <a:t>Mode</a:t>
          </a:r>
          <a:r>
            <a:rPr lang="en-US" sz="2400" baseline="0"/>
            <a:t> </a:t>
          </a:r>
          <a:br>
            <a:rPr lang="en-US" sz="2400" baseline="0"/>
          </a:br>
          <a:r>
            <a:rPr lang="en-US" sz="2400" baseline="0"/>
            <a:t>One direction</a:t>
          </a:r>
          <a:br>
            <a:rPr lang="en-US" sz="2400" baseline="0"/>
          </a:br>
          <a:r>
            <a:rPr lang="en-US" sz="2400" baseline="0"/>
            <a:t>Two directions</a:t>
          </a:r>
          <a:endParaRPr lang="en-US" sz="2400"/>
        </a:p>
      </dgm:t>
    </dgm:pt>
    <dgm:pt modelId="{75B6B4A4-08ED-490A-AFDF-ED653675E3D2}" type="parTrans" cxnId="{366CBF7C-ED05-4A24-874A-043A28F41491}">
      <dgm:prSet/>
      <dgm:spPr/>
      <dgm:t>
        <a:bodyPr/>
        <a:lstStyle/>
        <a:p>
          <a:endParaRPr lang="en-US"/>
        </a:p>
      </dgm:t>
    </dgm:pt>
    <dgm:pt modelId="{833CA5C8-5456-450A-A316-1F69C8037A7C}" type="sibTrans" cxnId="{366CBF7C-ED05-4A24-874A-043A28F41491}">
      <dgm:prSet/>
      <dgm:spPr/>
      <dgm:t>
        <a:bodyPr/>
        <a:lstStyle/>
        <a:p>
          <a:endParaRPr lang="en-US"/>
        </a:p>
      </dgm:t>
    </dgm:pt>
    <dgm:pt modelId="{60CCFFC6-ECA4-4A05-ACD9-1C66D2848892}" type="pres">
      <dgm:prSet presAssocID="{9A3CA89A-E72D-48AF-83DA-B701DB02D005}" presName="Name0" presStyleCnt="0">
        <dgm:presLayoutVars>
          <dgm:chPref val="1"/>
          <dgm:dir/>
          <dgm:animOne val="branch"/>
          <dgm:animLvl val="lvl"/>
          <dgm:resizeHandles/>
        </dgm:presLayoutVars>
      </dgm:prSet>
      <dgm:spPr/>
    </dgm:pt>
    <dgm:pt modelId="{0AEB212A-9156-4EA7-9A17-1657DFDCF9C1}" type="pres">
      <dgm:prSet presAssocID="{C6AABC73-A830-4EBB-8B72-A2EB32B58E33}" presName="vertOne" presStyleCnt="0"/>
      <dgm:spPr/>
    </dgm:pt>
    <dgm:pt modelId="{3FE643AE-FDC3-4974-9F5D-6BC880DC0463}" type="pres">
      <dgm:prSet presAssocID="{C6AABC73-A830-4EBB-8B72-A2EB32B58E33}" presName="txOne" presStyleLbl="node0" presStyleIdx="0" presStyleCnt="1">
        <dgm:presLayoutVars>
          <dgm:chPref val="3"/>
        </dgm:presLayoutVars>
      </dgm:prSet>
      <dgm:spPr/>
    </dgm:pt>
    <dgm:pt modelId="{F22CF457-AD92-4321-9D6B-7474E4423E00}" type="pres">
      <dgm:prSet presAssocID="{C6AABC73-A830-4EBB-8B72-A2EB32B58E33}" presName="parTransOne" presStyleCnt="0"/>
      <dgm:spPr/>
    </dgm:pt>
    <dgm:pt modelId="{626E925A-8C28-44FC-A470-01013641F1AF}" type="pres">
      <dgm:prSet presAssocID="{C6AABC73-A830-4EBB-8B72-A2EB32B58E33}" presName="horzOne" presStyleCnt="0"/>
      <dgm:spPr/>
    </dgm:pt>
    <dgm:pt modelId="{56E8D77F-8EA4-4E97-8271-E996E1E746B1}" type="pres">
      <dgm:prSet presAssocID="{FA82F773-5504-41E7-86DF-00CBF15AD779}" presName="vertTwo" presStyleCnt="0"/>
      <dgm:spPr/>
    </dgm:pt>
    <dgm:pt modelId="{3EABF5A4-41D0-47A0-9E0C-AE43420C7241}" type="pres">
      <dgm:prSet presAssocID="{FA82F773-5504-41E7-86DF-00CBF15AD779}" presName="txTwo" presStyleLbl="node2" presStyleIdx="0" presStyleCnt="3" custScaleY="125920">
        <dgm:presLayoutVars>
          <dgm:chPref val="3"/>
        </dgm:presLayoutVars>
      </dgm:prSet>
      <dgm:spPr/>
    </dgm:pt>
    <dgm:pt modelId="{44218A7A-7D2E-4C30-85AE-E0EDDCCF7040}" type="pres">
      <dgm:prSet presAssocID="{FA82F773-5504-41E7-86DF-00CBF15AD779}" presName="horzTwo" presStyleCnt="0"/>
      <dgm:spPr/>
    </dgm:pt>
    <dgm:pt modelId="{4FED5D66-FCD7-412D-8F75-4A15F90361D9}" type="pres">
      <dgm:prSet presAssocID="{F9365272-5EFB-4688-BB97-1177E3651F57}" presName="sibSpaceTwo" presStyleCnt="0"/>
      <dgm:spPr/>
    </dgm:pt>
    <dgm:pt modelId="{0D9418FD-5394-4F38-9967-F6CA4B133B8A}" type="pres">
      <dgm:prSet presAssocID="{63180AA3-B790-4C58-8F0A-45775A5E8D3C}" presName="vertTwo" presStyleCnt="0"/>
      <dgm:spPr/>
    </dgm:pt>
    <dgm:pt modelId="{CE15F57A-C44F-4D1D-BFA3-D80158CDD933}" type="pres">
      <dgm:prSet presAssocID="{63180AA3-B790-4C58-8F0A-45775A5E8D3C}" presName="txTwo" presStyleLbl="node2" presStyleIdx="1" presStyleCnt="3" custScaleY="125920">
        <dgm:presLayoutVars>
          <dgm:chPref val="3"/>
        </dgm:presLayoutVars>
      </dgm:prSet>
      <dgm:spPr/>
    </dgm:pt>
    <dgm:pt modelId="{4188351B-6044-462E-A046-F20D9AE05CE3}" type="pres">
      <dgm:prSet presAssocID="{63180AA3-B790-4C58-8F0A-45775A5E8D3C}" presName="horzTwo" presStyleCnt="0"/>
      <dgm:spPr/>
    </dgm:pt>
    <dgm:pt modelId="{B43DAE8D-812C-4960-B475-728C1607665E}" type="pres">
      <dgm:prSet presAssocID="{0851630E-2E2E-431B-8674-8858235940C2}" presName="sibSpaceTwo" presStyleCnt="0"/>
      <dgm:spPr/>
    </dgm:pt>
    <dgm:pt modelId="{F610E837-A76D-4203-8857-9D15F80494ED}" type="pres">
      <dgm:prSet presAssocID="{F659A4AD-4D8E-48D0-BCAF-171EFFA57812}" presName="vertTwo" presStyleCnt="0"/>
      <dgm:spPr/>
    </dgm:pt>
    <dgm:pt modelId="{781FA425-35DA-4990-B478-FB884A3A6B00}" type="pres">
      <dgm:prSet presAssocID="{F659A4AD-4D8E-48D0-BCAF-171EFFA57812}" presName="txTwo" presStyleLbl="node2" presStyleIdx="2" presStyleCnt="3" custScaleY="125920">
        <dgm:presLayoutVars>
          <dgm:chPref val="3"/>
        </dgm:presLayoutVars>
      </dgm:prSet>
      <dgm:spPr/>
    </dgm:pt>
    <dgm:pt modelId="{BFE56AFC-FA23-417D-80A6-F336BD364FC0}" type="pres">
      <dgm:prSet presAssocID="{F659A4AD-4D8E-48D0-BCAF-171EFFA57812}" presName="horzTwo" presStyleCnt="0"/>
      <dgm:spPr/>
    </dgm:pt>
  </dgm:ptLst>
  <dgm:cxnLst>
    <dgm:cxn modelId="{9AF52628-657B-4E14-BACE-8EDAC7CE673A}" type="presOf" srcId="{C6AABC73-A830-4EBB-8B72-A2EB32B58E33}" destId="{3FE643AE-FDC3-4974-9F5D-6BC880DC0463}" srcOrd="0" destOrd="0" presId="urn:microsoft.com/office/officeart/2005/8/layout/hierarchy4"/>
    <dgm:cxn modelId="{06CCFC33-1720-4502-85DB-612C40AE27F3}" type="presOf" srcId="{F659A4AD-4D8E-48D0-BCAF-171EFFA57812}" destId="{781FA425-35DA-4990-B478-FB884A3A6B00}" srcOrd="0" destOrd="0" presId="urn:microsoft.com/office/officeart/2005/8/layout/hierarchy4"/>
    <dgm:cxn modelId="{CE5C4763-82E7-409F-8023-3BDD1960960D}" srcId="{9A3CA89A-E72D-48AF-83DA-B701DB02D005}" destId="{C6AABC73-A830-4EBB-8B72-A2EB32B58E33}" srcOrd="0" destOrd="0" parTransId="{6E89FBFF-EF16-46DA-9256-C1363FEA1DF6}" sibTransId="{A6532B86-73A1-4DF1-BA53-5206D8F7F739}"/>
    <dgm:cxn modelId="{366CBF7C-ED05-4A24-874A-043A28F41491}" srcId="{C6AABC73-A830-4EBB-8B72-A2EB32B58E33}" destId="{F659A4AD-4D8E-48D0-BCAF-171EFFA57812}" srcOrd="2" destOrd="0" parTransId="{75B6B4A4-08ED-490A-AFDF-ED653675E3D2}" sibTransId="{833CA5C8-5456-450A-A316-1F69C8037A7C}"/>
    <dgm:cxn modelId="{DB9D099C-53C0-4AB4-90CB-59BF5F078F3F}" type="presOf" srcId="{63180AA3-B790-4C58-8F0A-45775A5E8D3C}" destId="{CE15F57A-C44F-4D1D-BFA3-D80158CDD933}" srcOrd="0" destOrd="0" presId="urn:microsoft.com/office/officeart/2005/8/layout/hierarchy4"/>
    <dgm:cxn modelId="{1B81F2A8-AAD9-444B-B8E2-61A14209720A}" type="presOf" srcId="{9A3CA89A-E72D-48AF-83DA-B701DB02D005}" destId="{60CCFFC6-ECA4-4A05-ACD9-1C66D2848892}" srcOrd="0" destOrd="0" presId="urn:microsoft.com/office/officeart/2005/8/layout/hierarchy4"/>
    <dgm:cxn modelId="{D1DDE6B3-3CF1-40A7-AA75-B725DF43AA38}" srcId="{C6AABC73-A830-4EBB-8B72-A2EB32B58E33}" destId="{63180AA3-B790-4C58-8F0A-45775A5E8D3C}" srcOrd="1" destOrd="0" parTransId="{8F062ED3-8F5F-4CBC-97A2-AC36457EFC72}" sibTransId="{0851630E-2E2E-431B-8674-8858235940C2}"/>
    <dgm:cxn modelId="{F45F8CD0-3E2F-4B6C-9304-65E48FA29695}" type="presOf" srcId="{FA82F773-5504-41E7-86DF-00CBF15AD779}" destId="{3EABF5A4-41D0-47A0-9E0C-AE43420C7241}" srcOrd="0" destOrd="0" presId="urn:microsoft.com/office/officeart/2005/8/layout/hierarchy4"/>
    <dgm:cxn modelId="{D1E53AD6-BCD9-4C12-95C7-0C85580EB7E4}" srcId="{C6AABC73-A830-4EBB-8B72-A2EB32B58E33}" destId="{FA82F773-5504-41E7-86DF-00CBF15AD779}" srcOrd="0" destOrd="0" parTransId="{ACFBE9E2-B633-4A26-8C1F-980032861094}" sibTransId="{F9365272-5EFB-4688-BB97-1177E3651F57}"/>
    <dgm:cxn modelId="{13075563-10FB-4107-BBE0-9E4201D55581}" type="presParOf" srcId="{60CCFFC6-ECA4-4A05-ACD9-1C66D2848892}" destId="{0AEB212A-9156-4EA7-9A17-1657DFDCF9C1}" srcOrd="0" destOrd="0" presId="urn:microsoft.com/office/officeart/2005/8/layout/hierarchy4"/>
    <dgm:cxn modelId="{A3CE8023-AC7B-4D72-8EDE-91BF77CF786C}" type="presParOf" srcId="{0AEB212A-9156-4EA7-9A17-1657DFDCF9C1}" destId="{3FE643AE-FDC3-4974-9F5D-6BC880DC0463}" srcOrd="0" destOrd="0" presId="urn:microsoft.com/office/officeart/2005/8/layout/hierarchy4"/>
    <dgm:cxn modelId="{00ED69AE-4D85-44B0-AA4B-633488B5D520}" type="presParOf" srcId="{0AEB212A-9156-4EA7-9A17-1657DFDCF9C1}" destId="{F22CF457-AD92-4321-9D6B-7474E4423E00}" srcOrd="1" destOrd="0" presId="urn:microsoft.com/office/officeart/2005/8/layout/hierarchy4"/>
    <dgm:cxn modelId="{5A628C57-4D3C-403B-BA66-F4144975385F}" type="presParOf" srcId="{0AEB212A-9156-4EA7-9A17-1657DFDCF9C1}" destId="{626E925A-8C28-44FC-A470-01013641F1AF}" srcOrd="2" destOrd="0" presId="urn:microsoft.com/office/officeart/2005/8/layout/hierarchy4"/>
    <dgm:cxn modelId="{5C0E6582-0D8C-4C30-B0F8-A4BC7FE0228C}" type="presParOf" srcId="{626E925A-8C28-44FC-A470-01013641F1AF}" destId="{56E8D77F-8EA4-4E97-8271-E996E1E746B1}" srcOrd="0" destOrd="0" presId="urn:microsoft.com/office/officeart/2005/8/layout/hierarchy4"/>
    <dgm:cxn modelId="{A169F155-651D-4C96-BC57-0EBDED56C4E7}" type="presParOf" srcId="{56E8D77F-8EA4-4E97-8271-E996E1E746B1}" destId="{3EABF5A4-41D0-47A0-9E0C-AE43420C7241}" srcOrd="0" destOrd="0" presId="urn:microsoft.com/office/officeart/2005/8/layout/hierarchy4"/>
    <dgm:cxn modelId="{F0C6385E-5A6F-479C-B6AB-C25B779F11C0}" type="presParOf" srcId="{56E8D77F-8EA4-4E97-8271-E996E1E746B1}" destId="{44218A7A-7D2E-4C30-85AE-E0EDDCCF7040}" srcOrd="1" destOrd="0" presId="urn:microsoft.com/office/officeart/2005/8/layout/hierarchy4"/>
    <dgm:cxn modelId="{116CFE9E-CFC4-4046-827F-0F40B0244639}" type="presParOf" srcId="{626E925A-8C28-44FC-A470-01013641F1AF}" destId="{4FED5D66-FCD7-412D-8F75-4A15F90361D9}" srcOrd="1" destOrd="0" presId="urn:microsoft.com/office/officeart/2005/8/layout/hierarchy4"/>
    <dgm:cxn modelId="{FBD1494F-59BC-48A9-B3C3-D924B06539DE}" type="presParOf" srcId="{626E925A-8C28-44FC-A470-01013641F1AF}" destId="{0D9418FD-5394-4F38-9967-F6CA4B133B8A}" srcOrd="2" destOrd="0" presId="urn:microsoft.com/office/officeart/2005/8/layout/hierarchy4"/>
    <dgm:cxn modelId="{250D383F-091D-4CD7-987D-AB7F0CC71C31}" type="presParOf" srcId="{0D9418FD-5394-4F38-9967-F6CA4B133B8A}" destId="{CE15F57A-C44F-4D1D-BFA3-D80158CDD933}" srcOrd="0" destOrd="0" presId="urn:microsoft.com/office/officeart/2005/8/layout/hierarchy4"/>
    <dgm:cxn modelId="{5D718D6C-443D-470E-A141-805D764A8768}" type="presParOf" srcId="{0D9418FD-5394-4F38-9967-F6CA4B133B8A}" destId="{4188351B-6044-462E-A046-F20D9AE05CE3}" srcOrd="1" destOrd="0" presId="urn:microsoft.com/office/officeart/2005/8/layout/hierarchy4"/>
    <dgm:cxn modelId="{EB549F84-4A36-469A-ABCA-D81D4C395426}" type="presParOf" srcId="{626E925A-8C28-44FC-A470-01013641F1AF}" destId="{B43DAE8D-812C-4960-B475-728C1607665E}" srcOrd="3" destOrd="0" presId="urn:microsoft.com/office/officeart/2005/8/layout/hierarchy4"/>
    <dgm:cxn modelId="{202A7A7F-4D9F-42CF-A945-A3CF051648D7}" type="presParOf" srcId="{626E925A-8C28-44FC-A470-01013641F1AF}" destId="{F610E837-A76D-4203-8857-9D15F80494ED}" srcOrd="4" destOrd="0" presId="urn:microsoft.com/office/officeart/2005/8/layout/hierarchy4"/>
    <dgm:cxn modelId="{A52AD4D4-5582-444F-90F8-D84D8C2F20DA}" type="presParOf" srcId="{F610E837-A76D-4203-8857-9D15F80494ED}" destId="{781FA425-35DA-4990-B478-FB884A3A6B00}" srcOrd="0" destOrd="0" presId="urn:microsoft.com/office/officeart/2005/8/layout/hierarchy4"/>
    <dgm:cxn modelId="{D755B69B-9EDB-43CF-8ED9-81FAD1E1F84F}" type="presParOf" srcId="{F610E837-A76D-4203-8857-9D15F80494ED}" destId="{BFE56AFC-FA23-417D-80A6-F336BD364FC0}" srcOrd="1" destOrd="0" presId="urn:microsoft.com/office/officeart/2005/8/layout/hierarchy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7FCA1B85-8E96-4543-8FDE-1DC9434C1351}"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65EE296A-630F-4EA9-A246-5162851FE0C0}">
      <dgm:prSet custT="1"/>
      <dgm:spPr/>
      <dgm:t>
        <a:bodyPr/>
        <a:lstStyle/>
        <a:p>
          <a:r>
            <a:rPr lang="en-US" sz="2600" baseline="0"/>
            <a:t>Displays on form </a:t>
          </a:r>
          <a:r>
            <a:rPr lang="en-US" sz="2600" b="1" baseline="0"/>
            <a:t>refresh</a:t>
          </a:r>
          <a:r>
            <a:rPr lang="en-US" sz="2600" baseline="0"/>
            <a:t> </a:t>
          </a:r>
          <a:endParaRPr lang="en-US" sz="2600"/>
        </a:p>
      </dgm:t>
    </dgm:pt>
    <dgm:pt modelId="{F85953FD-6344-4963-BB52-21C4B9A55538}" type="parTrans" cxnId="{85D0922F-BBA7-42C4-81A2-70B8F8FAE806}">
      <dgm:prSet/>
      <dgm:spPr/>
      <dgm:t>
        <a:bodyPr/>
        <a:lstStyle/>
        <a:p>
          <a:endParaRPr lang="en-US" sz="2600"/>
        </a:p>
      </dgm:t>
    </dgm:pt>
    <dgm:pt modelId="{091904FF-D023-46BB-8694-91D9696C58F4}" type="sibTrans" cxnId="{85D0922F-BBA7-42C4-81A2-70B8F8FAE806}">
      <dgm:prSet/>
      <dgm:spPr/>
      <dgm:t>
        <a:bodyPr/>
        <a:lstStyle/>
        <a:p>
          <a:endParaRPr lang="en-US" sz="2600"/>
        </a:p>
      </dgm:t>
    </dgm:pt>
    <dgm:pt modelId="{AD19887F-5290-4163-AF42-4F1A4CE462B3}">
      <dgm:prSet custT="1"/>
      <dgm:spPr/>
      <dgm:t>
        <a:bodyPr/>
        <a:lstStyle/>
        <a:p>
          <a:r>
            <a:rPr lang="en-US" sz="2600" baseline="0"/>
            <a:t>Form </a:t>
          </a:r>
          <a:r>
            <a:rPr lang="en-US" sz="2600" b="1" baseline="0"/>
            <a:t>not</a:t>
          </a:r>
          <a:r>
            <a:rPr lang="en-US" sz="2600" baseline="0"/>
            <a:t> refreshed </a:t>
          </a:r>
          <a:r>
            <a:rPr lang="en-US" sz="2600" b="1" baseline="0"/>
            <a:t>automatically</a:t>
          </a:r>
          <a:r>
            <a:rPr lang="en-US" sz="2600" baseline="0"/>
            <a:t> with all datatypes</a:t>
          </a:r>
          <a:endParaRPr lang="en-US" sz="2600"/>
        </a:p>
      </dgm:t>
    </dgm:pt>
    <dgm:pt modelId="{A18C00A2-6AAC-44CA-B66E-EC52CADA080E}" type="parTrans" cxnId="{F90BB08D-0595-4F64-BA4D-C8771445FC25}">
      <dgm:prSet/>
      <dgm:spPr/>
      <dgm:t>
        <a:bodyPr/>
        <a:lstStyle/>
        <a:p>
          <a:endParaRPr lang="en-US" sz="2600"/>
        </a:p>
      </dgm:t>
    </dgm:pt>
    <dgm:pt modelId="{9E5A9904-9E27-4628-B2E7-74BE627CE158}" type="sibTrans" cxnId="{F90BB08D-0595-4F64-BA4D-C8771445FC25}">
      <dgm:prSet/>
      <dgm:spPr/>
      <dgm:t>
        <a:bodyPr/>
        <a:lstStyle/>
        <a:p>
          <a:endParaRPr lang="en-US" sz="2600"/>
        </a:p>
      </dgm:t>
    </dgm:pt>
    <dgm:pt modelId="{79602B5F-1CE9-49DF-AF57-B4E80A7B2F47}" type="pres">
      <dgm:prSet presAssocID="{7FCA1B85-8E96-4543-8FDE-1DC9434C1351}" presName="vert0" presStyleCnt="0">
        <dgm:presLayoutVars>
          <dgm:dir/>
          <dgm:animOne val="branch"/>
          <dgm:animLvl val="lvl"/>
        </dgm:presLayoutVars>
      </dgm:prSet>
      <dgm:spPr/>
    </dgm:pt>
    <dgm:pt modelId="{DFC82203-6125-420C-88F5-41B3B2529518}" type="pres">
      <dgm:prSet presAssocID="{65EE296A-630F-4EA9-A246-5162851FE0C0}" presName="thickLine" presStyleLbl="alignNode1" presStyleIdx="0" presStyleCnt="2"/>
      <dgm:spPr/>
    </dgm:pt>
    <dgm:pt modelId="{7E236452-2EBA-4614-8515-2B1DDFDFEF5C}" type="pres">
      <dgm:prSet presAssocID="{65EE296A-630F-4EA9-A246-5162851FE0C0}" presName="horz1" presStyleCnt="0"/>
      <dgm:spPr/>
    </dgm:pt>
    <dgm:pt modelId="{0E530010-9543-4224-9CA5-3966A34EB5A4}" type="pres">
      <dgm:prSet presAssocID="{65EE296A-630F-4EA9-A246-5162851FE0C0}" presName="tx1" presStyleLbl="revTx" presStyleIdx="0" presStyleCnt="2"/>
      <dgm:spPr/>
    </dgm:pt>
    <dgm:pt modelId="{26FEF591-9B7C-4A7E-8275-4D298F16ABC3}" type="pres">
      <dgm:prSet presAssocID="{65EE296A-630F-4EA9-A246-5162851FE0C0}" presName="vert1" presStyleCnt="0"/>
      <dgm:spPr/>
    </dgm:pt>
    <dgm:pt modelId="{EE4EDE4D-DB31-4357-88DB-067F904C29DC}" type="pres">
      <dgm:prSet presAssocID="{AD19887F-5290-4163-AF42-4F1A4CE462B3}" presName="thickLine" presStyleLbl="alignNode1" presStyleIdx="1" presStyleCnt="2"/>
      <dgm:spPr/>
    </dgm:pt>
    <dgm:pt modelId="{07AA9820-4A3C-45BC-AEE5-E1111A1F551B}" type="pres">
      <dgm:prSet presAssocID="{AD19887F-5290-4163-AF42-4F1A4CE462B3}" presName="horz1" presStyleCnt="0"/>
      <dgm:spPr/>
    </dgm:pt>
    <dgm:pt modelId="{5A314A57-17EC-43A5-9FFE-294343B47253}" type="pres">
      <dgm:prSet presAssocID="{AD19887F-5290-4163-AF42-4F1A4CE462B3}" presName="tx1" presStyleLbl="revTx" presStyleIdx="1" presStyleCnt="2"/>
      <dgm:spPr/>
    </dgm:pt>
    <dgm:pt modelId="{267A61C4-4DC9-471E-8128-D96A111AC16D}" type="pres">
      <dgm:prSet presAssocID="{AD19887F-5290-4163-AF42-4F1A4CE462B3}" presName="vert1" presStyleCnt="0"/>
      <dgm:spPr/>
    </dgm:pt>
  </dgm:ptLst>
  <dgm:cxnLst>
    <dgm:cxn modelId="{87D8C00D-8C72-435F-8A43-177BC407162A}" type="presOf" srcId="{7FCA1B85-8E96-4543-8FDE-1DC9434C1351}" destId="{79602B5F-1CE9-49DF-AF57-B4E80A7B2F47}" srcOrd="0" destOrd="0" presId="urn:microsoft.com/office/officeart/2008/layout/LinedList"/>
    <dgm:cxn modelId="{85D0922F-BBA7-42C4-81A2-70B8F8FAE806}" srcId="{7FCA1B85-8E96-4543-8FDE-1DC9434C1351}" destId="{65EE296A-630F-4EA9-A246-5162851FE0C0}" srcOrd="0" destOrd="0" parTransId="{F85953FD-6344-4963-BB52-21C4B9A55538}" sibTransId="{091904FF-D023-46BB-8694-91D9696C58F4}"/>
    <dgm:cxn modelId="{B7638751-6B8F-49AA-B830-32E2DAC7C587}" type="presOf" srcId="{65EE296A-630F-4EA9-A246-5162851FE0C0}" destId="{0E530010-9543-4224-9CA5-3966A34EB5A4}" srcOrd="0" destOrd="0" presId="urn:microsoft.com/office/officeart/2008/layout/LinedList"/>
    <dgm:cxn modelId="{F90BB08D-0595-4F64-BA4D-C8771445FC25}" srcId="{7FCA1B85-8E96-4543-8FDE-1DC9434C1351}" destId="{AD19887F-5290-4163-AF42-4F1A4CE462B3}" srcOrd="1" destOrd="0" parTransId="{A18C00A2-6AAC-44CA-B66E-EC52CADA080E}" sibTransId="{9E5A9904-9E27-4628-B2E7-74BE627CE158}"/>
    <dgm:cxn modelId="{FEA3C1DB-C275-4140-8DA0-B4E2CA3F10DC}" type="presOf" srcId="{AD19887F-5290-4163-AF42-4F1A4CE462B3}" destId="{5A314A57-17EC-43A5-9FFE-294343B47253}" srcOrd="0" destOrd="0" presId="urn:microsoft.com/office/officeart/2008/layout/LinedList"/>
    <dgm:cxn modelId="{A7038F1B-AE32-4B5F-B268-5AC694906BC9}" type="presParOf" srcId="{79602B5F-1CE9-49DF-AF57-B4E80A7B2F47}" destId="{DFC82203-6125-420C-88F5-41B3B2529518}" srcOrd="0" destOrd="0" presId="urn:microsoft.com/office/officeart/2008/layout/LinedList"/>
    <dgm:cxn modelId="{B7CDD31E-4CE0-45FF-891F-C65A0DBC1A00}" type="presParOf" srcId="{79602B5F-1CE9-49DF-AF57-B4E80A7B2F47}" destId="{7E236452-2EBA-4614-8515-2B1DDFDFEF5C}" srcOrd="1" destOrd="0" presId="urn:microsoft.com/office/officeart/2008/layout/LinedList"/>
    <dgm:cxn modelId="{DCE42844-9A67-4B21-9D01-0095A8B9BCE7}" type="presParOf" srcId="{7E236452-2EBA-4614-8515-2B1DDFDFEF5C}" destId="{0E530010-9543-4224-9CA5-3966A34EB5A4}" srcOrd="0" destOrd="0" presId="urn:microsoft.com/office/officeart/2008/layout/LinedList"/>
    <dgm:cxn modelId="{5118106A-3224-4117-B9EC-E3E32C4ACC61}" type="presParOf" srcId="{7E236452-2EBA-4614-8515-2B1DDFDFEF5C}" destId="{26FEF591-9B7C-4A7E-8275-4D298F16ABC3}" srcOrd="1" destOrd="0" presId="urn:microsoft.com/office/officeart/2008/layout/LinedList"/>
    <dgm:cxn modelId="{94676414-67A3-447D-8A9D-209C00612153}" type="presParOf" srcId="{79602B5F-1CE9-49DF-AF57-B4E80A7B2F47}" destId="{EE4EDE4D-DB31-4357-88DB-067F904C29DC}" srcOrd="2" destOrd="0" presId="urn:microsoft.com/office/officeart/2008/layout/LinedList"/>
    <dgm:cxn modelId="{6B5A97C8-D6EA-454E-8FDE-E0014E29BD18}" type="presParOf" srcId="{79602B5F-1CE9-49DF-AF57-B4E80A7B2F47}" destId="{07AA9820-4A3C-45BC-AEE5-E1111A1F551B}" srcOrd="3" destOrd="0" presId="urn:microsoft.com/office/officeart/2008/layout/LinedList"/>
    <dgm:cxn modelId="{E079AC30-F5ED-449E-BC8A-F53870F8F5C4}" type="presParOf" srcId="{07AA9820-4A3C-45BC-AEE5-E1111A1F551B}" destId="{5A314A57-17EC-43A5-9FFE-294343B47253}" srcOrd="0" destOrd="0" presId="urn:microsoft.com/office/officeart/2008/layout/LinedList"/>
    <dgm:cxn modelId="{2DAEE622-6BAF-4E7C-9F6C-48A37FDCFD5C}" type="presParOf" srcId="{07AA9820-4A3C-45BC-AEE5-E1111A1F551B}" destId="{267A61C4-4DC9-471E-8128-D96A111AC16D}"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7FCA1B85-8E96-4543-8FDE-1DC9434C1351}"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65EE296A-630F-4EA9-A246-5162851FE0C0}">
      <dgm:prSet custT="1"/>
      <dgm:spPr/>
      <dgm:t>
        <a:bodyPr/>
        <a:lstStyle/>
        <a:p>
          <a:r>
            <a:rPr lang="en-US" sz="2400"/>
            <a:t>PowerShell code and GUI form refresh share the </a:t>
          </a:r>
          <a:r>
            <a:rPr lang="en-US" sz="2400" b="1"/>
            <a:t>same thread</a:t>
          </a:r>
        </a:p>
      </dgm:t>
    </dgm:pt>
    <dgm:pt modelId="{F85953FD-6344-4963-BB52-21C4B9A55538}" type="parTrans" cxnId="{85D0922F-BBA7-42C4-81A2-70B8F8FAE806}">
      <dgm:prSet/>
      <dgm:spPr/>
      <dgm:t>
        <a:bodyPr/>
        <a:lstStyle/>
        <a:p>
          <a:endParaRPr lang="en-US" sz="2400"/>
        </a:p>
      </dgm:t>
    </dgm:pt>
    <dgm:pt modelId="{091904FF-D023-46BB-8694-91D9696C58F4}" type="sibTrans" cxnId="{85D0922F-BBA7-42C4-81A2-70B8F8FAE806}">
      <dgm:prSet/>
      <dgm:spPr/>
      <dgm:t>
        <a:bodyPr/>
        <a:lstStyle/>
        <a:p>
          <a:endParaRPr lang="en-US" sz="2400"/>
        </a:p>
      </dgm:t>
    </dgm:pt>
    <dgm:pt modelId="{AD19887F-5290-4163-AF42-4F1A4CE462B3}">
      <dgm:prSet custT="1"/>
      <dgm:spPr/>
      <dgm:t>
        <a:bodyPr/>
        <a:lstStyle/>
        <a:p>
          <a:r>
            <a:rPr lang="en-US" sz="2400"/>
            <a:t>While PowerShell code is executing, the form will </a:t>
          </a:r>
          <a:r>
            <a:rPr lang="en-US" sz="2400" b="1"/>
            <a:t>not respond</a:t>
          </a:r>
        </a:p>
      </dgm:t>
    </dgm:pt>
    <dgm:pt modelId="{A18C00A2-6AAC-44CA-B66E-EC52CADA080E}" type="parTrans" cxnId="{F90BB08D-0595-4F64-BA4D-C8771445FC25}">
      <dgm:prSet/>
      <dgm:spPr/>
      <dgm:t>
        <a:bodyPr/>
        <a:lstStyle/>
        <a:p>
          <a:endParaRPr lang="en-US" sz="2400"/>
        </a:p>
      </dgm:t>
    </dgm:pt>
    <dgm:pt modelId="{9E5A9904-9E27-4628-B2E7-74BE627CE158}" type="sibTrans" cxnId="{F90BB08D-0595-4F64-BA4D-C8771445FC25}">
      <dgm:prSet/>
      <dgm:spPr/>
      <dgm:t>
        <a:bodyPr/>
        <a:lstStyle/>
        <a:p>
          <a:endParaRPr lang="en-US" sz="2400"/>
        </a:p>
      </dgm:t>
    </dgm:pt>
    <dgm:pt modelId="{FED21FB1-B84A-4A34-A432-914EB659E821}">
      <dgm:prSet custT="1"/>
      <dgm:spPr/>
      <dgm:t>
        <a:bodyPr/>
        <a:lstStyle/>
        <a:p>
          <a:r>
            <a:rPr lang="en-US" sz="2400" err="1"/>
            <a:t>Runspaces</a:t>
          </a:r>
          <a:endParaRPr lang="en-US" sz="2400"/>
        </a:p>
      </dgm:t>
    </dgm:pt>
    <dgm:pt modelId="{EE3BC07A-7A1A-4251-890C-C3A4AE53DA2A}" type="parTrans" cxnId="{5DE61846-60A0-4604-A002-25CCE38745D2}">
      <dgm:prSet/>
      <dgm:spPr/>
      <dgm:t>
        <a:bodyPr/>
        <a:lstStyle/>
        <a:p>
          <a:endParaRPr lang="en-US" sz="2400"/>
        </a:p>
      </dgm:t>
    </dgm:pt>
    <dgm:pt modelId="{E6113C0E-306A-412B-BFE4-386ED5183636}" type="sibTrans" cxnId="{5DE61846-60A0-4604-A002-25CCE38745D2}">
      <dgm:prSet/>
      <dgm:spPr/>
      <dgm:t>
        <a:bodyPr/>
        <a:lstStyle/>
        <a:p>
          <a:endParaRPr lang="en-US" sz="2400"/>
        </a:p>
      </dgm:t>
    </dgm:pt>
    <dgm:pt modelId="{0EF4F667-5590-4838-A3C9-5D09F9D325B5}">
      <dgm:prSet custT="1"/>
      <dgm:spPr/>
      <dgm:t>
        <a:bodyPr/>
        <a:lstStyle/>
        <a:p>
          <a:r>
            <a:rPr lang="en-US" sz="2400"/>
            <a:t>Events</a:t>
          </a:r>
        </a:p>
      </dgm:t>
    </dgm:pt>
    <dgm:pt modelId="{745D7C3B-6A9F-47AF-9336-EE088BF8B060}" type="parTrans" cxnId="{B05BB16C-F758-4EDA-9A4A-378CF2D70F0E}">
      <dgm:prSet/>
      <dgm:spPr/>
      <dgm:t>
        <a:bodyPr/>
        <a:lstStyle/>
        <a:p>
          <a:endParaRPr lang="en-US" sz="2400"/>
        </a:p>
      </dgm:t>
    </dgm:pt>
    <dgm:pt modelId="{9688015C-99E0-4FB0-BD8B-629A42B8EA7F}" type="sibTrans" cxnId="{B05BB16C-F758-4EDA-9A4A-378CF2D70F0E}">
      <dgm:prSet/>
      <dgm:spPr/>
      <dgm:t>
        <a:bodyPr/>
        <a:lstStyle/>
        <a:p>
          <a:endParaRPr lang="en-US" sz="2400"/>
        </a:p>
      </dgm:t>
    </dgm:pt>
    <dgm:pt modelId="{B10426F8-0599-4052-946E-940261F75AF2}">
      <dgm:prSet custT="1"/>
      <dgm:spPr/>
      <dgm:t>
        <a:bodyPr/>
        <a:lstStyle/>
        <a:p>
          <a:r>
            <a:rPr lang="en-US" sz="2400"/>
            <a:t>Several techniques exist to make this code </a:t>
          </a:r>
          <a:r>
            <a:rPr lang="en-US" sz="2400" b="1"/>
            <a:t>asynchronous, </a:t>
          </a:r>
          <a:r>
            <a:rPr lang="en-US" sz="2400"/>
            <a:t>but they all have </a:t>
          </a:r>
          <a:r>
            <a:rPr lang="en-US" sz="2400" b="1"/>
            <a:t>challenges</a:t>
          </a:r>
          <a:r>
            <a:rPr lang="en-US" sz="2400"/>
            <a:t>:</a:t>
          </a:r>
          <a:endParaRPr lang="en-US" sz="2400" b="1"/>
        </a:p>
      </dgm:t>
    </dgm:pt>
    <dgm:pt modelId="{821F572E-B5DD-4512-8C01-A126C07BF705}" type="parTrans" cxnId="{E83F786A-25AF-4139-8325-A8B8D63E1508}">
      <dgm:prSet/>
      <dgm:spPr/>
      <dgm:t>
        <a:bodyPr/>
        <a:lstStyle/>
        <a:p>
          <a:endParaRPr lang="en-US" sz="2400"/>
        </a:p>
      </dgm:t>
    </dgm:pt>
    <dgm:pt modelId="{F62FC5C0-D0A6-4A96-9BDD-C0A258842915}" type="sibTrans" cxnId="{E83F786A-25AF-4139-8325-A8B8D63E1508}">
      <dgm:prSet/>
      <dgm:spPr/>
      <dgm:t>
        <a:bodyPr/>
        <a:lstStyle/>
        <a:p>
          <a:endParaRPr lang="en-US" sz="2400"/>
        </a:p>
      </dgm:t>
    </dgm:pt>
    <dgm:pt modelId="{4576104C-C738-46FE-A8BB-CCC1416B9B1C}">
      <dgm:prSet custT="1"/>
      <dgm:spPr/>
      <dgm:t>
        <a:bodyPr/>
        <a:lstStyle/>
        <a:p>
          <a:r>
            <a:rPr lang="en-US" sz="2400"/>
            <a:t>Timers</a:t>
          </a:r>
        </a:p>
      </dgm:t>
    </dgm:pt>
    <dgm:pt modelId="{6CDDDE36-7B07-4EC6-BFDC-D6627A169ECF}" type="parTrans" cxnId="{80F5C1DA-4F27-453F-81EE-D4FC29245E2A}">
      <dgm:prSet/>
      <dgm:spPr/>
      <dgm:t>
        <a:bodyPr/>
        <a:lstStyle/>
        <a:p>
          <a:endParaRPr lang="en-US" sz="2400"/>
        </a:p>
      </dgm:t>
    </dgm:pt>
    <dgm:pt modelId="{5CFBB09B-A234-4462-9EF1-003CF737C34A}" type="sibTrans" cxnId="{80F5C1DA-4F27-453F-81EE-D4FC29245E2A}">
      <dgm:prSet/>
      <dgm:spPr/>
      <dgm:t>
        <a:bodyPr/>
        <a:lstStyle/>
        <a:p>
          <a:endParaRPr lang="en-US" sz="2400"/>
        </a:p>
      </dgm:t>
    </dgm:pt>
    <dgm:pt modelId="{FEE855AB-0AB6-481F-92D3-03C8E7F52D38}" type="pres">
      <dgm:prSet presAssocID="{7FCA1B85-8E96-4543-8FDE-1DC9434C1351}" presName="linear" presStyleCnt="0">
        <dgm:presLayoutVars>
          <dgm:animLvl val="lvl"/>
          <dgm:resizeHandles val="exact"/>
        </dgm:presLayoutVars>
      </dgm:prSet>
      <dgm:spPr/>
    </dgm:pt>
    <dgm:pt modelId="{9FE6B4CF-40F2-47F2-8147-9CA20E44EE0A}" type="pres">
      <dgm:prSet presAssocID="{65EE296A-630F-4EA9-A246-5162851FE0C0}" presName="parentText" presStyleLbl="node1" presStyleIdx="0" presStyleCnt="3">
        <dgm:presLayoutVars>
          <dgm:chMax val="0"/>
          <dgm:bulletEnabled val="1"/>
        </dgm:presLayoutVars>
      </dgm:prSet>
      <dgm:spPr/>
    </dgm:pt>
    <dgm:pt modelId="{3F0EE4BE-1174-48BF-B213-9ABD53FB1654}" type="pres">
      <dgm:prSet presAssocID="{091904FF-D023-46BB-8694-91D9696C58F4}" presName="spacer" presStyleCnt="0"/>
      <dgm:spPr/>
    </dgm:pt>
    <dgm:pt modelId="{96B24E08-D494-443B-BE38-F420D57B2281}" type="pres">
      <dgm:prSet presAssocID="{AD19887F-5290-4163-AF42-4F1A4CE462B3}" presName="parentText" presStyleLbl="node1" presStyleIdx="1" presStyleCnt="3">
        <dgm:presLayoutVars>
          <dgm:chMax val="0"/>
          <dgm:bulletEnabled val="1"/>
        </dgm:presLayoutVars>
      </dgm:prSet>
      <dgm:spPr/>
    </dgm:pt>
    <dgm:pt modelId="{421FDB3C-B746-4104-95B8-CA5FA9DDA148}" type="pres">
      <dgm:prSet presAssocID="{9E5A9904-9E27-4628-B2E7-74BE627CE158}" presName="spacer" presStyleCnt="0"/>
      <dgm:spPr/>
    </dgm:pt>
    <dgm:pt modelId="{7328EA60-4386-4DB2-869B-5CD19979E7DF}" type="pres">
      <dgm:prSet presAssocID="{B10426F8-0599-4052-946E-940261F75AF2}" presName="parentText" presStyleLbl="node1" presStyleIdx="2" presStyleCnt="3">
        <dgm:presLayoutVars>
          <dgm:chMax val="0"/>
          <dgm:bulletEnabled val="1"/>
        </dgm:presLayoutVars>
      </dgm:prSet>
      <dgm:spPr/>
    </dgm:pt>
    <dgm:pt modelId="{1B0EAEEB-BACA-4116-965C-561BCBE885C3}" type="pres">
      <dgm:prSet presAssocID="{B10426F8-0599-4052-946E-940261F75AF2}" presName="childText" presStyleLbl="revTx" presStyleIdx="0" presStyleCnt="1">
        <dgm:presLayoutVars>
          <dgm:bulletEnabled val="1"/>
        </dgm:presLayoutVars>
      </dgm:prSet>
      <dgm:spPr/>
    </dgm:pt>
  </dgm:ptLst>
  <dgm:cxnLst>
    <dgm:cxn modelId="{C5511004-5E94-413B-BD87-8750BB235AC1}" type="presOf" srcId="{4576104C-C738-46FE-A8BB-CCC1416B9B1C}" destId="{1B0EAEEB-BACA-4116-965C-561BCBE885C3}" srcOrd="0" destOrd="2" presId="urn:microsoft.com/office/officeart/2005/8/layout/vList2"/>
    <dgm:cxn modelId="{85D0922F-BBA7-42C4-81A2-70B8F8FAE806}" srcId="{7FCA1B85-8E96-4543-8FDE-1DC9434C1351}" destId="{65EE296A-630F-4EA9-A246-5162851FE0C0}" srcOrd="0" destOrd="0" parTransId="{F85953FD-6344-4963-BB52-21C4B9A55538}" sibTransId="{091904FF-D023-46BB-8694-91D9696C58F4}"/>
    <dgm:cxn modelId="{5DE61846-60A0-4604-A002-25CCE38745D2}" srcId="{B10426F8-0599-4052-946E-940261F75AF2}" destId="{FED21FB1-B84A-4A34-A432-914EB659E821}" srcOrd="0" destOrd="0" parTransId="{EE3BC07A-7A1A-4251-890C-C3A4AE53DA2A}" sibTransId="{E6113C0E-306A-412B-BFE4-386ED5183636}"/>
    <dgm:cxn modelId="{E83F786A-25AF-4139-8325-A8B8D63E1508}" srcId="{7FCA1B85-8E96-4543-8FDE-1DC9434C1351}" destId="{B10426F8-0599-4052-946E-940261F75AF2}" srcOrd="2" destOrd="0" parTransId="{821F572E-B5DD-4512-8C01-A126C07BF705}" sibTransId="{F62FC5C0-D0A6-4A96-9BDD-C0A258842915}"/>
    <dgm:cxn modelId="{B05BB16C-F758-4EDA-9A4A-378CF2D70F0E}" srcId="{B10426F8-0599-4052-946E-940261F75AF2}" destId="{0EF4F667-5590-4838-A3C9-5D09F9D325B5}" srcOrd="1" destOrd="0" parTransId="{745D7C3B-6A9F-47AF-9336-EE088BF8B060}" sibTransId="{9688015C-99E0-4FB0-BD8B-629A42B8EA7F}"/>
    <dgm:cxn modelId="{8E38007A-F735-40B4-8855-1C3A93911DF5}" type="presOf" srcId="{AD19887F-5290-4163-AF42-4F1A4CE462B3}" destId="{96B24E08-D494-443B-BE38-F420D57B2281}" srcOrd="0" destOrd="0" presId="urn:microsoft.com/office/officeart/2005/8/layout/vList2"/>
    <dgm:cxn modelId="{4140C87F-1602-4177-B298-FC3D59A44841}" type="presOf" srcId="{65EE296A-630F-4EA9-A246-5162851FE0C0}" destId="{9FE6B4CF-40F2-47F2-8147-9CA20E44EE0A}" srcOrd="0" destOrd="0" presId="urn:microsoft.com/office/officeart/2005/8/layout/vList2"/>
    <dgm:cxn modelId="{F90BB08D-0595-4F64-BA4D-C8771445FC25}" srcId="{7FCA1B85-8E96-4543-8FDE-1DC9434C1351}" destId="{AD19887F-5290-4163-AF42-4F1A4CE462B3}" srcOrd="1" destOrd="0" parTransId="{A18C00A2-6AAC-44CA-B66E-EC52CADA080E}" sibTransId="{9E5A9904-9E27-4628-B2E7-74BE627CE158}"/>
    <dgm:cxn modelId="{939979AA-5450-474C-86EB-9285FBB40F29}" type="presOf" srcId="{B10426F8-0599-4052-946E-940261F75AF2}" destId="{7328EA60-4386-4DB2-869B-5CD19979E7DF}" srcOrd="0" destOrd="0" presId="urn:microsoft.com/office/officeart/2005/8/layout/vList2"/>
    <dgm:cxn modelId="{F33BE8D9-9845-4C05-944B-8909838BFAD8}" type="presOf" srcId="{FED21FB1-B84A-4A34-A432-914EB659E821}" destId="{1B0EAEEB-BACA-4116-965C-561BCBE885C3}" srcOrd="0" destOrd="0" presId="urn:microsoft.com/office/officeart/2005/8/layout/vList2"/>
    <dgm:cxn modelId="{80F5C1DA-4F27-453F-81EE-D4FC29245E2A}" srcId="{B10426F8-0599-4052-946E-940261F75AF2}" destId="{4576104C-C738-46FE-A8BB-CCC1416B9B1C}" srcOrd="2" destOrd="0" parTransId="{6CDDDE36-7B07-4EC6-BFDC-D6627A169ECF}" sibTransId="{5CFBB09B-A234-4462-9EF1-003CF737C34A}"/>
    <dgm:cxn modelId="{7540FEEC-E50A-4B66-8658-E6BF7287E4B1}" type="presOf" srcId="{0EF4F667-5590-4838-A3C9-5D09F9D325B5}" destId="{1B0EAEEB-BACA-4116-965C-561BCBE885C3}" srcOrd="0" destOrd="1" presId="urn:microsoft.com/office/officeart/2005/8/layout/vList2"/>
    <dgm:cxn modelId="{3009D5EF-05B6-4061-A11A-8F776BC887FE}" type="presOf" srcId="{7FCA1B85-8E96-4543-8FDE-1DC9434C1351}" destId="{FEE855AB-0AB6-481F-92D3-03C8E7F52D38}" srcOrd="0" destOrd="0" presId="urn:microsoft.com/office/officeart/2005/8/layout/vList2"/>
    <dgm:cxn modelId="{F18147C2-5E91-4FE8-900F-AA344ABC63D5}" type="presParOf" srcId="{FEE855AB-0AB6-481F-92D3-03C8E7F52D38}" destId="{9FE6B4CF-40F2-47F2-8147-9CA20E44EE0A}" srcOrd="0" destOrd="0" presId="urn:microsoft.com/office/officeart/2005/8/layout/vList2"/>
    <dgm:cxn modelId="{42B4C9EB-A532-427F-A6F0-AA709F652CE6}" type="presParOf" srcId="{FEE855AB-0AB6-481F-92D3-03C8E7F52D38}" destId="{3F0EE4BE-1174-48BF-B213-9ABD53FB1654}" srcOrd="1" destOrd="0" presId="urn:microsoft.com/office/officeart/2005/8/layout/vList2"/>
    <dgm:cxn modelId="{916E1F73-213D-4BC1-9474-2D1141BB8DE5}" type="presParOf" srcId="{FEE855AB-0AB6-481F-92D3-03C8E7F52D38}" destId="{96B24E08-D494-443B-BE38-F420D57B2281}" srcOrd="2" destOrd="0" presId="urn:microsoft.com/office/officeart/2005/8/layout/vList2"/>
    <dgm:cxn modelId="{29B7F704-D709-4EDB-A912-6FA335A70F8C}" type="presParOf" srcId="{FEE855AB-0AB6-481F-92D3-03C8E7F52D38}" destId="{421FDB3C-B746-4104-95B8-CA5FA9DDA148}" srcOrd="3" destOrd="0" presId="urn:microsoft.com/office/officeart/2005/8/layout/vList2"/>
    <dgm:cxn modelId="{36500EE0-E01F-415C-920E-4109DA86E894}" type="presParOf" srcId="{FEE855AB-0AB6-481F-92D3-03C8E7F52D38}" destId="{7328EA60-4386-4DB2-869B-5CD19979E7DF}" srcOrd="4" destOrd="0" presId="urn:microsoft.com/office/officeart/2005/8/layout/vList2"/>
    <dgm:cxn modelId="{685C5132-021F-4BFC-A3C9-8F40FC4A3E2D}" type="presParOf" srcId="{FEE855AB-0AB6-481F-92D3-03C8E7F52D38}" destId="{1B0EAEEB-BACA-4116-965C-561BCBE885C3}"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74A01D1-D72D-4A4F-BBAC-ABF6F3B1B58A}"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F27FEB66-2ADD-4B32-98B0-47E721B46705}">
      <dgm:prSet custT="1"/>
      <dgm:spPr/>
      <dgm:t>
        <a:bodyPr/>
        <a:lstStyle/>
        <a:p>
          <a:r>
            <a:rPr lang="en-US" sz="2400"/>
            <a:t>Turn an existing tool into something more user friendly</a:t>
          </a:r>
        </a:p>
      </dgm:t>
    </dgm:pt>
    <dgm:pt modelId="{5D609CF6-F3CB-46B3-95A0-58E691ED7E2F}" type="parTrans" cxnId="{7A0A63D8-00D0-49CD-9E7A-682046C79110}">
      <dgm:prSet/>
      <dgm:spPr/>
      <dgm:t>
        <a:bodyPr/>
        <a:lstStyle/>
        <a:p>
          <a:endParaRPr lang="en-US" sz="2400"/>
        </a:p>
      </dgm:t>
    </dgm:pt>
    <dgm:pt modelId="{8809511A-461A-454A-B77D-49831DC4B49A}" type="sibTrans" cxnId="{7A0A63D8-00D0-49CD-9E7A-682046C79110}">
      <dgm:prSet/>
      <dgm:spPr/>
      <dgm:t>
        <a:bodyPr/>
        <a:lstStyle/>
        <a:p>
          <a:endParaRPr lang="en-US" sz="2400"/>
        </a:p>
      </dgm:t>
    </dgm:pt>
    <dgm:pt modelId="{8820F549-C1FC-4EA6-88C6-78A393F1A6DF}">
      <dgm:prSet custT="1"/>
      <dgm:spPr/>
      <dgm:t>
        <a:bodyPr/>
        <a:lstStyle/>
        <a:p>
          <a:r>
            <a:rPr lang="en-US" sz="2400"/>
            <a:t>Standard GUI controls can be used to gather input</a:t>
          </a:r>
        </a:p>
      </dgm:t>
    </dgm:pt>
    <dgm:pt modelId="{E15C3DF0-1C56-4A55-98FB-8755334DA02E}" type="parTrans" cxnId="{304422C4-F350-41F2-BF0D-C86C5261A42A}">
      <dgm:prSet/>
      <dgm:spPr/>
      <dgm:t>
        <a:bodyPr/>
        <a:lstStyle/>
        <a:p>
          <a:endParaRPr lang="en-US" sz="2400"/>
        </a:p>
      </dgm:t>
    </dgm:pt>
    <dgm:pt modelId="{E89A3E57-84CD-4966-8B9E-E261D52AD7B1}" type="sibTrans" cxnId="{304422C4-F350-41F2-BF0D-C86C5261A42A}">
      <dgm:prSet/>
      <dgm:spPr/>
      <dgm:t>
        <a:bodyPr/>
        <a:lstStyle/>
        <a:p>
          <a:endParaRPr lang="en-US" sz="2400"/>
        </a:p>
      </dgm:t>
    </dgm:pt>
    <dgm:pt modelId="{94046814-048B-4798-885E-C2EC3FC9F568}">
      <dgm:prSet custT="1"/>
      <dgm:spPr/>
      <dgm:t>
        <a:bodyPr/>
        <a:lstStyle/>
        <a:p>
          <a:r>
            <a:rPr lang="en-US" sz="2400"/>
            <a:t>WPF GUIs can adapt to screen resolutions and touch screens</a:t>
          </a:r>
        </a:p>
      </dgm:t>
    </dgm:pt>
    <dgm:pt modelId="{E932D8EB-70F8-495C-9685-4DBC18A6F209}" type="parTrans" cxnId="{530E9394-B96A-4D57-A41F-4C031782FA8C}">
      <dgm:prSet/>
      <dgm:spPr/>
      <dgm:t>
        <a:bodyPr/>
        <a:lstStyle/>
        <a:p>
          <a:endParaRPr lang="en-US" sz="2400"/>
        </a:p>
      </dgm:t>
    </dgm:pt>
    <dgm:pt modelId="{845DEC1B-D225-4B0E-8640-1861CCFA5694}" type="sibTrans" cxnId="{530E9394-B96A-4D57-A41F-4C031782FA8C}">
      <dgm:prSet/>
      <dgm:spPr/>
      <dgm:t>
        <a:bodyPr/>
        <a:lstStyle/>
        <a:p>
          <a:endParaRPr lang="en-US" sz="2400"/>
        </a:p>
      </dgm:t>
    </dgm:pt>
    <dgm:pt modelId="{A33AE872-8DEE-43B7-8208-8543EA0D1CC4}" type="pres">
      <dgm:prSet presAssocID="{174A01D1-D72D-4A4F-BBAC-ABF6F3B1B58A}" presName="linear" presStyleCnt="0">
        <dgm:presLayoutVars>
          <dgm:animLvl val="lvl"/>
          <dgm:resizeHandles val="exact"/>
        </dgm:presLayoutVars>
      </dgm:prSet>
      <dgm:spPr/>
    </dgm:pt>
    <dgm:pt modelId="{B8330A22-8275-4D8D-A5D9-D4AECEA02B3D}" type="pres">
      <dgm:prSet presAssocID="{F27FEB66-2ADD-4B32-98B0-47E721B46705}" presName="parentText" presStyleLbl="node1" presStyleIdx="0" presStyleCnt="3">
        <dgm:presLayoutVars>
          <dgm:chMax val="0"/>
          <dgm:bulletEnabled val="1"/>
        </dgm:presLayoutVars>
      </dgm:prSet>
      <dgm:spPr/>
    </dgm:pt>
    <dgm:pt modelId="{7BE46B25-C044-40E8-9C1B-F3547AC78AF9}" type="pres">
      <dgm:prSet presAssocID="{8809511A-461A-454A-B77D-49831DC4B49A}" presName="spacer" presStyleCnt="0"/>
      <dgm:spPr/>
    </dgm:pt>
    <dgm:pt modelId="{968DD822-1F7F-41A9-A8B3-D1AF2B1C7090}" type="pres">
      <dgm:prSet presAssocID="{8820F549-C1FC-4EA6-88C6-78A393F1A6DF}" presName="parentText" presStyleLbl="node1" presStyleIdx="1" presStyleCnt="3">
        <dgm:presLayoutVars>
          <dgm:chMax val="0"/>
          <dgm:bulletEnabled val="1"/>
        </dgm:presLayoutVars>
      </dgm:prSet>
      <dgm:spPr/>
    </dgm:pt>
    <dgm:pt modelId="{39154D2D-70F4-4586-96C7-2CFDC3C26746}" type="pres">
      <dgm:prSet presAssocID="{E89A3E57-84CD-4966-8B9E-E261D52AD7B1}" presName="spacer" presStyleCnt="0"/>
      <dgm:spPr/>
    </dgm:pt>
    <dgm:pt modelId="{5433A0D4-E8AC-4EA5-B954-5833F52DD8B2}" type="pres">
      <dgm:prSet presAssocID="{94046814-048B-4798-885E-C2EC3FC9F568}" presName="parentText" presStyleLbl="node1" presStyleIdx="2" presStyleCnt="3">
        <dgm:presLayoutVars>
          <dgm:chMax val="0"/>
          <dgm:bulletEnabled val="1"/>
        </dgm:presLayoutVars>
      </dgm:prSet>
      <dgm:spPr/>
    </dgm:pt>
  </dgm:ptLst>
  <dgm:cxnLst>
    <dgm:cxn modelId="{126D950A-902F-4130-8130-F3121CDFD325}" type="presOf" srcId="{94046814-048B-4798-885E-C2EC3FC9F568}" destId="{5433A0D4-E8AC-4EA5-B954-5833F52DD8B2}" srcOrd="0" destOrd="0" presId="urn:microsoft.com/office/officeart/2005/8/layout/vList2"/>
    <dgm:cxn modelId="{06797320-8C72-4417-9DFB-DD244DC76730}" type="presOf" srcId="{8820F549-C1FC-4EA6-88C6-78A393F1A6DF}" destId="{968DD822-1F7F-41A9-A8B3-D1AF2B1C7090}" srcOrd="0" destOrd="0" presId="urn:microsoft.com/office/officeart/2005/8/layout/vList2"/>
    <dgm:cxn modelId="{3AD6E573-CF5F-486F-9F26-93ABB4E400D1}" type="presOf" srcId="{174A01D1-D72D-4A4F-BBAC-ABF6F3B1B58A}" destId="{A33AE872-8DEE-43B7-8208-8543EA0D1CC4}" srcOrd="0" destOrd="0" presId="urn:microsoft.com/office/officeart/2005/8/layout/vList2"/>
    <dgm:cxn modelId="{93E83990-E372-4F42-961C-0386A8C1E58C}" type="presOf" srcId="{F27FEB66-2ADD-4B32-98B0-47E721B46705}" destId="{B8330A22-8275-4D8D-A5D9-D4AECEA02B3D}" srcOrd="0" destOrd="0" presId="urn:microsoft.com/office/officeart/2005/8/layout/vList2"/>
    <dgm:cxn modelId="{530E9394-B96A-4D57-A41F-4C031782FA8C}" srcId="{174A01D1-D72D-4A4F-BBAC-ABF6F3B1B58A}" destId="{94046814-048B-4798-885E-C2EC3FC9F568}" srcOrd="2" destOrd="0" parTransId="{E932D8EB-70F8-495C-9685-4DBC18A6F209}" sibTransId="{845DEC1B-D225-4B0E-8640-1861CCFA5694}"/>
    <dgm:cxn modelId="{304422C4-F350-41F2-BF0D-C86C5261A42A}" srcId="{174A01D1-D72D-4A4F-BBAC-ABF6F3B1B58A}" destId="{8820F549-C1FC-4EA6-88C6-78A393F1A6DF}" srcOrd="1" destOrd="0" parTransId="{E15C3DF0-1C56-4A55-98FB-8755334DA02E}" sibTransId="{E89A3E57-84CD-4966-8B9E-E261D52AD7B1}"/>
    <dgm:cxn modelId="{7A0A63D8-00D0-49CD-9E7A-682046C79110}" srcId="{174A01D1-D72D-4A4F-BBAC-ABF6F3B1B58A}" destId="{F27FEB66-2ADD-4B32-98B0-47E721B46705}" srcOrd="0" destOrd="0" parTransId="{5D609CF6-F3CB-46B3-95A0-58E691ED7E2F}" sibTransId="{8809511A-461A-454A-B77D-49831DC4B49A}"/>
    <dgm:cxn modelId="{87ED75DB-1EB1-489E-9E8B-FE1C66693658}" type="presParOf" srcId="{A33AE872-8DEE-43B7-8208-8543EA0D1CC4}" destId="{B8330A22-8275-4D8D-A5D9-D4AECEA02B3D}" srcOrd="0" destOrd="0" presId="urn:microsoft.com/office/officeart/2005/8/layout/vList2"/>
    <dgm:cxn modelId="{F3E26CB2-5E01-47D3-8127-D2FBAFA8F929}" type="presParOf" srcId="{A33AE872-8DEE-43B7-8208-8543EA0D1CC4}" destId="{7BE46B25-C044-40E8-9C1B-F3547AC78AF9}" srcOrd="1" destOrd="0" presId="urn:microsoft.com/office/officeart/2005/8/layout/vList2"/>
    <dgm:cxn modelId="{31BA244F-F97A-4F04-8020-D21210E675CA}" type="presParOf" srcId="{A33AE872-8DEE-43B7-8208-8543EA0D1CC4}" destId="{968DD822-1F7F-41A9-A8B3-D1AF2B1C7090}" srcOrd="2" destOrd="0" presId="urn:microsoft.com/office/officeart/2005/8/layout/vList2"/>
    <dgm:cxn modelId="{E3666F66-4932-468A-AE12-6E2FC1FF07D1}" type="presParOf" srcId="{A33AE872-8DEE-43B7-8208-8543EA0D1CC4}" destId="{39154D2D-70F4-4586-96C7-2CFDC3C26746}" srcOrd="3" destOrd="0" presId="urn:microsoft.com/office/officeart/2005/8/layout/vList2"/>
    <dgm:cxn modelId="{50A841EB-533C-4779-86E5-217C72D48A49}" type="presParOf" srcId="{A33AE872-8DEE-43B7-8208-8543EA0D1CC4}" destId="{5433A0D4-E8AC-4EA5-B954-5833F52DD8B2}" srcOrd="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7FCA1B85-8E96-4543-8FDE-1DC9434C1351}"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65EE296A-630F-4EA9-A246-5162851FE0C0}">
      <dgm:prSet/>
      <dgm:spPr/>
      <dgm:t>
        <a:bodyPr/>
        <a:lstStyle/>
        <a:p>
          <a:r>
            <a:rPr lang="en-US" b="1"/>
            <a:t>Easiest solution</a:t>
          </a:r>
        </a:p>
      </dgm:t>
    </dgm:pt>
    <dgm:pt modelId="{F85953FD-6344-4963-BB52-21C4B9A55538}" type="parTrans" cxnId="{85D0922F-BBA7-42C4-81A2-70B8F8FAE806}">
      <dgm:prSet/>
      <dgm:spPr/>
      <dgm:t>
        <a:bodyPr/>
        <a:lstStyle/>
        <a:p>
          <a:endParaRPr lang="en-US"/>
        </a:p>
      </dgm:t>
    </dgm:pt>
    <dgm:pt modelId="{091904FF-D023-46BB-8694-91D9696C58F4}" type="sibTrans" cxnId="{85D0922F-BBA7-42C4-81A2-70B8F8FAE806}">
      <dgm:prSet/>
      <dgm:spPr/>
      <dgm:t>
        <a:bodyPr/>
        <a:lstStyle/>
        <a:p>
          <a:endParaRPr lang="en-US"/>
        </a:p>
      </dgm:t>
    </dgm:pt>
    <dgm:pt modelId="{8A9BA45C-4517-4F13-9A2D-62F307451ABA}">
      <dgm:prSet/>
      <dgm:spPr>
        <a:solidFill>
          <a:schemeClr val="accent4">
            <a:lumMod val="75000"/>
          </a:schemeClr>
        </a:solidFill>
      </dgm:spPr>
      <dgm:t>
        <a:bodyPr/>
        <a:lstStyle/>
        <a:p>
          <a:r>
            <a:rPr lang="en-US" b="1"/>
            <a:t>Common Challenges</a:t>
          </a:r>
          <a:endParaRPr lang="en-US"/>
        </a:p>
      </dgm:t>
    </dgm:pt>
    <dgm:pt modelId="{340479CC-FE65-4A4B-8F4E-EED8674518A1}" type="parTrans" cxnId="{7B708F9F-F29B-4C64-8BBA-44160D20F7DE}">
      <dgm:prSet/>
      <dgm:spPr/>
      <dgm:t>
        <a:bodyPr/>
        <a:lstStyle/>
        <a:p>
          <a:endParaRPr lang="en-US"/>
        </a:p>
      </dgm:t>
    </dgm:pt>
    <dgm:pt modelId="{58B2976E-9BC1-4D42-9E4E-69B975F26C68}" type="sibTrans" cxnId="{7B708F9F-F29B-4C64-8BBA-44160D20F7DE}">
      <dgm:prSet/>
      <dgm:spPr/>
      <dgm:t>
        <a:bodyPr/>
        <a:lstStyle/>
        <a:p>
          <a:endParaRPr lang="en-US"/>
        </a:p>
      </dgm:t>
    </dgm:pt>
    <dgm:pt modelId="{DC397766-B773-491C-8161-D192B97774A8}">
      <dgm:prSet/>
      <dgm:spPr>
        <a:solidFill>
          <a:schemeClr val="accent3">
            <a:lumMod val="75000"/>
          </a:schemeClr>
        </a:solidFill>
      </dgm:spPr>
      <dgm:t>
        <a:bodyPr/>
        <a:lstStyle/>
        <a:p>
          <a:r>
            <a:rPr lang="en-US" b="1"/>
            <a:t>Updating</a:t>
          </a:r>
          <a:r>
            <a:rPr lang="en-US"/>
            <a:t> the GUI:</a:t>
          </a:r>
        </a:p>
      </dgm:t>
    </dgm:pt>
    <dgm:pt modelId="{1ECBE576-E3F9-4250-A63E-7D8BC11D9537}" type="parTrans" cxnId="{A6969B6C-229E-48AA-9AAF-9AC940CBC8C4}">
      <dgm:prSet/>
      <dgm:spPr/>
      <dgm:t>
        <a:bodyPr/>
        <a:lstStyle/>
        <a:p>
          <a:endParaRPr lang="en-US"/>
        </a:p>
      </dgm:t>
    </dgm:pt>
    <dgm:pt modelId="{C3669ED6-5235-46B4-B201-46A4F2E9181E}" type="sibTrans" cxnId="{A6969B6C-229E-48AA-9AAF-9AC940CBC8C4}">
      <dgm:prSet/>
      <dgm:spPr/>
      <dgm:t>
        <a:bodyPr/>
        <a:lstStyle/>
        <a:p>
          <a:endParaRPr lang="en-US"/>
        </a:p>
      </dgm:t>
    </dgm:pt>
    <dgm:pt modelId="{136EB459-5336-4CF9-AC1B-00AA1981FC14}">
      <dgm:prSet/>
      <dgm:spPr/>
      <dgm:t>
        <a:bodyPr/>
        <a:lstStyle/>
        <a:p>
          <a:r>
            <a:rPr lang="en-US" b="1"/>
            <a:t>Poor performance </a:t>
          </a:r>
          <a:r>
            <a:rPr lang="en-US"/>
            <a:t>likely</a:t>
          </a:r>
        </a:p>
      </dgm:t>
    </dgm:pt>
    <dgm:pt modelId="{8969C2C5-F3D2-4177-9161-040067EBF5EB}" type="parTrans" cxnId="{D6AF2FCB-265D-483E-87F7-BE1CF47EE349}">
      <dgm:prSet/>
      <dgm:spPr/>
      <dgm:t>
        <a:bodyPr/>
        <a:lstStyle/>
        <a:p>
          <a:endParaRPr lang="en-US"/>
        </a:p>
      </dgm:t>
    </dgm:pt>
    <dgm:pt modelId="{40AA4B91-F71B-4DFA-BE95-B64E2C9C94CC}" type="sibTrans" cxnId="{D6AF2FCB-265D-483E-87F7-BE1CF47EE349}">
      <dgm:prSet/>
      <dgm:spPr/>
      <dgm:t>
        <a:bodyPr/>
        <a:lstStyle/>
        <a:p>
          <a:endParaRPr lang="en-US"/>
        </a:p>
      </dgm:t>
    </dgm:pt>
    <dgm:pt modelId="{07F49978-497C-4E3E-BCD8-5703BC8D8DF0}">
      <dgm:prSet/>
      <dgm:spPr/>
      <dgm:t>
        <a:bodyPr/>
        <a:lstStyle/>
        <a:p>
          <a:r>
            <a:rPr lang="en-US"/>
            <a:t>Leverage a combination of </a:t>
          </a:r>
          <a:r>
            <a:rPr lang="en-US" b="1" i="1"/>
            <a:t>synchronized</a:t>
          </a:r>
          <a:r>
            <a:rPr lang="en-US" b="1"/>
            <a:t> hash tables</a:t>
          </a:r>
          <a:r>
            <a:rPr lang="en-US"/>
            <a:t>, </a:t>
          </a:r>
          <a:r>
            <a:rPr lang="en-US" b="1"/>
            <a:t>dispatchers</a:t>
          </a:r>
          <a:r>
            <a:rPr lang="en-US"/>
            <a:t>, and </a:t>
          </a:r>
          <a:r>
            <a:rPr lang="en-US" b="1"/>
            <a:t>events</a:t>
          </a:r>
          <a:r>
            <a:rPr lang="en-US"/>
            <a:t> </a:t>
          </a:r>
        </a:p>
      </dgm:t>
    </dgm:pt>
    <dgm:pt modelId="{51B29AA1-FA7C-4022-8CCE-F23ED7924390}" type="parTrans" cxnId="{046BBB35-58E2-46EB-8398-BCE0E625EE54}">
      <dgm:prSet/>
      <dgm:spPr/>
      <dgm:t>
        <a:bodyPr/>
        <a:lstStyle/>
        <a:p>
          <a:endParaRPr lang="en-US"/>
        </a:p>
      </dgm:t>
    </dgm:pt>
    <dgm:pt modelId="{EB5F0478-9923-4756-840A-734BE80ADBC4}" type="sibTrans" cxnId="{046BBB35-58E2-46EB-8398-BCE0E625EE54}">
      <dgm:prSet/>
      <dgm:spPr/>
      <dgm:t>
        <a:bodyPr/>
        <a:lstStyle/>
        <a:p>
          <a:endParaRPr lang="en-US"/>
        </a:p>
      </dgm:t>
    </dgm:pt>
    <dgm:pt modelId="{29D98858-2121-41A6-B8E2-6B4297946F21}">
      <dgm:prSet/>
      <dgm:spPr/>
      <dgm:t>
        <a:bodyPr/>
        <a:lstStyle/>
        <a:p>
          <a:r>
            <a:rPr lang="en-US" b="1"/>
            <a:t>Not covered </a:t>
          </a:r>
          <a:r>
            <a:rPr lang="en-US"/>
            <a:t>in this workshop</a:t>
          </a:r>
        </a:p>
      </dgm:t>
    </dgm:pt>
    <dgm:pt modelId="{349DB2A2-61F8-4F15-974E-D96C1D9BADD2}" type="parTrans" cxnId="{09FCD275-C58D-451E-9499-E925D270DEB4}">
      <dgm:prSet/>
      <dgm:spPr/>
      <dgm:t>
        <a:bodyPr/>
        <a:lstStyle/>
        <a:p>
          <a:endParaRPr lang="en-US"/>
        </a:p>
      </dgm:t>
    </dgm:pt>
    <dgm:pt modelId="{E8C05AB9-42A2-4673-88FD-7D704DF5956A}" type="sibTrans" cxnId="{09FCD275-C58D-451E-9499-E925D270DEB4}">
      <dgm:prSet/>
      <dgm:spPr/>
      <dgm:t>
        <a:bodyPr/>
        <a:lstStyle/>
        <a:p>
          <a:endParaRPr lang="en-US"/>
        </a:p>
      </dgm:t>
    </dgm:pt>
    <dgm:pt modelId="{5A4BB861-6594-4A20-ACEB-BCC66CFF68B6}">
      <dgm:prSet/>
      <dgm:spPr/>
      <dgm:t>
        <a:bodyPr/>
        <a:lstStyle/>
        <a:p>
          <a:r>
            <a:rPr lang="en-US"/>
            <a:t>Execute code blocks in a separate </a:t>
          </a:r>
          <a:r>
            <a:rPr lang="en-US" err="1"/>
            <a:t>runspace</a:t>
          </a:r>
          <a:r>
            <a:rPr lang="en-US"/>
            <a:t> where the </a:t>
          </a:r>
          <a:r>
            <a:rPr lang="en-US" b="1"/>
            <a:t>output</a:t>
          </a:r>
          <a:r>
            <a:rPr lang="en-US"/>
            <a:t> will be </a:t>
          </a:r>
          <a:r>
            <a:rPr lang="en-US" b="1"/>
            <a:t>outside</a:t>
          </a:r>
          <a:r>
            <a:rPr lang="en-US"/>
            <a:t> of the GUI</a:t>
          </a:r>
        </a:p>
      </dgm:t>
    </dgm:pt>
    <dgm:pt modelId="{B6B8EBAC-AECD-49FB-96A8-4ADC71879A91}" type="parTrans" cxnId="{76CE37C6-7947-4D10-B3D0-31255F11A46B}">
      <dgm:prSet/>
      <dgm:spPr/>
      <dgm:t>
        <a:bodyPr/>
        <a:lstStyle/>
        <a:p>
          <a:endParaRPr lang="en-US"/>
        </a:p>
      </dgm:t>
    </dgm:pt>
    <dgm:pt modelId="{476C89F6-E854-4556-8244-25A18BB4AB84}" type="sibTrans" cxnId="{76CE37C6-7947-4D10-B3D0-31255F11A46B}">
      <dgm:prSet/>
      <dgm:spPr/>
      <dgm:t>
        <a:bodyPr/>
        <a:lstStyle/>
        <a:p>
          <a:endParaRPr lang="en-US"/>
        </a:p>
      </dgm:t>
    </dgm:pt>
    <dgm:pt modelId="{7F8F16B9-4ACA-43B5-BF8E-4E222C5648B9}">
      <dgm:prSet/>
      <dgm:spPr/>
      <dgm:t>
        <a:bodyPr/>
        <a:lstStyle/>
        <a:p>
          <a:r>
            <a:rPr lang="en-US" b="1" err="1"/>
            <a:t>EndInvoke</a:t>
          </a:r>
          <a:r>
            <a:rPr lang="en-US" b="1"/>
            <a:t>() </a:t>
          </a:r>
          <a:r>
            <a:rPr lang="en-US"/>
            <a:t>will </a:t>
          </a:r>
          <a:r>
            <a:rPr lang="en-US" b="1"/>
            <a:t>lock up </a:t>
          </a:r>
          <a:r>
            <a:rPr lang="en-US"/>
            <a:t>the GUI, so waiting for the </a:t>
          </a:r>
          <a:r>
            <a:rPr lang="en-US" err="1"/>
            <a:t>runspace</a:t>
          </a:r>
          <a:r>
            <a:rPr lang="en-US"/>
            <a:t> the usual way is not a solution</a:t>
          </a:r>
        </a:p>
      </dgm:t>
    </dgm:pt>
    <dgm:pt modelId="{CF11F9F8-E928-4260-A4CF-9FA22E1FA639}" type="parTrans" cxnId="{2BF6E1EB-D1CC-41D6-A792-A0A7585DD273}">
      <dgm:prSet/>
      <dgm:spPr/>
      <dgm:t>
        <a:bodyPr/>
        <a:lstStyle/>
        <a:p>
          <a:endParaRPr lang="en-US"/>
        </a:p>
      </dgm:t>
    </dgm:pt>
    <dgm:pt modelId="{80E9EB44-43E9-4F66-9B97-6575B732D7C9}" type="sibTrans" cxnId="{2BF6E1EB-D1CC-41D6-A792-A0A7585DD273}">
      <dgm:prSet/>
      <dgm:spPr/>
      <dgm:t>
        <a:bodyPr/>
        <a:lstStyle/>
        <a:p>
          <a:endParaRPr lang="en-US"/>
        </a:p>
      </dgm:t>
    </dgm:pt>
    <dgm:pt modelId="{B0B91F37-8ECB-40F9-87A5-99B0D3FA7068}" type="pres">
      <dgm:prSet presAssocID="{7FCA1B85-8E96-4543-8FDE-1DC9434C1351}" presName="linear" presStyleCnt="0">
        <dgm:presLayoutVars>
          <dgm:dir/>
          <dgm:animLvl val="lvl"/>
          <dgm:resizeHandles val="exact"/>
        </dgm:presLayoutVars>
      </dgm:prSet>
      <dgm:spPr/>
    </dgm:pt>
    <dgm:pt modelId="{E96D8C07-9F39-46A7-B927-F6CA6990965B}" type="pres">
      <dgm:prSet presAssocID="{65EE296A-630F-4EA9-A246-5162851FE0C0}" presName="parentLin" presStyleCnt="0"/>
      <dgm:spPr/>
    </dgm:pt>
    <dgm:pt modelId="{1861E038-FFD4-4E22-8CC9-912384730B99}" type="pres">
      <dgm:prSet presAssocID="{65EE296A-630F-4EA9-A246-5162851FE0C0}" presName="parentLeftMargin" presStyleLbl="node1" presStyleIdx="0" presStyleCnt="3"/>
      <dgm:spPr/>
    </dgm:pt>
    <dgm:pt modelId="{8FA0024D-A284-40A6-A304-2D981717B5B7}" type="pres">
      <dgm:prSet presAssocID="{65EE296A-630F-4EA9-A246-5162851FE0C0}" presName="parentText" presStyleLbl="node1" presStyleIdx="0" presStyleCnt="3">
        <dgm:presLayoutVars>
          <dgm:chMax val="0"/>
          <dgm:bulletEnabled val="1"/>
        </dgm:presLayoutVars>
      </dgm:prSet>
      <dgm:spPr/>
    </dgm:pt>
    <dgm:pt modelId="{E1C6AD95-7E90-46A6-B6E7-CE359182568E}" type="pres">
      <dgm:prSet presAssocID="{65EE296A-630F-4EA9-A246-5162851FE0C0}" presName="negativeSpace" presStyleCnt="0"/>
      <dgm:spPr/>
    </dgm:pt>
    <dgm:pt modelId="{83C0EF46-85F4-48D0-9A34-3099C7F4CF4B}" type="pres">
      <dgm:prSet presAssocID="{65EE296A-630F-4EA9-A246-5162851FE0C0}" presName="childText" presStyleLbl="conFgAcc1" presStyleIdx="0" presStyleCnt="3">
        <dgm:presLayoutVars>
          <dgm:bulletEnabled val="1"/>
        </dgm:presLayoutVars>
      </dgm:prSet>
      <dgm:spPr/>
    </dgm:pt>
    <dgm:pt modelId="{F39CFA14-D9B4-462D-AD4F-159A511791E4}" type="pres">
      <dgm:prSet presAssocID="{091904FF-D023-46BB-8694-91D9696C58F4}" presName="spaceBetweenRectangles" presStyleCnt="0"/>
      <dgm:spPr/>
    </dgm:pt>
    <dgm:pt modelId="{853055DC-0225-4AF5-BA7F-8C9893BA216D}" type="pres">
      <dgm:prSet presAssocID="{8A9BA45C-4517-4F13-9A2D-62F307451ABA}" presName="parentLin" presStyleCnt="0"/>
      <dgm:spPr/>
    </dgm:pt>
    <dgm:pt modelId="{BA435C8B-4EE6-4A10-9904-B6DFFAC0B7C2}" type="pres">
      <dgm:prSet presAssocID="{8A9BA45C-4517-4F13-9A2D-62F307451ABA}" presName="parentLeftMargin" presStyleLbl="node1" presStyleIdx="0" presStyleCnt="3"/>
      <dgm:spPr/>
    </dgm:pt>
    <dgm:pt modelId="{1C31A1D8-57F9-42AF-B278-4EA4EF8594EB}" type="pres">
      <dgm:prSet presAssocID="{8A9BA45C-4517-4F13-9A2D-62F307451ABA}" presName="parentText" presStyleLbl="node1" presStyleIdx="1" presStyleCnt="3">
        <dgm:presLayoutVars>
          <dgm:chMax val="0"/>
          <dgm:bulletEnabled val="1"/>
        </dgm:presLayoutVars>
      </dgm:prSet>
      <dgm:spPr/>
    </dgm:pt>
    <dgm:pt modelId="{62368A22-AFC7-4251-A6A0-2C4B8E884D5D}" type="pres">
      <dgm:prSet presAssocID="{8A9BA45C-4517-4F13-9A2D-62F307451ABA}" presName="negativeSpace" presStyleCnt="0"/>
      <dgm:spPr/>
    </dgm:pt>
    <dgm:pt modelId="{02BA8D73-32B3-4E0D-83F3-2E58467767E1}" type="pres">
      <dgm:prSet presAssocID="{8A9BA45C-4517-4F13-9A2D-62F307451ABA}" presName="childText" presStyleLbl="conFgAcc1" presStyleIdx="1" presStyleCnt="3">
        <dgm:presLayoutVars>
          <dgm:bulletEnabled val="1"/>
        </dgm:presLayoutVars>
      </dgm:prSet>
      <dgm:spPr/>
    </dgm:pt>
    <dgm:pt modelId="{47C97030-A1C0-4B19-995C-51F6E722A411}" type="pres">
      <dgm:prSet presAssocID="{58B2976E-9BC1-4D42-9E4E-69B975F26C68}" presName="spaceBetweenRectangles" presStyleCnt="0"/>
      <dgm:spPr/>
    </dgm:pt>
    <dgm:pt modelId="{1F3324A3-0D49-41FA-A054-B148F3F14C9E}" type="pres">
      <dgm:prSet presAssocID="{DC397766-B773-491C-8161-D192B97774A8}" presName="parentLin" presStyleCnt="0"/>
      <dgm:spPr/>
    </dgm:pt>
    <dgm:pt modelId="{F8D66746-B300-4ADD-B5C1-BBE7E1ADF9FE}" type="pres">
      <dgm:prSet presAssocID="{DC397766-B773-491C-8161-D192B97774A8}" presName="parentLeftMargin" presStyleLbl="node1" presStyleIdx="1" presStyleCnt="3"/>
      <dgm:spPr/>
    </dgm:pt>
    <dgm:pt modelId="{094F19F5-60E9-44F8-9948-910C0AE80018}" type="pres">
      <dgm:prSet presAssocID="{DC397766-B773-491C-8161-D192B97774A8}" presName="parentText" presStyleLbl="node1" presStyleIdx="2" presStyleCnt="3">
        <dgm:presLayoutVars>
          <dgm:chMax val="0"/>
          <dgm:bulletEnabled val="1"/>
        </dgm:presLayoutVars>
      </dgm:prSet>
      <dgm:spPr/>
    </dgm:pt>
    <dgm:pt modelId="{2B588727-F2BD-4DC6-AFC7-B76CF4993DC7}" type="pres">
      <dgm:prSet presAssocID="{DC397766-B773-491C-8161-D192B97774A8}" presName="negativeSpace" presStyleCnt="0"/>
      <dgm:spPr/>
    </dgm:pt>
    <dgm:pt modelId="{DD1BFB31-E6C6-489F-B01F-1E5CD252B672}" type="pres">
      <dgm:prSet presAssocID="{DC397766-B773-491C-8161-D192B97774A8}" presName="childText" presStyleLbl="conFgAcc1" presStyleIdx="2" presStyleCnt="3">
        <dgm:presLayoutVars>
          <dgm:bulletEnabled val="1"/>
        </dgm:presLayoutVars>
      </dgm:prSet>
      <dgm:spPr/>
    </dgm:pt>
  </dgm:ptLst>
  <dgm:cxnLst>
    <dgm:cxn modelId="{49B0C313-7BE5-4A38-BC69-25575A96B25E}" type="presOf" srcId="{136EB459-5336-4CF9-AC1B-00AA1981FC14}" destId="{DD1BFB31-E6C6-489F-B01F-1E5CD252B672}" srcOrd="0" destOrd="1" presId="urn:microsoft.com/office/officeart/2005/8/layout/list1"/>
    <dgm:cxn modelId="{5BF0CC1A-F9CC-4F35-A0FD-10EDB9990146}" type="presOf" srcId="{65EE296A-630F-4EA9-A246-5162851FE0C0}" destId="{8FA0024D-A284-40A6-A304-2D981717B5B7}" srcOrd="1" destOrd="0" presId="urn:microsoft.com/office/officeart/2005/8/layout/list1"/>
    <dgm:cxn modelId="{85D0922F-BBA7-42C4-81A2-70B8F8FAE806}" srcId="{7FCA1B85-8E96-4543-8FDE-1DC9434C1351}" destId="{65EE296A-630F-4EA9-A246-5162851FE0C0}" srcOrd="0" destOrd="0" parTransId="{F85953FD-6344-4963-BB52-21C4B9A55538}" sibTransId="{091904FF-D023-46BB-8694-91D9696C58F4}"/>
    <dgm:cxn modelId="{046BBB35-58E2-46EB-8398-BCE0E625EE54}" srcId="{DC397766-B773-491C-8161-D192B97774A8}" destId="{07F49978-497C-4E3E-BCD8-5703BC8D8DF0}" srcOrd="0" destOrd="0" parTransId="{51B29AA1-FA7C-4022-8CCE-F23ED7924390}" sibTransId="{EB5F0478-9923-4756-840A-734BE80ADBC4}"/>
    <dgm:cxn modelId="{1CCE003B-29E1-4DF9-AF91-D766594283E2}" type="presOf" srcId="{29D98858-2121-41A6-B8E2-6B4297946F21}" destId="{DD1BFB31-E6C6-489F-B01F-1E5CD252B672}" srcOrd="0" destOrd="2" presId="urn:microsoft.com/office/officeart/2005/8/layout/list1"/>
    <dgm:cxn modelId="{A6969B6C-229E-48AA-9AAF-9AC940CBC8C4}" srcId="{7FCA1B85-8E96-4543-8FDE-1DC9434C1351}" destId="{DC397766-B773-491C-8161-D192B97774A8}" srcOrd="2" destOrd="0" parTransId="{1ECBE576-E3F9-4250-A63E-7D8BC11D9537}" sibTransId="{C3669ED6-5235-46B4-B201-46A4F2E9181E}"/>
    <dgm:cxn modelId="{F749BF6F-C309-417B-878F-9FFAC537DD61}" type="presOf" srcId="{8A9BA45C-4517-4F13-9A2D-62F307451ABA}" destId="{BA435C8B-4EE6-4A10-9904-B6DFFAC0B7C2}" srcOrd="0" destOrd="0" presId="urn:microsoft.com/office/officeart/2005/8/layout/list1"/>
    <dgm:cxn modelId="{49E56C75-1CFD-48D7-B5F2-4BBCCE88254E}" type="presOf" srcId="{07F49978-497C-4E3E-BCD8-5703BC8D8DF0}" destId="{DD1BFB31-E6C6-489F-B01F-1E5CD252B672}" srcOrd="0" destOrd="0" presId="urn:microsoft.com/office/officeart/2005/8/layout/list1"/>
    <dgm:cxn modelId="{09FCD275-C58D-451E-9499-E925D270DEB4}" srcId="{DC397766-B773-491C-8161-D192B97774A8}" destId="{29D98858-2121-41A6-B8E2-6B4297946F21}" srcOrd="2" destOrd="0" parTransId="{349DB2A2-61F8-4F15-974E-D96C1D9BADD2}" sibTransId="{E8C05AB9-42A2-4673-88FD-7D704DF5956A}"/>
    <dgm:cxn modelId="{BEC3C378-A093-426A-8BDF-66E77C668E62}" type="presOf" srcId="{DC397766-B773-491C-8161-D192B97774A8}" destId="{F8D66746-B300-4ADD-B5C1-BBE7E1ADF9FE}" srcOrd="0" destOrd="0" presId="urn:microsoft.com/office/officeart/2005/8/layout/list1"/>
    <dgm:cxn modelId="{8C8ACD85-A4DA-464B-A22C-B4ED14B88A1D}" type="presOf" srcId="{7F8F16B9-4ACA-43B5-BF8E-4E222C5648B9}" destId="{02BA8D73-32B3-4E0D-83F3-2E58467767E1}" srcOrd="0" destOrd="0" presId="urn:microsoft.com/office/officeart/2005/8/layout/list1"/>
    <dgm:cxn modelId="{2F833A8B-3732-4666-9935-C88D8536A4FD}" type="presOf" srcId="{DC397766-B773-491C-8161-D192B97774A8}" destId="{094F19F5-60E9-44F8-9948-910C0AE80018}" srcOrd="1" destOrd="0" presId="urn:microsoft.com/office/officeart/2005/8/layout/list1"/>
    <dgm:cxn modelId="{49F1DB91-49B1-432F-99C8-EA10FF89AD2A}" type="presOf" srcId="{8A9BA45C-4517-4F13-9A2D-62F307451ABA}" destId="{1C31A1D8-57F9-42AF-B278-4EA4EF8594EB}" srcOrd="1" destOrd="0" presId="urn:microsoft.com/office/officeart/2005/8/layout/list1"/>
    <dgm:cxn modelId="{7B708F9F-F29B-4C64-8BBA-44160D20F7DE}" srcId="{7FCA1B85-8E96-4543-8FDE-1DC9434C1351}" destId="{8A9BA45C-4517-4F13-9A2D-62F307451ABA}" srcOrd="1" destOrd="0" parTransId="{340479CC-FE65-4A4B-8F4E-EED8674518A1}" sibTransId="{58B2976E-9BC1-4D42-9E4E-69B975F26C68}"/>
    <dgm:cxn modelId="{0D49B6A8-D62E-467A-81C0-A1D32420D5E3}" type="presOf" srcId="{65EE296A-630F-4EA9-A246-5162851FE0C0}" destId="{1861E038-FFD4-4E22-8CC9-912384730B99}" srcOrd="0" destOrd="0" presId="urn:microsoft.com/office/officeart/2005/8/layout/list1"/>
    <dgm:cxn modelId="{76CE37C6-7947-4D10-B3D0-31255F11A46B}" srcId="{65EE296A-630F-4EA9-A246-5162851FE0C0}" destId="{5A4BB861-6594-4A20-ACEB-BCC66CFF68B6}" srcOrd="0" destOrd="0" parTransId="{B6B8EBAC-AECD-49FB-96A8-4ADC71879A91}" sibTransId="{476C89F6-E854-4556-8244-25A18BB4AB84}"/>
    <dgm:cxn modelId="{D6AF2FCB-265D-483E-87F7-BE1CF47EE349}" srcId="{DC397766-B773-491C-8161-D192B97774A8}" destId="{136EB459-5336-4CF9-AC1B-00AA1981FC14}" srcOrd="1" destOrd="0" parTransId="{8969C2C5-F3D2-4177-9161-040067EBF5EB}" sibTransId="{40AA4B91-F71B-4DFA-BE95-B64E2C9C94CC}"/>
    <dgm:cxn modelId="{F71579D3-8924-4960-A042-3CD66C080DC0}" type="presOf" srcId="{7FCA1B85-8E96-4543-8FDE-1DC9434C1351}" destId="{B0B91F37-8ECB-40F9-87A5-99B0D3FA7068}" srcOrd="0" destOrd="0" presId="urn:microsoft.com/office/officeart/2005/8/layout/list1"/>
    <dgm:cxn modelId="{2BF6E1EB-D1CC-41D6-A792-A0A7585DD273}" srcId="{8A9BA45C-4517-4F13-9A2D-62F307451ABA}" destId="{7F8F16B9-4ACA-43B5-BF8E-4E222C5648B9}" srcOrd="0" destOrd="0" parTransId="{CF11F9F8-E928-4260-A4CF-9FA22E1FA639}" sibTransId="{80E9EB44-43E9-4F66-9B97-6575B732D7C9}"/>
    <dgm:cxn modelId="{5F0810F5-114E-463D-9AA2-998363D7A404}" type="presOf" srcId="{5A4BB861-6594-4A20-ACEB-BCC66CFF68B6}" destId="{83C0EF46-85F4-48D0-9A34-3099C7F4CF4B}" srcOrd="0" destOrd="0" presId="urn:microsoft.com/office/officeart/2005/8/layout/list1"/>
    <dgm:cxn modelId="{E568E98F-0352-49B0-A57C-3660499FB903}" type="presParOf" srcId="{B0B91F37-8ECB-40F9-87A5-99B0D3FA7068}" destId="{E96D8C07-9F39-46A7-B927-F6CA6990965B}" srcOrd="0" destOrd="0" presId="urn:microsoft.com/office/officeart/2005/8/layout/list1"/>
    <dgm:cxn modelId="{2EBEAD60-6B4B-437F-9613-B6082F395C90}" type="presParOf" srcId="{E96D8C07-9F39-46A7-B927-F6CA6990965B}" destId="{1861E038-FFD4-4E22-8CC9-912384730B99}" srcOrd="0" destOrd="0" presId="urn:microsoft.com/office/officeart/2005/8/layout/list1"/>
    <dgm:cxn modelId="{9A50D0D5-4792-485C-B369-178143B72651}" type="presParOf" srcId="{E96D8C07-9F39-46A7-B927-F6CA6990965B}" destId="{8FA0024D-A284-40A6-A304-2D981717B5B7}" srcOrd="1" destOrd="0" presId="urn:microsoft.com/office/officeart/2005/8/layout/list1"/>
    <dgm:cxn modelId="{9BEAE822-5479-43F1-AA5A-DA50717D74C1}" type="presParOf" srcId="{B0B91F37-8ECB-40F9-87A5-99B0D3FA7068}" destId="{E1C6AD95-7E90-46A6-B6E7-CE359182568E}" srcOrd="1" destOrd="0" presId="urn:microsoft.com/office/officeart/2005/8/layout/list1"/>
    <dgm:cxn modelId="{DD81C6E0-368E-485A-AC81-26AAB6553D01}" type="presParOf" srcId="{B0B91F37-8ECB-40F9-87A5-99B0D3FA7068}" destId="{83C0EF46-85F4-48D0-9A34-3099C7F4CF4B}" srcOrd="2" destOrd="0" presId="urn:microsoft.com/office/officeart/2005/8/layout/list1"/>
    <dgm:cxn modelId="{38B78752-902F-4667-9F13-A8F573869EBB}" type="presParOf" srcId="{B0B91F37-8ECB-40F9-87A5-99B0D3FA7068}" destId="{F39CFA14-D9B4-462D-AD4F-159A511791E4}" srcOrd="3" destOrd="0" presId="urn:microsoft.com/office/officeart/2005/8/layout/list1"/>
    <dgm:cxn modelId="{EE2D1246-8C74-48C1-B80B-8126DF0E7D05}" type="presParOf" srcId="{B0B91F37-8ECB-40F9-87A5-99B0D3FA7068}" destId="{853055DC-0225-4AF5-BA7F-8C9893BA216D}" srcOrd="4" destOrd="0" presId="urn:microsoft.com/office/officeart/2005/8/layout/list1"/>
    <dgm:cxn modelId="{7C1DBA5A-C51E-430A-AFDD-3A604B475F02}" type="presParOf" srcId="{853055DC-0225-4AF5-BA7F-8C9893BA216D}" destId="{BA435C8B-4EE6-4A10-9904-B6DFFAC0B7C2}" srcOrd="0" destOrd="0" presId="urn:microsoft.com/office/officeart/2005/8/layout/list1"/>
    <dgm:cxn modelId="{A7F68569-3F66-45BA-A7D8-A8C9CA64EEA3}" type="presParOf" srcId="{853055DC-0225-4AF5-BA7F-8C9893BA216D}" destId="{1C31A1D8-57F9-42AF-B278-4EA4EF8594EB}" srcOrd="1" destOrd="0" presId="urn:microsoft.com/office/officeart/2005/8/layout/list1"/>
    <dgm:cxn modelId="{5F918225-D553-4CCA-916D-A33168504132}" type="presParOf" srcId="{B0B91F37-8ECB-40F9-87A5-99B0D3FA7068}" destId="{62368A22-AFC7-4251-A6A0-2C4B8E884D5D}" srcOrd="5" destOrd="0" presId="urn:microsoft.com/office/officeart/2005/8/layout/list1"/>
    <dgm:cxn modelId="{2E46084F-A584-4DFE-A8CF-6C991CA0FBC0}" type="presParOf" srcId="{B0B91F37-8ECB-40F9-87A5-99B0D3FA7068}" destId="{02BA8D73-32B3-4E0D-83F3-2E58467767E1}" srcOrd="6" destOrd="0" presId="urn:microsoft.com/office/officeart/2005/8/layout/list1"/>
    <dgm:cxn modelId="{33646D7E-7B57-40A0-9C13-0C071895A6CC}" type="presParOf" srcId="{B0B91F37-8ECB-40F9-87A5-99B0D3FA7068}" destId="{47C97030-A1C0-4B19-995C-51F6E722A411}" srcOrd="7" destOrd="0" presId="urn:microsoft.com/office/officeart/2005/8/layout/list1"/>
    <dgm:cxn modelId="{DC23F17F-4D06-44A6-94A2-F99B04CD00E8}" type="presParOf" srcId="{B0B91F37-8ECB-40F9-87A5-99B0D3FA7068}" destId="{1F3324A3-0D49-41FA-A054-B148F3F14C9E}" srcOrd="8" destOrd="0" presId="urn:microsoft.com/office/officeart/2005/8/layout/list1"/>
    <dgm:cxn modelId="{00AB99AE-FCE6-4975-8C87-4E1148B7FC43}" type="presParOf" srcId="{1F3324A3-0D49-41FA-A054-B148F3F14C9E}" destId="{F8D66746-B300-4ADD-B5C1-BBE7E1ADF9FE}" srcOrd="0" destOrd="0" presId="urn:microsoft.com/office/officeart/2005/8/layout/list1"/>
    <dgm:cxn modelId="{A8E31E59-5677-4CD3-9B83-C4FF6ACEF9B4}" type="presParOf" srcId="{1F3324A3-0D49-41FA-A054-B148F3F14C9E}" destId="{094F19F5-60E9-44F8-9948-910C0AE80018}" srcOrd="1" destOrd="0" presId="urn:microsoft.com/office/officeart/2005/8/layout/list1"/>
    <dgm:cxn modelId="{017CABB2-98FB-4C3A-A081-37537BF953F6}" type="presParOf" srcId="{B0B91F37-8ECB-40F9-87A5-99B0D3FA7068}" destId="{2B588727-F2BD-4DC6-AFC7-B76CF4993DC7}" srcOrd="9" destOrd="0" presId="urn:microsoft.com/office/officeart/2005/8/layout/list1"/>
    <dgm:cxn modelId="{8B67A8B3-9CD8-4561-A9E0-CB2B1FC3A822}" type="presParOf" srcId="{B0B91F37-8ECB-40F9-87A5-99B0D3FA7068}" destId="{DD1BFB31-E6C6-489F-B01F-1E5CD252B672}" srcOrd="10"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8B0F27B-25E1-4BA8-8E44-CB07CD27F540}" type="doc">
      <dgm:prSet loTypeId="urn:microsoft.com/office/officeart/2005/8/layout/pList1" loCatId="list" qsTypeId="urn:microsoft.com/office/officeart/2005/8/quickstyle/simple1" qsCatId="simple" csTypeId="urn:microsoft.com/office/officeart/2005/8/colors/colorful1" csCatId="colorful" phldr="1"/>
      <dgm:spPr/>
      <dgm:t>
        <a:bodyPr/>
        <a:lstStyle/>
        <a:p>
          <a:endParaRPr lang="en-US"/>
        </a:p>
      </dgm:t>
    </dgm:pt>
    <dgm:pt modelId="{DCAB880F-315C-4249-80F2-7B13CC1383A5}">
      <dgm:prSet custT="1"/>
      <dgm:spPr/>
      <dgm:t>
        <a:bodyPr/>
        <a:lstStyle/>
        <a:p>
          <a:r>
            <a:rPr lang="en-US" sz="2400" b="1"/>
            <a:t>GUI editor </a:t>
          </a:r>
          <a:r>
            <a:rPr lang="en-US" sz="2400"/>
            <a:t>for XAML code in real time</a:t>
          </a:r>
        </a:p>
      </dgm:t>
    </dgm:pt>
    <dgm:pt modelId="{5FFD9857-6263-4085-9415-3BA224418D56}" type="parTrans" cxnId="{E1DD5ACD-CC32-4173-8DB4-C8B65B3606F5}">
      <dgm:prSet/>
      <dgm:spPr/>
      <dgm:t>
        <a:bodyPr/>
        <a:lstStyle/>
        <a:p>
          <a:endParaRPr lang="en-US" sz="2400"/>
        </a:p>
      </dgm:t>
    </dgm:pt>
    <dgm:pt modelId="{7980160D-ECF3-45DB-B28C-30CFF1C762F3}" type="sibTrans" cxnId="{E1DD5ACD-CC32-4173-8DB4-C8B65B3606F5}">
      <dgm:prSet/>
      <dgm:spPr/>
      <dgm:t>
        <a:bodyPr/>
        <a:lstStyle/>
        <a:p>
          <a:endParaRPr lang="en-US" sz="2400"/>
        </a:p>
      </dgm:t>
    </dgm:pt>
    <dgm:pt modelId="{CE4AAC69-B66D-40BC-93E4-BAE45254981A}">
      <dgm:prSet custT="1"/>
      <dgm:spPr/>
      <dgm:t>
        <a:bodyPr/>
        <a:lstStyle/>
        <a:p>
          <a:r>
            <a:rPr lang="en-US" sz="2400" b="1"/>
            <a:t>Drag and drop </a:t>
          </a:r>
          <a:r>
            <a:rPr lang="en-US" sz="2400"/>
            <a:t>functionality for adding new controls</a:t>
          </a:r>
        </a:p>
      </dgm:t>
    </dgm:pt>
    <dgm:pt modelId="{90792201-CF67-4B14-9F90-5BFA855EB396}" type="parTrans" cxnId="{3F73952A-0FE8-452E-8B32-F2CFF6A72877}">
      <dgm:prSet/>
      <dgm:spPr/>
      <dgm:t>
        <a:bodyPr/>
        <a:lstStyle/>
        <a:p>
          <a:endParaRPr lang="en-US" sz="2400"/>
        </a:p>
      </dgm:t>
    </dgm:pt>
    <dgm:pt modelId="{825CA840-EC00-4838-88AD-1E33861C4E78}" type="sibTrans" cxnId="{3F73952A-0FE8-452E-8B32-F2CFF6A72877}">
      <dgm:prSet/>
      <dgm:spPr/>
      <dgm:t>
        <a:bodyPr/>
        <a:lstStyle/>
        <a:p>
          <a:endParaRPr lang="en-US" sz="2400"/>
        </a:p>
      </dgm:t>
    </dgm:pt>
    <dgm:pt modelId="{F838A790-122E-4CE3-AD82-31B2FCD37460}">
      <dgm:prSet custT="1"/>
      <dgm:spPr/>
      <dgm:t>
        <a:bodyPr/>
        <a:lstStyle/>
        <a:p>
          <a:r>
            <a:rPr lang="en-US" sz="2400"/>
            <a:t>Install </a:t>
          </a:r>
          <a:r>
            <a:rPr lang="en-US" sz="2400" b="1"/>
            <a:t>.NET desktop development </a:t>
          </a:r>
          <a:r>
            <a:rPr lang="en-US" sz="2400"/>
            <a:t>feature for WPF XAML</a:t>
          </a:r>
        </a:p>
      </dgm:t>
    </dgm:pt>
    <dgm:pt modelId="{E030C294-C488-41FB-9702-2D4857332C9B}" type="parTrans" cxnId="{25BAC170-3A1E-434A-93A1-488FD3175137}">
      <dgm:prSet/>
      <dgm:spPr/>
      <dgm:t>
        <a:bodyPr/>
        <a:lstStyle/>
        <a:p>
          <a:endParaRPr lang="en-US" sz="2400"/>
        </a:p>
      </dgm:t>
    </dgm:pt>
    <dgm:pt modelId="{38F5FB01-ECB2-4FD4-B592-89535A666DFB}" type="sibTrans" cxnId="{25BAC170-3A1E-434A-93A1-488FD3175137}">
      <dgm:prSet/>
      <dgm:spPr/>
      <dgm:t>
        <a:bodyPr/>
        <a:lstStyle/>
        <a:p>
          <a:endParaRPr lang="en-US" sz="2400"/>
        </a:p>
      </dgm:t>
    </dgm:pt>
    <dgm:pt modelId="{E4016D93-2517-432E-8F6C-3952E4B69403}" type="pres">
      <dgm:prSet presAssocID="{78B0F27B-25E1-4BA8-8E44-CB07CD27F540}" presName="Name0" presStyleCnt="0">
        <dgm:presLayoutVars>
          <dgm:dir/>
          <dgm:resizeHandles val="exact"/>
        </dgm:presLayoutVars>
      </dgm:prSet>
      <dgm:spPr/>
    </dgm:pt>
    <dgm:pt modelId="{69C4A8E1-0E92-4D31-A451-FF6E768ED532}" type="pres">
      <dgm:prSet presAssocID="{DCAB880F-315C-4249-80F2-7B13CC1383A5}" presName="compNode" presStyleCnt="0"/>
      <dgm:spPr/>
    </dgm:pt>
    <dgm:pt modelId="{7534B6D7-A903-400F-8178-B43D2CFF5A22}" type="pres">
      <dgm:prSet presAssocID="{DCAB880F-315C-4249-80F2-7B13CC1383A5}" presName="pictRect" presStyleLbl="node1" presStyleIdx="0" presStyleCnt="3" custScaleX="84128" custScaleY="84128" custLinFactNeighborY="6413"/>
      <dgm:spPr>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15550" r="15550"/>
          </a:stretch>
        </a:blipFill>
      </dgm:spPr>
      <dgm:extLst>
        <a:ext uri="{E40237B7-FDA0-4F09-8148-C483321AD2D9}">
          <dgm14:cNvPr xmlns:dgm14="http://schemas.microsoft.com/office/drawing/2010/diagram" id="0" name="" descr="Palette"/>
        </a:ext>
      </dgm:extLst>
    </dgm:pt>
    <dgm:pt modelId="{1090F5B3-856E-4C13-B862-A1D2DC32E6BC}" type="pres">
      <dgm:prSet presAssocID="{DCAB880F-315C-4249-80F2-7B13CC1383A5}" presName="textRect" presStyleLbl="revTx" presStyleIdx="0" presStyleCnt="3">
        <dgm:presLayoutVars>
          <dgm:bulletEnabled val="1"/>
        </dgm:presLayoutVars>
      </dgm:prSet>
      <dgm:spPr/>
    </dgm:pt>
    <dgm:pt modelId="{02599D9C-05F5-4A9E-BB43-121292A88E69}" type="pres">
      <dgm:prSet presAssocID="{7980160D-ECF3-45DB-B28C-30CFF1C762F3}" presName="sibTrans" presStyleLbl="sibTrans2D1" presStyleIdx="0" presStyleCnt="0"/>
      <dgm:spPr/>
    </dgm:pt>
    <dgm:pt modelId="{05D72DC6-742D-49EC-87A8-30142D09D36B}" type="pres">
      <dgm:prSet presAssocID="{CE4AAC69-B66D-40BC-93E4-BAE45254981A}" presName="compNode" presStyleCnt="0"/>
      <dgm:spPr/>
    </dgm:pt>
    <dgm:pt modelId="{8E481453-4F6D-4D17-A4E7-3BB0549944A9}" type="pres">
      <dgm:prSet presAssocID="{CE4AAC69-B66D-40BC-93E4-BAE45254981A}" presName="pictRect" presStyleLbl="node1" presStyleIdx="1" presStyleCnt="3" custScaleX="84128" custScaleY="84128" custLinFactNeighborY="6413"/>
      <dgm:spPr>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15550" r="15550"/>
          </a:stretch>
        </a:blipFill>
      </dgm:spPr>
      <dgm:extLst>
        <a:ext uri="{E40237B7-FDA0-4F09-8148-C483321AD2D9}">
          <dgm14:cNvPr xmlns:dgm14="http://schemas.microsoft.com/office/drawing/2010/diagram" id="0" name="" descr="Mouse with solid fill"/>
        </a:ext>
      </dgm:extLst>
    </dgm:pt>
    <dgm:pt modelId="{C76200B5-D5FF-4407-8A28-59D9CD249A53}" type="pres">
      <dgm:prSet presAssocID="{CE4AAC69-B66D-40BC-93E4-BAE45254981A}" presName="textRect" presStyleLbl="revTx" presStyleIdx="1" presStyleCnt="3">
        <dgm:presLayoutVars>
          <dgm:bulletEnabled val="1"/>
        </dgm:presLayoutVars>
      </dgm:prSet>
      <dgm:spPr/>
    </dgm:pt>
    <dgm:pt modelId="{6884527D-7E52-4655-8BB1-46B8E923395A}" type="pres">
      <dgm:prSet presAssocID="{825CA840-EC00-4838-88AD-1E33861C4E78}" presName="sibTrans" presStyleLbl="sibTrans2D1" presStyleIdx="0" presStyleCnt="0"/>
      <dgm:spPr/>
    </dgm:pt>
    <dgm:pt modelId="{F7ECAA0D-5A5A-4EA9-8402-D93358F43314}" type="pres">
      <dgm:prSet presAssocID="{F838A790-122E-4CE3-AD82-31B2FCD37460}" presName="compNode" presStyleCnt="0"/>
      <dgm:spPr/>
    </dgm:pt>
    <dgm:pt modelId="{87A42E0C-7796-41CE-95AB-C685C097D68D}" type="pres">
      <dgm:prSet presAssocID="{F838A790-122E-4CE3-AD82-31B2FCD37460}" presName="pictRect" presStyleLbl="node1" presStyleIdx="2" presStyleCnt="3" custScaleX="84128" custScaleY="84128" custLinFactNeighborY="6413"/>
      <dgm:spPr>
        <a:blipFill dpi="0" rotWithShape="1">
          <a:blip xmlns:r="http://schemas.openxmlformats.org/officeDocument/2006/relationships" r:embed="rId5">
            <a:extLst>
              <a:ext uri="{96DAC541-7B7A-43D3-8B79-37D633B846F1}">
                <asvg:svgBlip xmlns:asvg="http://schemas.microsoft.com/office/drawing/2016/SVG/main" r:embed="rId6"/>
              </a:ext>
            </a:extLst>
          </a:blip>
          <a:srcRect/>
          <a:stretch>
            <a:fillRect l="15550" r="15550"/>
          </a:stretch>
        </a:blipFill>
      </dgm:spPr>
      <dgm:extLst>
        <a:ext uri="{E40237B7-FDA0-4F09-8148-C483321AD2D9}">
          <dgm14:cNvPr xmlns:dgm14="http://schemas.microsoft.com/office/drawing/2010/diagram" id="0" name="" descr="Single gear with solid fill"/>
        </a:ext>
      </dgm:extLst>
    </dgm:pt>
    <dgm:pt modelId="{611F9EEF-440C-4784-8CDD-BD3528EFF8B9}" type="pres">
      <dgm:prSet presAssocID="{F838A790-122E-4CE3-AD82-31B2FCD37460}" presName="textRect" presStyleLbl="revTx" presStyleIdx="2" presStyleCnt="3">
        <dgm:presLayoutVars>
          <dgm:bulletEnabled val="1"/>
        </dgm:presLayoutVars>
      </dgm:prSet>
      <dgm:spPr/>
    </dgm:pt>
  </dgm:ptLst>
  <dgm:cxnLst>
    <dgm:cxn modelId="{3E587B05-3E85-4623-ADB0-4DBDC312CC33}" type="presOf" srcId="{825CA840-EC00-4838-88AD-1E33861C4E78}" destId="{6884527D-7E52-4655-8BB1-46B8E923395A}" srcOrd="0" destOrd="0" presId="urn:microsoft.com/office/officeart/2005/8/layout/pList1"/>
    <dgm:cxn modelId="{3F73952A-0FE8-452E-8B32-F2CFF6A72877}" srcId="{78B0F27B-25E1-4BA8-8E44-CB07CD27F540}" destId="{CE4AAC69-B66D-40BC-93E4-BAE45254981A}" srcOrd="1" destOrd="0" parTransId="{90792201-CF67-4B14-9F90-5BFA855EB396}" sibTransId="{825CA840-EC00-4838-88AD-1E33861C4E78}"/>
    <dgm:cxn modelId="{B106EC3F-3E4F-4CAE-A1CF-2325C704AF98}" type="presOf" srcId="{CE4AAC69-B66D-40BC-93E4-BAE45254981A}" destId="{C76200B5-D5FF-4407-8A28-59D9CD249A53}" srcOrd="0" destOrd="0" presId="urn:microsoft.com/office/officeart/2005/8/layout/pList1"/>
    <dgm:cxn modelId="{349F2A66-9A71-45D2-BEDE-74CAB216D3FA}" type="presOf" srcId="{7980160D-ECF3-45DB-B28C-30CFF1C762F3}" destId="{02599D9C-05F5-4A9E-BB43-121292A88E69}" srcOrd="0" destOrd="0" presId="urn:microsoft.com/office/officeart/2005/8/layout/pList1"/>
    <dgm:cxn modelId="{B5273F6F-59D8-490F-9EAB-FC420796A953}" type="presOf" srcId="{78B0F27B-25E1-4BA8-8E44-CB07CD27F540}" destId="{E4016D93-2517-432E-8F6C-3952E4B69403}" srcOrd="0" destOrd="0" presId="urn:microsoft.com/office/officeart/2005/8/layout/pList1"/>
    <dgm:cxn modelId="{25BAC170-3A1E-434A-93A1-488FD3175137}" srcId="{78B0F27B-25E1-4BA8-8E44-CB07CD27F540}" destId="{F838A790-122E-4CE3-AD82-31B2FCD37460}" srcOrd="2" destOrd="0" parTransId="{E030C294-C488-41FB-9702-2D4857332C9B}" sibTransId="{38F5FB01-ECB2-4FD4-B592-89535A666DFB}"/>
    <dgm:cxn modelId="{2C2AC286-41CE-4BC3-99C4-EC3E94C35960}" type="presOf" srcId="{DCAB880F-315C-4249-80F2-7B13CC1383A5}" destId="{1090F5B3-856E-4C13-B862-A1D2DC32E6BC}" srcOrd="0" destOrd="0" presId="urn:microsoft.com/office/officeart/2005/8/layout/pList1"/>
    <dgm:cxn modelId="{8AE62CBB-B4AB-4A6C-82FC-3432502CC471}" type="presOf" srcId="{F838A790-122E-4CE3-AD82-31B2FCD37460}" destId="{611F9EEF-440C-4784-8CDD-BD3528EFF8B9}" srcOrd="0" destOrd="0" presId="urn:microsoft.com/office/officeart/2005/8/layout/pList1"/>
    <dgm:cxn modelId="{E1DD5ACD-CC32-4173-8DB4-C8B65B3606F5}" srcId="{78B0F27B-25E1-4BA8-8E44-CB07CD27F540}" destId="{DCAB880F-315C-4249-80F2-7B13CC1383A5}" srcOrd="0" destOrd="0" parTransId="{5FFD9857-6263-4085-9415-3BA224418D56}" sibTransId="{7980160D-ECF3-45DB-B28C-30CFF1C762F3}"/>
    <dgm:cxn modelId="{47B94A01-D1DB-4D46-AA72-CB46216C7105}" type="presParOf" srcId="{E4016D93-2517-432E-8F6C-3952E4B69403}" destId="{69C4A8E1-0E92-4D31-A451-FF6E768ED532}" srcOrd="0" destOrd="0" presId="urn:microsoft.com/office/officeart/2005/8/layout/pList1"/>
    <dgm:cxn modelId="{7C8995A6-04EB-4E30-8163-41E04FA6FA1A}" type="presParOf" srcId="{69C4A8E1-0E92-4D31-A451-FF6E768ED532}" destId="{7534B6D7-A903-400F-8178-B43D2CFF5A22}" srcOrd="0" destOrd="0" presId="urn:microsoft.com/office/officeart/2005/8/layout/pList1"/>
    <dgm:cxn modelId="{EEC1A762-0CC0-423A-85B1-E8C883D3B841}" type="presParOf" srcId="{69C4A8E1-0E92-4D31-A451-FF6E768ED532}" destId="{1090F5B3-856E-4C13-B862-A1D2DC32E6BC}" srcOrd="1" destOrd="0" presId="urn:microsoft.com/office/officeart/2005/8/layout/pList1"/>
    <dgm:cxn modelId="{A76F2B25-F9A0-44E7-B534-B46C355E84E3}" type="presParOf" srcId="{E4016D93-2517-432E-8F6C-3952E4B69403}" destId="{02599D9C-05F5-4A9E-BB43-121292A88E69}" srcOrd="1" destOrd="0" presId="urn:microsoft.com/office/officeart/2005/8/layout/pList1"/>
    <dgm:cxn modelId="{AFE14859-9E72-4025-B5B4-0CE1F692F7FB}" type="presParOf" srcId="{E4016D93-2517-432E-8F6C-3952E4B69403}" destId="{05D72DC6-742D-49EC-87A8-30142D09D36B}" srcOrd="2" destOrd="0" presId="urn:microsoft.com/office/officeart/2005/8/layout/pList1"/>
    <dgm:cxn modelId="{F409E8D4-B3C7-4554-AA8E-F9D93746617B}" type="presParOf" srcId="{05D72DC6-742D-49EC-87A8-30142D09D36B}" destId="{8E481453-4F6D-4D17-A4E7-3BB0549944A9}" srcOrd="0" destOrd="0" presId="urn:microsoft.com/office/officeart/2005/8/layout/pList1"/>
    <dgm:cxn modelId="{5D2D9BDB-88BA-4E24-A5F6-B84F4A5910CE}" type="presParOf" srcId="{05D72DC6-742D-49EC-87A8-30142D09D36B}" destId="{C76200B5-D5FF-4407-8A28-59D9CD249A53}" srcOrd="1" destOrd="0" presId="urn:microsoft.com/office/officeart/2005/8/layout/pList1"/>
    <dgm:cxn modelId="{6E68AFED-1E95-42A4-91DA-B44EE5D92050}" type="presParOf" srcId="{E4016D93-2517-432E-8F6C-3952E4B69403}" destId="{6884527D-7E52-4655-8BB1-46B8E923395A}" srcOrd="3" destOrd="0" presId="urn:microsoft.com/office/officeart/2005/8/layout/pList1"/>
    <dgm:cxn modelId="{3E801E1D-977D-4372-900B-910DEDFB7C0D}" type="presParOf" srcId="{E4016D93-2517-432E-8F6C-3952E4B69403}" destId="{F7ECAA0D-5A5A-4EA9-8402-D93358F43314}" srcOrd="4" destOrd="0" presId="urn:microsoft.com/office/officeart/2005/8/layout/pList1"/>
    <dgm:cxn modelId="{8A1DAC48-71F8-4FA1-8B52-5FB4006FEF90}" type="presParOf" srcId="{F7ECAA0D-5A5A-4EA9-8402-D93358F43314}" destId="{87A42E0C-7796-41CE-95AB-C685C097D68D}" srcOrd="0" destOrd="0" presId="urn:microsoft.com/office/officeart/2005/8/layout/pList1"/>
    <dgm:cxn modelId="{DD9AE17F-FADF-44F0-B7B1-797D8F45DFB3}" type="presParOf" srcId="{F7ECAA0D-5A5A-4EA9-8402-D93358F43314}" destId="{611F9EEF-440C-4784-8CDD-BD3528EFF8B9}" srcOrd="1" destOrd="0" presId="urn:microsoft.com/office/officeart/2005/8/layout/p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F8BD1F4-9F4C-4D8F-89F6-D7A4C3B69726}"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16263382-05C9-4F00-97A9-A96CABA6D742}">
      <dgm:prSet/>
      <dgm:spPr/>
      <dgm:t>
        <a:bodyPr/>
        <a:lstStyle/>
        <a:p>
          <a:r>
            <a:rPr lang="en-US"/>
            <a:t>Visual Studio Community</a:t>
          </a:r>
        </a:p>
      </dgm:t>
    </dgm:pt>
    <dgm:pt modelId="{A2AFC420-B834-4F14-9F21-87658B58D8F2}" type="parTrans" cxnId="{1DBF9819-AB9B-4331-A84C-3CB4770000EC}">
      <dgm:prSet/>
      <dgm:spPr/>
      <dgm:t>
        <a:bodyPr/>
        <a:lstStyle/>
        <a:p>
          <a:endParaRPr lang="en-US"/>
        </a:p>
      </dgm:t>
    </dgm:pt>
    <dgm:pt modelId="{6C6ACF7E-B48D-4FFD-B956-0ADF1B859D71}" type="sibTrans" cxnId="{1DBF9819-AB9B-4331-A84C-3CB4770000EC}">
      <dgm:prSet/>
      <dgm:spPr/>
      <dgm:t>
        <a:bodyPr/>
        <a:lstStyle/>
        <a:p>
          <a:endParaRPr lang="en-US"/>
        </a:p>
      </dgm:t>
    </dgm:pt>
    <dgm:pt modelId="{E8E1E95F-C70C-40C4-8A4B-F3209FF501A5}">
      <dgm:prSet/>
      <dgm:spPr/>
      <dgm:t>
        <a:bodyPr/>
        <a:lstStyle/>
        <a:p>
          <a:r>
            <a:rPr lang="en-US"/>
            <a:t>Free for </a:t>
          </a:r>
          <a:r>
            <a:rPr lang="en-US" b="1"/>
            <a:t>non-enterprise</a:t>
          </a:r>
          <a:r>
            <a:rPr lang="en-US"/>
            <a:t>, education, or open-source projects</a:t>
          </a:r>
        </a:p>
      </dgm:t>
    </dgm:pt>
    <dgm:pt modelId="{2344E10C-6E88-4496-A4C8-03EEA78B5C8A}" type="parTrans" cxnId="{FEAB37ED-67B2-444F-B77F-228CE514E0AF}">
      <dgm:prSet/>
      <dgm:spPr/>
      <dgm:t>
        <a:bodyPr/>
        <a:lstStyle/>
        <a:p>
          <a:endParaRPr lang="en-US"/>
        </a:p>
      </dgm:t>
    </dgm:pt>
    <dgm:pt modelId="{CDC4FE63-28B7-472F-9ED3-1BE9574C7B99}" type="sibTrans" cxnId="{FEAB37ED-67B2-444F-B77F-228CE514E0AF}">
      <dgm:prSet/>
      <dgm:spPr/>
      <dgm:t>
        <a:bodyPr/>
        <a:lstStyle/>
        <a:p>
          <a:endParaRPr lang="en-US"/>
        </a:p>
      </dgm:t>
    </dgm:pt>
    <dgm:pt modelId="{A96B575A-4CAE-47F2-AC69-A833E9104A4A}">
      <dgm:prSet/>
      <dgm:spPr/>
      <dgm:t>
        <a:bodyPr/>
        <a:lstStyle/>
        <a:p>
          <a:r>
            <a:rPr lang="en-US"/>
            <a:t>Visual Studio Professional</a:t>
          </a:r>
        </a:p>
      </dgm:t>
    </dgm:pt>
    <dgm:pt modelId="{9355BC29-22F7-4DEE-8FB4-ACA3C5C18FEC}" type="parTrans" cxnId="{81A22621-F9B3-4F15-B321-1A2AD388C1D3}">
      <dgm:prSet/>
      <dgm:spPr/>
      <dgm:t>
        <a:bodyPr/>
        <a:lstStyle/>
        <a:p>
          <a:endParaRPr lang="en-US"/>
        </a:p>
      </dgm:t>
    </dgm:pt>
    <dgm:pt modelId="{C6DFBA7C-7C4B-46E3-92F5-380D29F4DF31}" type="sibTrans" cxnId="{81A22621-F9B3-4F15-B321-1A2AD388C1D3}">
      <dgm:prSet/>
      <dgm:spPr/>
      <dgm:t>
        <a:bodyPr/>
        <a:lstStyle/>
        <a:p>
          <a:endParaRPr lang="en-US"/>
        </a:p>
      </dgm:t>
    </dgm:pt>
    <dgm:pt modelId="{58BAA607-E5C3-4B2E-BB98-5D4ABD4072F6}">
      <dgm:prSet/>
      <dgm:spPr/>
      <dgm:t>
        <a:bodyPr/>
        <a:lstStyle/>
        <a:p>
          <a:r>
            <a:rPr lang="en-US"/>
            <a:t>Built for </a:t>
          </a:r>
          <a:r>
            <a:rPr lang="en-US" b="1"/>
            <a:t>Enterprise </a:t>
          </a:r>
          <a:r>
            <a:rPr lang="en-US" b="0"/>
            <a:t>use</a:t>
          </a:r>
          <a:endParaRPr lang="en-US" b="1"/>
        </a:p>
      </dgm:t>
    </dgm:pt>
    <dgm:pt modelId="{59145567-4499-4014-9FE0-2898DDB34439}" type="parTrans" cxnId="{DBA04741-5818-40CD-8541-75891318807A}">
      <dgm:prSet/>
      <dgm:spPr/>
      <dgm:t>
        <a:bodyPr/>
        <a:lstStyle/>
        <a:p>
          <a:endParaRPr lang="en-US"/>
        </a:p>
      </dgm:t>
    </dgm:pt>
    <dgm:pt modelId="{2F8CDA57-E3A7-4B52-9E97-C4457244F283}" type="sibTrans" cxnId="{DBA04741-5818-40CD-8541-75891318807A}">
      <dgm:prSet/>
      <dgm:spPr/>
      <dgm:t>
        <a:bodyPr/>
        <a:lstStyle/>
        <a:p>
          <a:endParaRPr lang="en-US"/>
        </a:p>
      </dgm:t>
    </dgm:pt>
    <dgm:pt modelId="{3DFA2B4E-3C99-4FBF-8EA8-4B58E094D465}">
      <dgm:prSet/>
      <dgm:spPr/>
      <dgm:t>
        <a:bodyPr/>
        <a:lstStyle/>
        <a:p>
          <a:r>
            <a:rPr lang="en-US"/>
            <a:t>Visual Studio Enterprise</a:t>
          </a:r>
        </a:p>
      </dgm:t>
    </dgm:pt>
    <dgm:pt modelId="{1B3EEA22-BD90-4BA0-B09F-131E19574FAD}" type="parTrans" cxnId="{2BD7B8DB-6F1E-4194-8D86-8FA2FB9886D8}">
      <dgm:prSet/>
      <dgm:spPr/>
      <dgm:t>
        <a:bodyPr/>
        <a:lstStyle/>
        <a:p>
          <a:endParaRPr lang="en-US"/>
        </a:p>
      </dgm:t>
    </dgm:pt>
    <dgm:pt modelId="{ACC3BB1C-24BC-44F8-8B0C-BCB0644C1561}" type="sibTrans" cxnId="{2BD7B8DB-6F1E-4194-8D86-8FA2FB9886D8}">
      <dgm:prSet/>
      <dgm:spPr/>
      <dgm:t>
        <a:bodyPr/>
        <a:lstStyle/>
        <a:p>
          <a:endParaRPr lang="en-US"/>
        </a:p>
      </dgm:t>
    </dgm:pt>
    <dgm:pt modelId="{9FC5CED2-2B89-4378-908A-010709936FE3}">
      <dgm:prSet/>
      <dgm:spPr/>
      <dgm:t>
        <a:bodyPr/>
        <a:lstStyle/>
        <a:p>
          <a:r>
            <a:rPr lang="en-US"/>
            <a:t>Extra features </a:t>
          </a:r>
          <a:r>
            <a:rPr lang="en-US" b="1"/>
            <a:t>unnecessary</a:t>
          </a:r>
          <a:r>
            <a:rPr lang="en-US"/>
            <a:t> for WPF GUIs</a:t>
          </a:r>
        </a:p>
      </dgm:t>
    </dgm:pt>
    <dgm:pt modelId="{91ADEC52-4D86-4C81-A938-37E2EFB65CAF}" type="parTrans" cxnId="{3070C54B-CB41-4505-8EB4-7B1D6393C237}">
      <dgm:prSet/>
      <dgm:spPr/>
      <dgm:t>
        <a:bodyPr/>
        <a:lstStyle/>
        <a:p>
          <a:endParaRPr lang="en-US"/>
        </a:p>
      </dgm:t>
    </dgm:pt>
    <dgm:pt modelId="{79DC8AE6-4AD0-4106-BBF8-774E5B18AB25}" type="sibTrans" cxnId="{3070C54B-CB41-4505-8EB4-7B1D6393C237}">
      <dgm:prSet/>
      <dgm:spPr/>
      <dgm:t>
        <a:bodyPr/>
        <a:lstStyle/>
        <a:p>
          <a:endParaRPr lang="en-US"/>
        </a:p>
      </dgm:t>
    </dgm:pt>
    <dgm:pt modelId="{490A309D-EDE2-4A3D-A426-0458120345DE}" type="pres">
      <dgm:prSet presAssocID="{9F8BD1F4-9F4C-4D8F-89F6-D7A4C3B69726}" presName="linear" presStyleCnt="0">
        <dgm:presLayoutVars>
          <dgm:dir/>
          <dgm:animLvl val="lvl"/>
          <dgm:resizeHandles val="exact"/>
        </dgm:presLayoutVars>
      </dgm:prSet>
      <dgm:spPr/>
    </dgm:pt>
    <dgm:pt modelId="{BA52CF61-1A27-4C38-ADAB-86FBCB92B8CB}" type="pres">
      <dgm:prSet presAssocID="{16263382-05C9-4F00-97A9-A96CABA6D742}" presName="parentLin" presStyleCnt="0"/>
      <dgm:spPr/>
    </dgm:pt>
    <dgm:pt modelId="{8746F458-34B4-48B5-9C2E-3FB3F09CC4CD}" type="pres">
      <dgm:prSet presAssocID="{16263382-05C9-4F00-97A9-A96CABA6D742}" presName="parentLeftMargin" presStyleLbl="node1" presStyleIdx="0" presStyleCnt="3"/>
      <dgm:spPr/>
    </dgm:pt>
    <dgm:pt modelId="{A25F29A8-2F34-49B3-BEB6-C03709FBE3C6}" type="pres">
      <dgm:prSet presAssocID="{16263382-05C9-4F00-97A9-A96CABA6D742}" presName="parentText" presStyleLbl="node1" presStyleIdx="0" presStyleCnt="3">
        <dgm:presLayoutVars>
          <dgm:chMax val="0"/>
          <dgm:bulletEnabled val="1"/>
        </dgm:presLayoutVars>
      </dgm:prSet>
      <dgm:spPr/>
    </dgm:pt>
    <dgm:pt modelId="{25E07883-F38A-41F6-9825-E520818E4549}" type="pres">
      <dgm:prSet presAssocID="{16263382-05C9-4F00-97A9-A96CABA6D742}" presName="negativeSpace" presStyleCnt="0"/>
      <dgm:spPr/>
    </dgm:pt>
    <dgm:pt modelId="{308CD6E7-8F8B-42C0-AEA3-9D3E76DA9D52}" type="pres">
      <dgm:prSet presAssocID="{16263382-05C9-4F00-97A9-A96CABA6D742}" presName="childText" presStyleLbl="conFgAcc1" presStyleIdx="0" presStyleCnt="3">
        <dgm:presLayoutVars>
          <dgm:bulletEnabled val="1"/>
        </dgm:presLayoutVars>
      </dgm:prSet>
      <dgm:spPr/>
    </dgm:pt>
    <dgm:pt modelId="{CE0CA68F-ABFA-425C-87BD-02EF0817E594}" type="pres">
      <dgm:prSet presAssocID="{6C6ACF7E-B48D-4FFD-B956-0ADF1B859D71}" presName="spaceBetweenRectangles" presStyleCnt="0"/>
      <dgm:spPr/>
    </dgm:pt>
    <dgm:pt modelId="{229FFD1B-05D2-48D0-A792-FDCD2227D280}" type="pres">
      <dgm:prSet presAssocID="{A96B575A-4CAE-47F2-AC69-A833E9104A4A}" presName="parentLin" presStyleCnt="0"/>
      <dgm:spPr/>
    </dgm:pt>
    <dgm:pt modelId="{C16A3044-3221-4E8C-9B81-6448CFA68A95}" type="pres">
      <dgm:prSet presAssocID="{A96B575A-4CAE-47F2-AC69-A833E9104A4A}" presName="parentLeftMargin" presStyleLbl="node1" presStyleIdx="0" presStyleCnt="3"/>
      <dgm:spPr/>
    </dgm:pt>
    <dgm:pt modelId="{AD9BE762-EFA1-4048-84DD-5F8D11CFC3BD}" type="pres">
      <dgm:prSet presAssocID="{A96B575A-4CAE-47F2-AC69-A833E9104A4A}" presName="parentText" presStyleLbl="node1" presStyleIdx="1" presStyleCnt="3">
        <dgm:presLayoutVars>
          <dgm:chMax val="0"/>
          <dgm:bulletEnabled val="1"/>
        </dgm:presLayoutVars>
      </dgm:prSet>
      <dgm:spPr/>
    </dgm:pt>
    <dgm:pt modelId="{82757629-27BF-4253-A896-B427256AC0CE}" type="pres">
      <dgm:prSet presAssocID="{A96B575A-4CAE-47F2-AC69-A833E9104A4A}" presName="negativeSpace" presStyleCnt="0"/>
      <dgm:spPr/>
    </dgm:pt>
    <dgm:pt modelId="{C04D449A-196E-4321-AB9C-C6F408B66AEA}" type="pres">
      <dgm:prSet presAssocID="{A96B575A-4CAE-47F2-AC69-A833E9104A4A}" presName="childText" presStyleLbl="conFgAcc1" presStyleIdx="1" presStyleCnt="3">
        <dgm:presLayoutVars>
          <dgm:bulletEnabled val="1"/>
        </dgm:presLayoutVars>
      </dgm:prSet>
      <dgm:spPr/>
    </dgm:pt>
    <dgm:pt modelId="{8D53C398-324C-4CDF-8B49-FEC9DD6CFF34}" type="pres">
      <dgm:prSet presAssocID="{C6DFBA7C-7C4B-46E3-92F5-380D29F4DF31}" presName="spaceBetweenRectangles" presStyleCnt="0"/>
      <dgm:spPr/>
    </dgm:pt>
    <dgm:pt modelId="{206B393C-62AE-4AC8-B91F-E04902D1FEE0}" type="pres">
      <dgm:prSet presAssocID="{3DFA2B4E-3C99-4FBF-8EA8-4B58E094D465}" presName="parentLin" presStyleCnt="0"/>
      <dgm:spPr/>
    </dgm:pt>
    <dgm:pt modelId="{84E98E36-B9FF-4006-87B8-68647CDEBAE4}" type="pres">
      <dgm:prSet presAssocID="{3DFA2B4E-3C99-4FBF-8EA8-4B58E094D465}" presName="parentLeftMargin" presStyleLbl="node1" presStyleIdx="1" presStyleCnt="3"/>
      <dgm:spPr/>
    </dgm:pt>
    <dgm:pt modelId="{549BE411-07FC-4A2A-8929-411D834CC192}" type="pres">
      <dgm:prSet presAssocID="{3DFA2B4E-3C99-4FBF-8EA8-4B58E094D465}" presName="parentText" presStyleLbl="node1" presStyleIdx="2" presStyleCnt="3">
        <dgm:presLayoutVars>
          <dgm:chMax val="0"/>
          <dgm:bulletEnabled val="1"/>
        </dgm:presLayoutVars>
      </dgm:prSet>
      <dgm:spPr/>
    </dgm:pt>
    <dgm:pt modelId="{8A30D836-9A0B-4840-8EFB-B834CA10C59F}" type="pres">
      <dgm:prSet presAssocID="{3DFA2B4E-3C99-4FBF-8EA8-4B58E094D465}" presName="negativeSpace" presStyleCnt="0"/>
      <dgm:spPr/>
    </dgm:pt>
    <dgm:pt modelId="{41E608C7-D386-4F4D-8A6A-9F4D52689235}" type="pres">
      <dgm:prSet presAssocID="{3DFA2B4E-3C99-4FBF-8EA8-4B58E094D465}" presName="childText" presStyleLbl="conFgAcc1" presStyleIdx="2" presStyleCnt="3">
        <dgm:presLayoutVars>
          <dgm:bulletEnabled val="1"/>
        </dgm:presLayoutVars>
      </dgm:prSet>
      <dgm:spPr/>
    </dgm:pt>
  </dgm:ptLst>
  <dgm:cxnLst>
    <dgm:cxn modelId="{92640918-C296-475D-B948-D34F0D8E0ADA}" type="presOf" srcId="{A96B575A-4CAE-47F2-AC69-A833E9104A4A}" destId="{C16A3044-3221-4E8C-9B81-6448CFA68A95}" srcOrd="0" destOrd="0" presId="urn:microsoft.com/office/officeart/2005/8/layout/list1"/>
    <dgm:cxn modelId="{1DBF9819-AB9B-4331-A84C-3CB4770000EC}" srcId="{9F8BD1F4-9F4C-4D8F-89F6-D7A4C3B69726}" destId="{16263382-05C9-4F00-97A9-A96CABA6D742}" srcOrd="0" destOrd="0" parTransId="{A2AFC420-B834-4F14-9F21-87658B58D8F2}" sibTransId="{6C6ACF7E-B48D-4FFD-B956-0ADF1B859D71}"/>
    <dgm:cxn modelId="{81A22621-F9B3-4F15-B321-1A2AD388C1D3}" srcId="{9F8BD1F4-9F4C-4D8F-89F6-D7A4C3B69726}" destId="{A96B575A-4CAE-47F2-AC69-A833E9104A4A}" srcOrd="1" destOrd="0" parTransId="{9355BC29-22F7-4DEE-8FB4-ACA3C5C18FEC}" sibTransId="{C6DFBA7C-7C4B-46E3-92F5-380D29F4DF31}"/>
    <dgm:cxn modelId="{DBA04741-5818-40CD-8541-75891318807A}" srcId="{A96B575A-4CAE-47F2-AC69-A833E9104A4A}" destId="{58BAA607-E5C3-4B2E-BB98-5D4ABD4072F6}" srcOrd="0" destOrd="0" parTransId="{59145567-4499-4014-9FE0-2898DDB34439}" sibTransId="{2F8CDA57-E3A7-4B52-9E97-C4457244F283}"/>
    <dgm:cxn modelId="{E0EAC448-743F-42FF-BFBE-9DC21F6F42DE}" type="presOf" srcId="{16263382-05C9-4F00-97A9-A96CABA6D742}" destId="{A25F29A8-2F34-49B3-BEB6-C03709FBE3C6}" srcOrd="1" destOrd="0" presId="urn:microsoft.com/office/officeart/2005/8/layout/list1"/>
    <dgm:cxn modelId="{3070C54B-CB41-4505-8EB4-7B1D6393C237}" srcId="{3DFA2B4E-3C99-4FBF-8EA8-4B58E094D465}" destId="{9FC5CED2-2B89-4378-908A-010709936FE3}" srcOrd="0" destOrd="0" parTransId="{91ADEC52-4D86-4C81-A938-37E2EFB65CAF}" sibTransId="{79DC8AE6-4AD0-4106-BBF8-774E5B18AB25}"/>
    <dgm:cxn modelId="{3D47E74B-F531-4AAA-89EF-6F4C36F0FA46}" type="presOf" srcId="{3DFA2B4E-3C99-4FBF-8EA8-4B58E094D465}" destId="{84E98E36-B9FF-4006-87B8-68647CDEBAE4}" srcOrd="0" destOrd="0" presId="urn:microsoft.com/office/officeart/2005/8/layout/list1"/>
    <dgm:cxn modelId="{D705F271-0E04-4445-B9D2-4CBE6968311C}" type="presOf" srcId="{E8E1E95F-C70C-40C4-8A4B-F3209FF501A5}" destId="{308CD6E7-8F8B-42C0-AEA3-9D3E76DA9D52}" srcOrd="0" destOrd="0" presId="urn:microsoft.com/office/officeart/2005/8/layout/list1"/>
    <dgm:cxn modelId="{186F887A-85CE-4549-BB0B-1A4495E22382}" type="presOf" srcId="{A96B575A-4CAE-47F2-AC69-A833E9104A4A}" destId="{AD9BE762-EFA1-4048-84DD-5F8D11CFC3BD}" srcOrd="1" destOrd="0" presId="urn:microsoft.com/office/officeart/2005/8/layout/list1"/>
    <dgm:cxn modelId="{9826749A-8AE7-4849-9300-FE88213916B2}" type="presOf" srcId="{16263382-05C9-4F00-97A9-A96CABA6D742}" destId="{8746F458-34B4-48B5-9C2E-3FB3F09CC4CD}" srcOrd="0" destOrd="0" presId="urn:microsoft.com/office/officeart/2005/8/layout/list1"/>
    <dgm:cxn modelId="{DD4F3AA0-4F71-4E99-B363-4B25E1BFF763}" type="presOf" srcId="{3DFA2B4E-3C99-4FBF-8EA8-4B58E094D465}" destId="{549BE411-07FC-4A2A-8929-411D834CC192}" srcOrd="1" destOrd="0" presId="urn:microsoft.com/office/officeart/2005/8/layout/list1"/>
    <dgm:cxn modelId="{FCCBE4AB-9036-478C-A25A-6A7575713404}" type="presOf" srcId="{9F8BD1F4-9F4C-4D8F-89F6-D7A4C3B69726}" destId="{490A309D-EDE2-4A3D-A426-0458120345DE}" srcOrd="0" destOrd="0" presId="urn:microsoft.com/office/officeart/2005/8/layout/list1"/>
    <dgm:cxn modelId="{0E8F68C2-1781-4D95-B12C-AD3F93FC391D}" type="presOf" srcId="{58BAA607-E5C3-4B2E-BB98-5D4ABD4072F6}" destId="{C04D449A-196E-4321-AB9C-C6F408B66AEA}" srcOrd="0" destOrd="0" presId="urn:microsoft.com/office/officeart/2005/8/layout/list1"/>
    <dgm:cxn modelId="{81CE0FCC-63EA-4B04-A642-0A0F8FBE6D80}" type="presOf" srcId="{9FC5CED2-2B89-4378-908A-010709936FE3}" destId="{41E608C7-D386-4F4D-8A6A-9F4D52689235}" srcOrd="0" destOrd="0" presId="urn:microsoft.com/office/officeart/2005/8/layout/list1"/>
    <dgm:cxn modelId="{2BD7B8DB-6F1E-4194-8D86-8FA2FB9886D8}" srcId="{9F8BD1F4-9F4C-4D8F-89F6-D7A4C3B69726}" destId="{3DFA2B4E-3C99-4FBF-8EA8-4B58E094D465}" srcOrd="2" destOrd="0" parTransId="{1B3EEA22-BD90-4BA0-B09F-131E19574FAD}" sibTransId="{ACC3BB1C-24BC-44F8-8B0C-BCB0644C1561}"/>
    <dgm:cxn modelId="{FEAB37ED-67B2-444F-B77F-228CE514E0AF}" srcId="{16263382-05C9-4F00-97A9-A96CABA6D742}" destId="{E8E1E95F-C70C-40C4-8A4B-F3209FF501A5}" srcOrd="0" destOrd="0" parTransId="{2344E10C-6E88-4496-A4C8-03EEA78B5C8A}" sibTransId="{CDC4FE63-28B7-472F-9ED3-1BE9574C7B99}"/>
    <dgm:cxn modelId="{3A1AC616-EA39-4025-85A4-5644D01345FC}" type="presParOf" srcId="{490A309D-EDE2-4A3D-A426-0458120345DE}" destId="{BA52CF61-1A27-4C38-ADAB-86FBCB92B8CB}" srcOrd="0" destOrd="0" presId="urn:microsoft.com/office/officeart/2005/8/layout/list1"/>
    <dgm:cxn modelId="{2B958464-A031-4109-ADB8-5FAB38253743}" type="presParOf" srcId="{BA52CF61-1A27-4C38-ADAB-86FBCB92B8CB}" destId="{8746F458-34B4-48B5-9C2E-3FB3F09CC4CD}" srcOrd="0" destOrd="0" presId="urn:microsoft.com/office/officeart/2005/8/layout/list1"/>
    <dgm:cxn modelId="{DEFA64CE-6BDD-4849-B601-26D466385E84}" type="presParOf" srcId="{BA52CF61-1A27-4C38-ADAB-86FBCB92B8CB}" destId="{A25F29A8-2F34-49B3-BEB6-C03709FBE3C6}" srcOrd="1" destOrd="0" presId="urn:microsoft.com/office/officeart/2005/8/layout/list1"/>
    <dgm:cxn modelId="{C88F4B72-BC9A-4CC6-9053-6EC418E6111B}" type="presParOf" srcId="{490A309D-EDE2-4A3D-A426-0458120345DE}" destId="{25E07883-F38A-41F6-9825-E520818E4549}" srcOrd="1" destOrd="0" presId="urn:microsoft.com/office/officeart/2005/8/layout/list1"/>
    <dgm:cxn modelId="{C3ED450D-A2ED-46FF-8EDC-EA49F51F161D}" type="presParOf" srcId="{490A309D-EDE2-4A3D-A426-0458120345DE}" destId="{308CD6E7-8F8B-42C0-AEA3-9D3E76DA9D52}" srcOrd="2" destOrd="0" presId="urn:microsoft.com/office/officeart/2005/8/layout/list1"/>
    <dgm:cxn modelId="{C66EB586-DD41-4F43-B109-344DC5E5DF94}" type="presParOf" srcId="{490A309D-EDE2-4A3D-A426-0458120345DE}" destId="{CE0CA68F-ABFA-425C-87BD-02EF0817E594}" srcOrd="3" destOrd="0" presId="urn:microsoft.com/office/officeart/2005/8/layout/list1"/>
    <dgm:cxn modelId="{BF488673-882F-4151-A9A5-A2A7CE7AE5BD}" type="presParOf" srcId="{490A309D-EDE2-4A3D-A426-0458120345DE}" destId="{229FFD1B-05D2-48D0-A792-FDCD2227D280}" srcOrd="4" destOrd="0" presId="urn:microsoft.com/office/officeart/2005/8/layout/list1"/>
    <dgm:cxn modelId="{FA828ADC-4CCD-4EA1-8846-A9BA4EF3033E}" type="presParOf" srcId="{229FFD1B-05D2-48D0-A792-FDCD2227D280}" destId="{C16A3044-3221-4E8C-9B81-6448CFA68A95}" srcOrd="0" destOrd="0" presId="urn:microsoft.com/office/officeart/2005/8/layout/list1"/>
    <dgm:cxn modelId="{83BE27CB-BF62-494D-AD37-DAD183E392C0}" type="presParOf" srcId="{229FFD1B-05D2-48D0-A792-FDCD2227D280}" destId="{AD9BE762-EFA1-4048-84DD-5F8D11CFC3BD}" srcOrd="1" destOrd="0" presId="urn:microsoft.com/office/officeart/2005/8/layout/list1"/>
    <dgm:cxn modelId="{044B847C-C4A0-4979-986D-DC76C4B9CD62}" type="presParOf" srcId="{490A309D-EDE2-4A3D-A426-0458120345DE}" destId="{82757629-27BF-4253-A896-B427256AC0CE}" srcOrd="5" destOrd="0" presId="urn:microsoft.com/office/officeart/2005/8/layout/list1"/>
    <dgm:cxn modelId="{F12D2D49-298E-411E-958C-34B5E4C1E463}" type="presParOf" srcId="{490A309D-EDE2-4A3D-A426-0458120345DE}" destId="{C04D449A-196E-4321-AB9C-C6F408B66AEA}" srcOrd="6" destOrd="0" presId="urn:microsoft.com/office/officeart/2005/8/layout/list1"/>
    <dgm:cxn modelId="{127227AF-F93B-49D4-BCC7-4AB86710E25B}" type="presParOf" srcId="{490A309D-EDE2-4A3D-A426-0458120345DE}" destId="{8D53C398-324C-4CDF-8B49-FEC9DD6CFF34}" srcOrd="7" destOrd="0" presId="urn:microsoft.com/office/officeart/2005/8/layout/list1"/>
    <dgm:cxn modelId="{9751C86B-6D5D-4645-B7E5-56127C1ADAD9}" type="presParOf" srcId="{490A309D-EDE2-4A3D-A426-0458120345DE}" destId="{206B393C-62AE-4AC8-B91F-E04902D1FEE0}" srcOrd="8" destOrd="0" presId="urn:microsoft.com/office/officeart/2005/8/layout/list1"/>
    <dgm:cxn modelId="{9A996B18-D12E-445C-9836-C44EDB5C868E}" type="presParOf" srcId="{206B393C-62AE-4AC8-B91F-E04902D1FEE0}" destId="{84E98E36-B9FF-4006-87B8-68647CDEBAE4}" srcOrd="0" destOrd="0" presId="urn:microsoft.com/office/officeart/2005/8/layout/list1"/>
    <dgm:cxn modelId="{F2F80CDF-DD2A-4025-9483-4F2102984FEB}" type="presParOf" srcId="{206B393C-62AE-4AC8-B91F-E04902D1FEE0}" destId="{549BE411-07FC-4A2A-8929-411D834CC192}" srcOrd="1" destOrd="0" presId="urn:microsoft.com/office/officeart/2005/8/layout/list1"/>
    <dgm:cxn modelId="{58E497D8-BCB0-4B65-9BE3-C9EEC10E31E2}" type="presParOf" srcId="{490A309D-EDE2-4A3D-A426-0458120345DE}" destId="{8A30D836-9A0B-4840-8EFB-B834CA10C59F}" srcOrd="9" destOrd="0" presId="urn:microsoft.com/office/officeart/2005/8/layout/list1"/>
    <dgm:cxn modelId="{60E41F23-4FED-4AAE-803D-7E1DAB78012E}" type="presParOf" srcId="{490A309D-EDE2-4A3D-A426-0458120345DE}" destId="{41E608C7-D386-4F4D-8A6A-9F4D52689235}" srcOrd="10"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254E3FB-3512-4357-B74C-C5595819D2F1}" type="doc">
      <dgm:prSet loTypeId="urn:microsoft.com/office/officeart/2005/8/layout/process4" loCatId="process" qsTypeId="urn:microsoft.com/office/officeart/2005/8/quickstyle/simple1" qsCatId="simple" csTypeId="urn:microsoft.com/office/officeart/2005/8/colors/accent1_1" csCatId="accent1" phldr="1"/>
      <dgm:spPr/>
      <dgm:t>
        <a:bodyPr/>
        <a:lstStyle/>
        <a:p>
          <a:endParaRPr lang="en-US"/>
        </a:p>
      </dgm:t>
    </dgm:pt>
    <dgm:pt modelId="{28AAF4EA-D673-4649-83E6-19A8A164F698}">
      <dgm:prSet custT="1"/>
      <dgm:spPr/>
      <dgm:t>
        <a:bodyPr/>
        <a:lstStyle/>
        <a:p>
          <a:r>
            <a:rPr lang="en-US" sz="2800" baseline="0"/>
            <a:t>Create a New Project</a:t>
          </a:r>
          <a:endParaRPr lang="en-US" sz="2800"/>
        </a:p>
      </dgm:t>
    </dgm:pt>
    <dgm:pt modelId="{71DAF391-848D-4B21-93B0-5EC78BFED2F7}" type="parTrans" cxnId="{A3AE727C-E6B7-486B-84C7-F84E983B92AC}">
      <dgm:prSet/>
      <dgm:spPr/>
      <dgm:t>
        <a:bodyPr/>
        <a:lstStyle/>
        <a:p>
          <a:endParaRPr lang="en-US" sz="2800"/>
        </a:p>
      </dgm:t>
    </dgm:pt>
    <dgm:pt modelId="{DB3DD759-92A8-4A3E-B117-6D7B662312EA}" type="sibTrans" cxnId="{A3AE727C-E6B7-486B-84C7-F84E983B92AC}">
      <dgm:prSet custT="1"/>
      <dgm:spPr/>
      <dgm:t>
        <a:bodyPr/>
        <a:lstStyle/>
        <a:p>
          <a:endParaRPr lang="en-US" sz="2800"/>
        </a:p>
      </dgm:t>
    </dgm:pt>
    <dgm:pt modelId="{6B7E3DAB-F029-4B58-AAC8-F30E5BD8493F}">
      <dgm:prSet custT="1"/>
      <dgm:spPr/>
      <dgm:t>
        <a:bodyPr/>
        <a:lstStyle/>
        <a:p>
          <a:r>
            <a:rPr lang="en-US" sz="2800" baseline="0"/>
            <a:t>Select WPF App (Visual C#)</a:t>
          </a:r>
          <a:endParaRPr lang="en-US" sz="2800"/>
        </a:p>
      </dgm:t>
    </dgm:pt>
    <dgm:pt modelId="{DE42FDBF-A119-444F-BB49-EB4A444E6BFD}" type="parTrans" cxnId="{D03FBFD6-1E9E-439C-BC51-78E347735EB6}">
      <dgm:prSet/>
      <dgm:spPr/>
      <dgm:t>
        <a:bodyPr/>
        <a:lstStyle/>
        <a:p>
          <a:endParaRPr lang="en-US" sz="2800"/>
        </a:p>
      </dgm:t>
    </dgm:pt>
    <dgm:pt modelId="{CC3DF125-1685-4354-9302-21D11F0B8EF6}" type="sibTrans" cxnId="{D03FBFD6-1E9E-439C-BC51-78E347735EB6}">
      <dgm:prSet/>
      <dgm:spPr/>
      <dgm:t>
        <a:bodyPr/>
        <a:lstStyle/>
        <a:p>
          <a:endParaRPr lang="en-US" sz="2800"/>
        </a:p>
      </dgm:t>
    </dgm:pt>
    <dgm:pt modelId="{DE7DE2FC-CDAE-425E-B2CA-D59E60637C3A}" type="pres">
      <dgm:prSet presAssocID="{7254E3FB-3512-4357-B74C-C5595819D2F1}" presName="Name0" presStyleCnt="0">
        <dgm:presLayoutVars>
          <dgm:dir/>
          <dgm:animLvl val="lvl"/>
          <dgm:resizeHandles val="exact"/>
        </dgm:presLayoutVars>
      </dgm:prSet>
      <dgm:spPr/>
    </dgm:pt>
    <dgm:pt modelId="{BE95AEA4-E2B6-4CA7-8731-4D0EA8E01218}" type="pres">
      <dgm:prSet presAssocID="{6B7E3DAB-F029-4B58-AAC8-F30E5BD8493F}" presName="boxAndChildren" presStyleCnt="0"/>
      <dgm:spPr/>
    </dgm:pt>
    <dgm:pt modelId="{D57E4B8C-EA49-4019-B45F-CD18F6B4D5CB}" type="pres">
      <dgm:prSet presAssocID="{6B7E3DAB-F029-4B58-AAC8-F30E5BD8493F}" presName="parentTextBox" presStyleLbl="node1" presStyleIdx="0" presStyleCnt="2" custLinFactNeighborY="482"/>
      <dgm:spPr/>
    </dgm:pt>
    <dgm:pt modelId="{09F7CEE0-230C-41FA-A00D-268676887F23}" type="pres">
      <dgm:prSet presAssocID="{DB3DD759-92A8-4A3E-B117-6D7B662312EA}" presName="sp" presStyleCnt="0"/>
      <dgm:spPr/>
    </dgm:pt>
    <dgm:pt modelId="{B00BE8DA-0407-420B-A63B-1543387432FC}" type="pres">
      <dgm:prSet presAssocID="{28AAF4EA-D673-4649-83E6-19A8A164F698}" presName="arrowAndChildren" presStyleCnt="0"/>
      <dgm:spPr/>
    </dgm:pt>
    <dgm:pt modelId="{915D4467-7AE2-4328-A15C-3FF68B9B8D49}" type="pres">
      <dgm:prSet presAssocID="{28AAF4EA-D673-4649-83E6-19A8A164F698}" presName="parentTextArrow" presStyleLbl="node1" presStyleIdx="1" presStyleCnt="2" custLinFactNeighborX="-864" custLinFactNeighborY="-544"/>
      <dgm:spPr/>
    </dgm:pt>
  </dgm:ptLst>
  <dgm:cxnLst>
    <dgm:cxn modelId="{A58F7E42-FE18-4F54-85FC-9F61AE6A39B2}" type="presOf" srcId="{28AAF4EA-D673-4649-83E6-19A8A164F698}" destId="{915D4467-7AE2-4328-A15C-3FF68B9B8D49}" srcOrd="0" destOrd="0" presId="urn:microsoft.com/office/officeart/2005/8/layout/process4"/>
    <dgm:cxn modelId="{7BD7C162-E445-4934-8440-E95AB7FC5798}" type="presOf" srcId="{6B7E3DAB-F029-4B58-AAC8-F30E5BD8493F}" destId="{D57E4B8C-EA49-4019-B45F-CD18F6B4D5CB}" srcOrd="0" destOrd="0" presId="urn:microsoft.com/office/officeart/2005/8/layout/process4"/>
    <dgm:cxn modelId="{77912570-1A1F-452A-B9D9-02036FF99C9B}" type="presOf" srcId="{7254E3FB-3512-4357-B74C-C5595819D2F1}" destId="{DE7DE2FC-CDAE-425E-B2CA-D59E60637C3A}" srcOrd="0" destOrd="0" presId="urn:microsoft.com/office/officeart/2005/8/layout/process4"/>
    <dgm:cxn modelId="{A3AE727C-E6B7-486B-84C7-F84E983B92AC}" srcId="{7254E3FB-3512-4357-B74C-C5595819D2F1}" destId="{28AAF4EA-D673-4649-83E6-19A8A164F698}" srcOrd="0" destOrd="0" parTransId="{71DAF391-848D-4B21-93B0-5EC78BFED2F7}" sibTransId="{DB3DD759-92A8-4A3E-B117-6D7B662312EA}"/>
    <dgm:cxn modelId="{D03FBFD6-1E9E-439C-BC51-78E347735EB6}" srcId="{7254E3FB-3512-4357-B74C-C5595819D2F1}" destId="{6B7E3DAB-F029-4B58-AAC8-F30E5BD8493F}" srcOrd="1" destOrd="0" parTransId="{DE42FDBF-A119-444F-BB49-EB4A444E6BFD}" sibTransId="{CC3DF125-1685-4354-9302-21D11F0B8EF6}"/>
    <dgm:cxn modelId="{8DEB4166-FF62-4661-9076-318E530742E3}" type="presParOf" srcId="{DE7DE2FC-CDAE-425E-B2CA-D59E60637C3A}" destId="{BE95AEA4-E2B6-4CA7-8731-4D0EA8E01218}" srcOrd="0" destOrd="0" presId="urn:microsoft.com/office/officeart/2005/8/layout/process4"/>
    <dgm:cxn modelId="{B0079A54-4547-4A6B-8D7F-EA2279D8A044}" type="presParOf" srcId="{BE95AEA4-E2B6-4CA7-8731-4D0EA8E01218}" destId="{D57E4B8C-EA49-4019-B45F-CD18F6B4D5CB}" srcOrd="0" destOrd="0" presId="urn:microsoft.com/office/officeart/2005/8/layout/process4"/>
    <dgm:cxn modelId="{2E4E5290-1B74-448D-B8FF-E51A6B5DA63B}" type="presParOf" srcId="{DE7DE2FC-CDAE-425E-B2CA-D59E60637C3A}" destId="{09F7CEE0-230C-41FA-A00D-268676887F23}" srcOrd="1" destOrd="0" presId="urn:microsoft.com/office/officeart/2005/8/layout/process4"/>
    <dgm:cxn modelId="{B77D8F80-1052-4E57-BA46-162F0BC78221}" type="presParOf" srcId="{DE7DE2FC-CDAE-425E-B2CA-D59E60637C3A}" destId="{B00BE8DA-0407-420B-A63B-1543387432FC}" srcOrd="2" destOrd="0" presId="urn:microsoft.com/office/officeart/2005/8/layout/process4"/>
    <dgm:cxn modelId="{4F64BABA-BC83-490D-A11D-2D3D7F40F8B9}" type="presParOf" srcId="{B00BE8DA-0407-420B-A63B-1543387432FC}" destId="{915D4467-7AE2-4328-A15C-3FF68B9B8D49}" srcOrd="0" destOrd="0" presId="urn:microsoft.com/office/officeart/2005/8/layout/process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FCF18AA-D60A-4324-882B-666FA9709A6F}"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38F8B438-519A-4BFA-AA16-937A5F4B2131}">
      <dgm:prSet custT="1"/>
      <dgm:spPr>
        <a:solidFill>
          <a:srgbClr val="00B0F0"/>
        </a:solidFill>
      </dgm:spPr>
      <dgm:t>
        <a:bodyPr/>
        <a:lstStyle/>
        <a:p>
          <a:r>
            <a:rPr lang="en-US" sz="2000" b="1" baseline="0">
              <a:solidFill>
                <a:schemeClr val="tx1"/>
              </a:solidFill>
            </a:rPr>
            <a:t>Solution Explorer</a:t>
          </a:r>
          <a:endParaRPr lang="en-US" sz="2000" b="1">
            <a:solidFill>
              <a:schemeClr val="tx1"/>
            </a:solidFill>
          </a:endParaRPr>
        </a:p>
      </dgm:t>
    </dgm:pt>
    <dgm:pt modelId="{8C2DDB57-7644-459C-A381-E74558558A71}" type="parTrans" cxnId="{6485E542-1E1E-4988-BC14-7DCE3ADC5C4D}">
      <dgm:prSet/>
      <dgm:spPr/>
      <dgm:t>
        <a:bodyPr/>
        <a:lstStyle/>
        <a:p>
          <a:endParaRPr lang="en-US" sz="2000">
            <a:solidFill>
              <a:schemeClr val="tx1"/>
            </a:solidFill>
          </a:endParaRPr>
        </a:p>
      </dgm:t>
    </dgm:pt>
    <dgm:pt modelId="{6EB43EF3-47A6-4752-81D9-4C4A4BE8FB8B}" type="sibTrans" cxnId="{6485E542-1E1E-4988-BC14-7DCE3ADC5C4D}">
      <dgm:prSet/>
      <dgm:spPr/>
      <dgm:t>
        <a:bodyPr/>
        <a:lstStyle/>
        <a:p>
          <a:endParaRPr lang="en-US" sz="2000">
            <a:solidFill>
              <a:schemeClr val="tx1"/>
            </a:solidFill>
          </a:endParaRPr>
        </a:p>
      </dgm:t>
    </dgm:pt>
    <dgm:pt modelId="{B6E9070F-C46C-40C9-8451-C90B2678608F}">
      <dgm:prSet custT="1"/>
      <dgm:spPr/>
      <dgm:t>
        <a:bodyPr/>
        <a:lstStyle/>
        <a:p>
          <a:r>
            <a:rPr lang="en-US" sz="2000" baseline="0">
              <a:solidFill>
                <a:schemeClr val="tx1"/>
              </a:solidFill>
            </a:rPr>
            <a:t>List of files in project</a:t>
          </a:r>
          <a:endParaRPr lang="en-US" sz="2000">
            <a:solidFill>
              <a:schemeClr val="tx1"/>
            </a:solidFill>
          </a:endParaRPr>
        </a:p>
      </dgm:t>
    </dgm:pt>
    <dgm:pt modelId="{FB640951-261F-4E77-85E7-016B35BF4A1A}" type="parTrans" cxnId="{AE4C6A19-3D02-46DB-ACAC-B66C9E6F10FF}">
      <dgm:prSet/>
      <dgm:spPr/>
      <dgm:t>
        <a:bodyPr/>
        <a:lstStyle/>
        <a:p>
          <a:endParaRPr lang="en-US" sz="2000">
            <a:solidFill>
              <a:schemeClr val="tx1"/>
            </a:solidFill>
          </a:endParaRPr>
        </a:p>
      </dgm:t>
    </dgm:pt>
    <dgm:pt modelId="{59E678F3-BD06-4441-852F-3A424D69B7EB}" type="sibTrans" cxnId="{AE4C6A19-3D02-46DB-ACAC-B66C9E6F10FF}">
      <dgm:prSet/>
      <dgm:spPr/>
      <dgm:t>
        <a:bodyPr/>
        <a:lstStyle/>
        <a:p>
          <a:endParaRPr lang="en-US" sz="2000">
            <a:solidFill>
              <a:schemeClr val="tx1"/>
            </a:solidFill>
          </a:endParaRPr>
        </a:p>
      </dgm:t>
    </dgm:pt>
    <dgm:pt modelId="{1F9D241F-770E-437A-A20E-9C0DCB025BE1}">
      <dgm:prSet custT="1"/>
      <dgm:spPr/>
      <dgm:t>
        <a:bodyPr/>
        <a:lstStyle/>
        <a:p>
          <a:r>
            <a:rPr lang="en-US" sz="2000" baseline="0">
              <a:solidFill>
                <a:schemeClr val="tx1"/>
              </a:solidFill>
            </a:rPr>
            <a:t>Use </a:t>
          </a:r>
          <a:r>
            <a:rPr lang="en-US" sz="2000" baseline="0" err="1">
              <a:solidFill>
                <a:schemeClr val="tx1"/>
              </a:solidFill>
            </a:rPr>
            <a:t>MainWindow.XAML</a:t>
          </a:r>
          <a:endParaRPr lang="en-US" sz="2000">
            <a:solidFill>
              <a:schemeClr val="tx1"/>
            </a:solidFill>
          </a:endParaRPr>
        </a:p>
      </dgm:t>
    </dgm:pt>
    <dgm:pt modelId="{46FA6DA3-4A0C-48C3-8D2A-072555080957}" type="parTrans" cxnId="{2F9EE362-9356-4267-9EB6-E43C452436D7}">
      <dgm:prSet/>
      <dgm:spPr/>
      <dgm:t>
        <a:bodyPr/>
        <a:lstStyle/>
        <a:p>
          <a:endParaRPr lang="en-US" sz="2000">
            <a:solidFill>
              <a:schemeClr val="tx1"/>
            </a:solidFill>
          </a:endParaRPr>
        </a:p>
      </dgm:t>
    </dgm:pt>
    <dgm:pt modelId="{279188CE-D80F-43B1-B95F-81E80D0C3AD6}" type="sibTrans" cxnId="{2F9EE362-9356-4267-9EB6-E43C452436D7}">
      <dgm:prSet/>
      <dgm:spPr/>
      <dgm:t>
        <a:bodyPr/>
        <a:lstStyle/>
        <a:p>
          <a:endParaRPr lang="en-US" sz="2000">
            <a:solidFill>
              <a:schemeClr val="tx1"/>
            </a:solidFill>
          </a:endParaRPr>
        </a:p>
      </dgm:t>
    </dgm:pt>
    <dgm:pt modelId="{A433A98C-B1C6-462C-9CC7-5D29DE377F96}">
      <dgm:prSet custT="1"/>
      <dgm:spPr/>
      <dgm:t>
        <a:bodyPr/>
        <a:lstStyle/>
        <a:p>
          <a:r>
            <a:rPr lang="en-US" sz="2000" b="1" baseline="0">
              <a:solidFill>
                <a:schemeClr val="tx1"/>
              </a:solidFill>
            </a:rPr>
            <a:t>Viewport</a:t>
          </a:r>
          <a:endParaRPr lang="en-US" sz="2000" b="1">
            <a:solidFill>
              <a:schemeClr val="tx1"/>
            </a:solidFill>
          </a:endParaRPr>
        </a:p>
      </dgm:t>
    </dgm:pt>
    <dgm:pt modelId="{2C805212-DBBB-4B50-84D1-23EF2DD2E0FD}" type="parTrans" cxnId="{AA843D8E-7B28-4A6D-9C1A-09F095CAF4D9}">
      <dgm:prSet/>
      <dgm:spPr/>
      <dgm:t>
        <a:bodyPr/>
        <a:lstStyle/>
        <a:p>
          <a:endParaRPr lang="en-US" sz="2000">
            <a:solidFill>
              <a:schemeClr val="tx1"/>
            </a:solidFill>
          </a:endParaRPr>
        </a:p>
      </dgm:t>
    </dgm:pt>
    <dgm:pt modelId="{73CEB146-D65F-407B-A34F-82A4A5B3C897}" type="sibTrans" cxnId="{AA843D8E-7B28-4A6D-9C1A-09F095CAF4D9}">
      <dgm:prSet/>
      <dgm:spPr/>
      <dgm:t>
        <a:bodyPr/>
        <a:lstStyle/>
        <a:p>
          <a:endParaRPr lang="en-US" sz="2000">
            <a:solidFill>
              <a:schemeClr val="tx1"/>
            </a:solidFill>
          </a:endParaRPr>
        </a:p>
      </dgm:t>
    </dgm:pt>
    <dgm:pt modelId="{418EB559-BFD7-4010-92FC-6CEF33F9E031}">
      <dgm:prSet custT="1"/>
      <dgm:spPr/>
      <dgm:t>
        <a:bodyPr/>
        <a:lstStyle/>
        <a:p>
          <a:r>
            <a:rPr lang="en-US" sz="2000" baseline="0">
              <a:solidFill>
                <a:schemeClr val="tx1"/>
              </a:solidFill>
            </a:rPr>
            <a:t>Code editor</a:t>
          </a:r>
          <a:endParaRPr lang="en-US" sz="2000">
            <a:solidFill>
              <a:schemeClr val="tx1"/>
            </a:solidFill>
          </a:endParaRPr>
        </a:p>
      </dgm:t>
    </dgm:pt>
    <dgm:pt modelId="{8DB63809-D2B8-4A26-8776-5F4D01598E08}" type="parTrans" cxnId="{44424F2A-EA13-4902-B805-9A601EB1572B}">
      <dgm:prSet/>
      <dgm:spPr/>
      <dgm:t>
        <a:bodyPr/>
        <a:lstStyle/>
        <a:p>
          <a:endParaRPr lang="en-US" sz="2000">
            <a:solidFill>
              <a:schemeClr val="tx1"/>
            </a:solidFill>
          </a:endParaRPr>
        </a:p>
      </dgm:t>
    </dgm:pt>
    <dgm:pt modelId="{4675353C-D05E-4B57-BCFB-185363BCC33C}" type="sibTrans" cxnId="{44424F2A-EA13-4902-B805-9A601EB1572B}">
      <dgm:prSet/>
      <dgm:spPr/>
      <dgm:t>
        <a:bodyPr/>
        <a:lstStyle/>
        <a:p>
          <a:endParaRPr lang="en-US" sz="2000">
            <a:solidFill>
              <a:schemeClr val="tx1"/>
            </a:solidFill>
          </a:endParaRPr>
        </a:p>
      </dgm:t>
    </dgm:pt>
    <dgm:pt modelId="{146E7BFE-8A96-4C1F-9FAF-028C6C0AF868}">
      <dgm:prSet custT="1"/>
      <dgm:spPr/>
      <dgm:t>
        <a:bodyPr/>
        <a:lstStyle/>
        <a:p>
          <a:r>
            <a:rPr lang="en-US" sz="2000" baseline="0">
              <a:solidFill>
                <a:schemeClr val="tx1"/>
              </a:solidFill>
            </a:rPr>
            <a:t>Visual GUI creator</a:t>
          </a:r>
          <a:endParaRPr lang="en-US" sz="2000">
            <a:solidFill>
              <a:schemeClr val="tx1"/>
            </a:solidFill>
          </a:endParaRPr>
        </a:p>
      </dgm:t>
    </dgm:pt>
    <dgm:pt modelId="{1D7E4A05-453C-4546-AD62-5E8CE9BBCDBF}" type="parTrans" cxnId="{4FA22DE6-2439-4589-B8BB-7CD38DFEAA0B}">
      <dgm:prSet/>
      <dgm:spPr/>
      <dgm:t>
        <a:bodyPr/>
        <a:lstStyle/>
        <a:p>
          <a:endParaRPr lang="en-US" sz="2000">
            <a:solidFill>
              <a:schemeClr val="tx1"/>
            </a:solidFill>
          </a:endParaRPr>
        </a:p>
      </dgm:t>
    </dgm:pt>
    <dgm:pt modelId="{AABBE3BA-4E11-4888-8D4A-4B4DB5D68650}" type="sibTrans" cxnId="{4FA22DE6-2439-4589-B8BB-7CD38DFEAA0B}">
      <dgm:prSet/>
      <dgm:spPr/>
      <dgm:t>
        <a:bodyPr/>
        <a:lstStyle/>
        <a:p>
          <a:endParaRPr lang="en-US" sz="2000">
            <a:solidFill>
              <a:schemeClr val="tx1"/>
            </a:solidFill>
          </a:endParaRPr>
        </a:p>
      </dgm:t>
    </dgm:pt>
    <dgm:pt modelId="{A9B72B21-29ED-440A-8E32-2B72BD223614}">
      <dgm:prSet custT="1"/>
      <dgm:spPr/>
      <dgm:t>
        <a:bodyPr/>
        <a:lstStyle/>
        <a:p>
          <a:r>
            <a:rPr lang="en-US" sz="2000" baseline="0">
              <a:solidFill>
                <a:schemeClr val="tx1"/>
              </a:solidFill>
            </a:rPr>
            <a:t>Tabs for open files</a:t>
          </a:r>
          <a:endParaRPr lang="en-US" sz="2000">
            <a:solidFill>
              <a:schemeClr val="tx1"/>
            </a:solidFill>
          </a:endParaRPr>
        </a:p>
      </dgm:t>
    </dgm:pt>
    <dgm:pt modelId="{AD5A42A6-1E6D-44D8-9890-829DA7F3A331}" type="parTrans" cxnId="{20B1F26E-F792-4A9C-B748-89724A236216}">
      <dgm:prSet/>
      <dgm:spPr/>
      <dgm:t>
        <a:bodyPr/>
        <a:lstStyle/>
        <a:p>
          <a:endParaRPr lang="en-US" sz="2000">
            <a:solidFill>
              <a:schemeClr val="tx1"/>
            </a:solidFill>
          </a:endParaRPr>
        </a:p>
      </dgm:t>
    </dgm:pt>
    <dgm:pt modelId="{C66F46FA-D226-4AC4-881E-9D6DAE8C1074}" type="sibTrans" cxnId="{20B1F26E-F792-4A9C-B748-89724A236216}">
      <dgm:prSet/>
      <dgm:spPr/>
      <dgm:t>
        <a:bodyPr/>
        <a:lstStyle/>
        <a:p>
          <a:endParaRPr lang="en-US" sz="2000">
            <a:solidFill>
              <a:schemeClr val="tx1"/>
            </a:solidFill>
          </a:endParaRPr>
        </a:p>
      </dgm:t>
    </dgm:pt>
    <dgm:pt modelId="{732F329F-1596-4724-8FA3-850710277625}">
      <dgm:prSet custT="1"/>
      <dgm:spPr/>
      <dgm:t>
        <a:bodyPr/>
        <a:lstStyle/>
        <a:p>
          <a:r>
            <a:rPr lang="en-US" sz="2000" b="1" baseline="0">
              <a:solidFill>
                <a:schemeClr val="tx1"/>
              </a:solidFill>
            </a:rPr>
            <a:t>Toolbox</a:t>
          </a:r>
          <a:endParaRPr lang="en-US" sz="2000" b="1">
            <a:solidFill>
              <a:schemeClr val="tx1"/>
            </a:solidFill>
          </a:endParaRPr>
        </a:p>
      </dgm:t>
    </dgm:pt>
    <dgm:pt modelId="{7776DF7D-1445-407E-BFC8-CDDA3853729C}" type="parTrans" cxnId="{FD8C9F27-FFE1-434C-9D01-EA8C1D0BA080}">
      <dgm:prSet/>
      <dgm:spPr/>
      <dgm:t>
        <a:bodyPr/>
        <a:lstStyle/>
        <a:p>
          <a:endParaRPr lang="en-US" sz="2000">
            <a:solidFill>
              <a:schemeClr val="tx1"/>
            </a:solidFill>
          </a:endParaRPr>
        </a:p>
      </dgm:t>
    </dgm:pt>
    <dgm:pt modelId="{78440C26-AD93-43AB-A709-566C1B1679A4}" type="sibTrans" cxnId="{FD8C9F27-FFE1-434C-9D01-EA8C1D0BA080}">
      <dgm:prSet/>
      <dgm:spPr/>
      <dgm:t>
        <a:bodyPr/>
        <a:lstStyle/>
        <a:p>
          <a:endParaRPr lang="en-US" sz="2000">
            <a:solidFill>
              <a:schemeClr val="tx1"/>
            </a:solidFill>
          </a:endParaRPr>
        </a:p>
      </dgm:t>
    </dgm:pt>
    <dgm:pt modelId="{E54DDD07-D12E-4A85-A2CE-5048DA11DD23}">
      <dgm:prSet custT="1"/>
      <dgm:spPr/>
      <dgm:t>
        <a:bodyPr/>
        <a:lstStyle/>
        <a:p>
          <a:r>
            <a:rPr lang="en-US" sz="2000" baseline="0">
              <a:solidFill>
                <a:schemeClr val="tx1"/>
              </a:solidFill>
            </a:rPr>
            <a:t>Contains GUI controls</a:t>
          </a:r>
          <a:endParaRPr lang="en-US" sz="2000">
            <a:solidFill>
              <a:schemeClr val="tx1"/>
            </a:solidFill>
          </a:endParaRPr>
        </a:p>
      </dgm:t>
    </dgm:pt>
    <dgm:pt modelId="{22D058B1-242F-4E6F-B6EA-833F75685DFC}" type="parTrans" cxnId="{F6178E08-BF27-4590-B605-F5AE64E67417}">
      <dgm:prSet/>
      <dgm:spPr/>
      <dgm:t>
        <a:bodyPr/>
        <a:lstStyle/>
        <a:p>
          <a:endParaRPr lang="en-US" sz="2000">
            <a:solidFill>
              <a:schemeClr val="tx1"/>
            </a:solidFill>
          </a:endParaRPr>
        </a:p>
      </dgm:t>
    </dgm:pt>
    <dgm:pt modelId="{29C5E739-9CEF-49AF-9D08-AFE4CA3503C9}" type="sibTrans" cxnId="{F6178E08-BF27-4590-B605-F5AE64E67417}">
      <dgm:prSet/>
      <dgm:spPr/>
      <dgm:t>
        <a:bodyPr/>
        <a:lstStyle/>
        <a:p>
          <a:endParaRPr lang="en-US" sz="2000">
            <a:solidFill>
              <a:schemeClr val="tx1"/>
            </a:solidFill>
          </a:endParaRPr>
        </a:p>
      </dgm:t>
    </dgm:pt>
    <dgm:pt modelId="{D68E7D92-A269-4D75-8BB2-1AB14D7F3BDC}">
      <dgm:prSet custT="1"/>
      <dgm:spPr/>
      <dgm:t>
        <a:bodyPr/>
        <a:lstStyle/>
        <a:p>
          <a:r>
            <a:rPr lang="en-US" sz="2000" baseline="0">
              <a:solidFill>
                <a:schemeClr val="tx1"/>
              </a:solidFill>
            </a:rPr>
            <a:t>Drag &amp; Drop</a:t>
          </a:r>
          <a:endParaRPr lang="en-US" sz="2000">
            <a:solidFill>
              <a:schemeClr val="tx1"/>
            </a:solidFill>
          </a:endParaRPr>
        </a:p>
      </dgm:t>
    </dgm:pt>
    <dgm:pt modelId="{35609101-4801-430C-A949-4B98B1DE4A96}" type="parTrans" cxnId="{2C428061-4B3F-4E8C-B09A-F86367B594D8}">
      <dgm:prSet/>
      <dgm:spPr/>
      <dgm:t>
        <a:bodyPr/>
        <a:lstStyle/>
        <a:p>
          <a:endParaRPr lang="en-US" sz="2000">
            <a:solidFill>
              <a:schemeClr val="tx1"/>
            </a:solidFill>
          </a:endParaRPr>
        </a:p>
      </dgm:t>
    </dgm:pt>
    <dgm:pt modelId="{90D5791E-CB42-4D35-96DC-2EECDA29FB4A}" type="sibTrans" cxnId="{2C428061-4B3F-4E8C-B09A-F86367B594D8}">
      <dgm:prSet/>
      <dgm:spPr/>
      <dgm:t>
        <a:bodyPr/>
        <a:lstStyle/>
        <a:p>
          <a:endParaRPr lang="en-US" sz="2000">
            <a:solidFill>
              <a:schemeClr val="tx1"/>
            </a:solidFill>
          </a:endParaRPr>
        </a:p>
      </dgm:t>
    </dgm:pt>
    <dgm:pt modelId="{C5325E19-E129-4C5D-850A-AE49C2198FAA}">
      <dgm:prSet custT="1"/>
      <dgm:spPr/>
      <dgm:t>
        <a:bodyPr/>
        <a:lstStyle/>
        <a:p>
          <a:r>
            <a:rPr lang="en-US" sz="2000" b="1" baseline="0">
              <a:solidFill>
                <a:schemeClr val="tx1"/>
              </a:solidFill>
            </a:rPr>
            <a:t>Properties</a:t>
          </a:r>
          <a:endParaRPr lang="en-US" sz="2000" b="1">
            <a:solidFill>
              <a:schemeClr val="tx1"/>
            </a:solidFill>
          </a:endParaRPr>
        </a:p>
      </dgm:t>
    </dgm:pt>
    <dgm:pt modelId="{D14A078C-C877-421C-95D7-5B02F7B52CDC}" type="parTrans" cxnId="{E5F1ADB5-55C4-49C6-A8D9-7CAAF4511323}">
      <dgm:prSet/>
      <dgm:spPr/>
      <dgm:t>
        <a:bodyPr/>
        <a:lstStyle/>
        <a:p>
          <a:endParaRPr lang="en-US" sz="2000">
            <a:solidFill>
              <a:schemeClr val="tx1"/>
            </a:solidFill>
          </a:endParaRPr>
        </a:p>
      </dgm:t>
    </dgm:pt>
    <dgm:pt modelId="{3BA3291A-DC2E-4616-86A4-E732DA78C749}" type="sibTrans" cxnId="{E5F1ADB5-55C4-49C6-A8D9-7CAAF4511323}">
      <dgm:prSet/>
      <dgm:spPr/>
      <dgm:t>
        <a:bodyPr/>
        <a:lstStyle/>
        <a:p>
          <a:endParaRPr lang="en-US" sz="2000">
            <a:solidFill>
              <a:schemeClr val="tx1"/>
            </a:solidFill>
          </a:endParaRPr>
        </a:p>
      </dgm:t>
    </dgm:pt>
    <dgm:pt modelId="{02CDE90F-F9E0-46BE-98AC-A0EDD596E5C4}">
      <dgm:prSet custT="1"/>
      <dgm:spPr/>
      <dgm:t>
        <a:bodyPr/>
        <a:lstStyle/>
        <a:p>
          <a:r>
            <a:rPr lang="en-US" sz="2000" baseline="0">
              <a:solidFill>
                <a:schemeClr val="tx1"/>
              </a:solidFill>
            </a:rPr>
            <a:t>Edit GUI controls</a:t>
          </a:r>
          <a:endParaRPr lang="en-US" sz="2000">
            <a:solidFill>
              <a:schemeClr val="tx1"/>
            </a:solidFill>
          </a:endParaRPr>
        </a:p>
      </dgm:t>
    </dgm:pt>
    <dgm:pt modelId="{24D2AE5C-0C97-49E9-A605-2B606B6E87F9}" type="parTrans" cxnId="{F3934C41-9DB8-4249-916F-37C62EEED449}">
      <dgm:prSet/>
      <dgm:spPr/>
      <dgm:t>
        <a:bodyPr/>
        <a:lstStyle/>
        <a:p>
          <a:endParaRPr lang="en-US" sz="2000">
            <a:solidFill>
              <a:schemeClr val="tx1"/>
            </a:solidFill>
          </a:endParaRPr>
        </a:p>
      </dgm:t>
    </dgm:pt>
    <dgm:pt modelId="{4CB0812D-665B-4A41-92A3-450E9805AF53}" type="sibTrans" cxnId="{F3934C41-9DB8-4249-916F-37C62EEED449}">
      <dgm:prSet/>
      <dgm:spPr/>
      <dgm:t>
        <a:bodyPr/>
        <a:lstStyle/>
        <a:p>
          <a:endParaRPr lang="en-US" sz="2000">
            <a:solidFill>
              <a:schemeClr val="tx1"/>
            </a:solidFill>
          </a:endParaRPr>
        </a:p>
      </dgm:t>
    </dgm:pt>
    <dgm:pt modelId="{C8CF24F9-2914-4834-90E6-717AD3B56289}">
      <dgm:prSet custT="1"/>
      <dgm:spPr/>
      <dgm:t>
        <a:bodyPr/>
        <a:lstStyle/>
        <a:p>
          <a:r>
            <a:rPr lang="en-US" sz="2000">
              <a:solidFill>
                <a:schemeClr val="tx1"/>
              </a:solidFill>
            </a:rPr>
            <a:t>Changes XAML code</a:t>
          </a:r>
        </a:p>
      </dgm:t>
    </dgm:pt>
    <dgm:pt modelId="{8E7B5CB9-E85E-4AF4-B017-6285BA274F19}" type="parTrans" cxnId="{F24FD728-541E-47BD-8E86-5EDA40382FA6}">
      <dgm:prSet/>
      <dgm:spPr/>
      <dgm:t>
        <a:bodyPr/>
        <a:lstStyle/>
        <a:p>
          <a:endParaRPr lang="en-US"/>
        </a:p>
      </dgm:t>
    </dgm:pt>
    <dgm:pt modelId="{9372B966-54BE-424A-B920-677EA06B1382}" type="sibTrans" cxnId="{F24FD728-541E-47BD-8E86-5EDA40382FA6}">
      <dgm:prSet/>
      <dgm:spPr/>
      <dgm:t>
        <a:bodyPr/>
        <a:lstStyle/>
        <a:p>
          <a:endParaRPr lang="en-US"/>
        </a:p>
      </dgm:t>
    </dgm:pt>
    <dgm:pt modelId="{973F97A8-B0BE-4F2A-850A-5D0AB962D1E3}" type="pres">
      <dgm:prSet presAssocID="{4FCF18AA-D60A-4324-882B-666FA9709A6F}" presName="linear" presStyleCnt="0">
        <dgm:presLayoutVars>
          <dgm:animLvl val="lvl"/>
          <dgm:resizeHandles val="exact"/>
        </dgm:presLayoutVars>
      </dgm:prSet>
      <dgm:spPr/>
    </dgm:pt>
    <dgm:pt modelId="{676DB328-6CD0-44D9-912F-F591263A88F4}" type="pres">
      <dgm:prSet presAssocID="{38F8B438-519A-4BFA-AA16-937A5F4B2131}" presName="parentText" presStyleLbl="node1" presStyleIdx="0" presStyleCnt="4">
        <dgm:presLayoutVars>
          <dgm:chMax val="0"/>
          <dgm:bulletEnabled val="1"/>
        </dgm:presLayoutVars>
      </dgm:prSet>
      <dgm:spPr/>
    </dgm:pt>
    <dgm:pt modelId="{FB478863-F975-4DFF-921B-3E2DB4A4B47E}" type="pres">
      <dgm:prSet presAssocID="{38F8B438-519A-4BFA-AA16-937A5F4B2131}" presName="childText" presStyleLbl="revTx" presStyleIdx="0" presStyleCnt="4">
        <dgm:presLayoutVars>
          <dgm:bulletEnabled val="1"/>
        </dgm:presLayoutVars>
      </dgm:prSet>
      <dgm:spPr/>
    </dgm:pt>
    <dgm:pt modelId="{74A8333C-C720-4829-8CD1-70FC468921BD}" type="pres">
      <dgm:prSet presAssocID="{A433A98C-B1C6-462C-9CC7-5D29DE377F96}" presName="parentText" presStyleLbl="node1" presStyleIdx="1" presStyleCnt="4">
        <dgm:presLayoutVars>
          <dgm:chMax val="0"/>
          <dgm:bulletEnabled val="1"/>
        </dgm:presLayoutVars>
      </dgm:prSet>
      <dgm:spPr/>
    </dgm:pt>
    <dgm:pt modelId="{DBA4D9F1-2157-47DC-B693-8E7C9B17DBC0}" type="pres">
      <dgm:prSet presAssocID="{A433A98C-B1C6-462C-9CC7-5D29DE377F96}" presName="childText" presStyleLbl="revTx" presStyleIdx="1" presStyleCnt="4">
        <dgm:presLayoutVars>
          <dgm:bulletEnabled val="1"/>
        </dgm:presLayoutVars>
      </dgm:prSet>
      <dgm:spPr/>
    </dgm:pt>
    <dgm:pt modelId="{EE9222F6-1065-4D85-82F2-5C38A7F30C3C}" type="pres">
      <dgm:prSet presAssocID="{732F329F-1596-4724-8FA3-850710277625}" presName="parentText" presStyleLbl="node1" presStyleIdx="2" presStyleCnt="4">
        <dgm:presLayoutVars>
          <dgm:chMax val="0"/>
          <dgm:bulletEnabled val="1"/>
        </dgm:presLayoutVars>
      </dgm:prSet>
      <dgm:spPr/>
    </dgm:pt>
    <dgm:pt modelId="{00F128D7-F5C8-4A7A-B36A-59BC541A4DC3}" type="pres">
      <dgm:prSet presAssocID="{732F329F-1596-4724-8FA3-850710277625}" presName="childText" presStyleLbl="revTx" presStyleIdx="2" presStyleCnt="4">
        <dgm:presLayoutVars>
          <dgm:bulletEnabled val="1"/>
        </dgm:presLayoutVars>
      </dgm:prSet>
      <dgm:spPr/>
    </dgm:pt>
    <dgm:pt modelId="{EE735F07-1E3D-41B3-A150-4C2ABA0F53E5}" type="pres">
      <dgm:prSet presAssocID="{C5325E19-E129-4C5D-850A-AE49C2198FAA}" presName="parentText" presStyleLbl="node1" presStyleIdx="3" presStyleCnt="4">
        <dgm:presLayoutVars>
          <dgm:chMax val="0"/>
          <dgm:bulletEnabled val="1"/>
        </dgm:presLayoutVars>
      </dgm:prSet>
      <dgm:spPr/>
    </dgm:pt>
    <dgm:pt modelId="{F87DACDB-5CE6-4B01-8BCD-1B6B1E82B892}" type="pres">
      <dgm:prSet presAssocID="{C5325E19-E129-4C5D-850A-AE49C2198FAA}" presName="childText" presStyleLbl="revTx" presStyleIdx="3" presStyleCnt="4">
        <dgm:presLayoutVars>
          <dgm:bulletEnabled val="1"/>
        </dgm:presLayoutVars>
      </dgm:prSet>
      <dgm:spPr/>
    </dgm:pt>
  </dgm:ptLst>
  <dgm:cxnLst>
    <dgm:cxn modelId="{F6178E08-BF27-4590-B605-F5AE64E67417}" srcId="{732F329F-1596-4724-8FA3-850710277625}" destId="{E54DDD07-D12E-4A85-A2CE-5048DA11DD23}" srcOrd="0" destOrd="0" parTransId="{22D058B1-242F-4E6F-B6EA-833F75685DFC}" sibTransId="{29C5E739-9CEF-49AF-9D08-AFE4CA3503C9}"/>
    <dgm:cxn modelId="{E30DBA10-578D-437F-A389-87F2244CA299}" type="presOf" srcId="{C8CF24F9-2914-4834-90E6-717AD3B56289}" destId="{F87DACDB-5CE6-4B01-8BCD-1B6B1E82B892}" srcOrd="0" destOrd="1" presId="urn:microsoft.com/office/officeart/2005/8/layout/vList2"/>
    <dgm:cxn modelId="{33441C19-7EA8-47E5-AEED-06D9E310CB37}" type="presOf" srcId="{418EB559-BFD7-4010-92FC-6CEF33F9E031}" destId="{DBA4D9F1-2157-47DC-B693-8E7C9B17DBC0}" srcOrd="0" destOrd="0" presId="urn:microsoft.com/office/officeart/2005/8/layout/vList2"/>
    <dgm:cxn modelId="{AE4C6A19-3D02-46DB-ACAC-B66C9E6F10FF}" srcId="{38F8B438-519A-4BFA-AA16-937A5F4B2131}" destId="{B6E9070F-C46C-40C9-8451-C90B2678608F}" srcOrd="0" destOrd="0" parTransId="{FB640951-261F-4E77-85E7-016B35BF4A1A}" sibTransId="{59E678F3-BD06-4441-852F-3A424D69B7EB}"/>
    <dgm:cxn modelId="{B32EAF23-6170-4C5F-AC04-7F6AA5842180}" type="presOf" srcId="{38F8B438-519A-4BFA-AA16-937A5F4B2131}" destId="{676DB328-6CD0-44D9-912F-F591263A88F4}" srcOrd="0" destOrd="0" presId="urn:microsoft.com/office/officeart/2005/8/layout/vList2"/>
    <dgm:cxn modelId="{FD8C9F27-FFE1-434C-9D01-EA8C1D0BA080}" srcId="{4FCF18AA-D60A-4324-882B-666FA9709A6F}" destId="{732F329F-1596-4724-8FA3-850710277625}" srcOrd="2" destOrd="0" parTransId="{7776DF7D-1445-407E-BFC8-CDDA3853729C}" sibTransId="{78440C26-AD93-43AB-A709-566C1B1679A4}"/>
    <dgm:cxn modelId="{F24FD728-541E-47BD-8E86-5EDA40382FA6}" srcId="{C5325E19-E129-4C5D-850A-AE49C2198FAA}" destId="{C8CF24F9-2914-4834-90E6-717AD3B56289}" srcOrd="1" destOrd="0" parTransId="{8E7B5CB9-E85E-4AF4-B017-6285BA274F19}" sibTransId="{9372B966-54BE-424A-B920-677EA06B1382}"/>
    <dgm:cxn modelId="{44424F2A-EA13-4902-B805-9A601EB1572B}" srcId="{A433A98C-B1C6-462C-9CC7-5D29DE377F96}" destId="{418EB559-BFD7-4010-92FC-6CEF33F9E031}" srcOrd="0" destOrd="0" parTransId="{8DB63809-D2B8-4A26-8776-5F4D01598E08}" sibTransId="{4675353C-D05E-4B57-BCFB-185363BCC33C}"/>
    <dgm:cxn modelId="{F3934C41-9DB8-4249-916F-37C62EEED449}" srcId="{C5325E19-E129-4C5D-850A-AE49C2198FAA}" destId="{02CDE90F-F9E0-46BE-98AC-A0EDD596E5C4}" srcOrd="0" destOrd="0" parTransId="{24D2AE5C-0C97-49E9-A605-2B606B6E87F9}" sibTransId="{4CB0812D-665B-4A41-92A3-450E9805AF53}"/>
    <dgm:cxn modelId="{2C428061-4B3F-4E8C-B09A-F86367B594D8}" srcId="{732F329F-1596-4724-8FA3-850710277625}" destId="{D68E7D92-A269-4D75-8BB2-1AB14D7F3BDC}" srcOrd="1" destOrd="0" parTransId="{35609101-4801-430C-A949-4B98B1DE4A96}" sibTransId="{90D5791E-CB42-4D35-96DC-2EECDA29FB4A}"/>
    <dgm:cxn modelId="{2F9EE362-9356-4267-9EB6-E43C452436D7}" srcId="{38F8B438-519A-4BFA-AA16-937A5F4B2131}" destId="{1F9D241F-770E-437A-A20E-9C0DCB025BE1}" srcOrd="1" destOrd="0" parTransId="{46FA6DA3-4A0C-48C3-8D2A-072555080957}" sibTransId="{279188CE-D80F-43B1-B95F-81E80D0C3AD6}"/>
    <dgm:cxn modelId="{6485E542-1E1E-4988-BC14-7DCE3ADC5C4D}" srcId="{4FCF18AA-D60A-4324-882B-666FA9709A6F}" destId="{38F8B438-519A-4BFA-AA16-937A5F4B2131}" srcOrd="0" destOrd="0" parTransId="{8C2DDB57-7644-459C-A381-E74558558A71}" sibTransId="{6EB43EF3-47A6-4752-81D9-4C4A4BE8FB8B}"/>
    <dgm:cxn modelId="{48066A63-149F-49C5-BA00-695B72B5D268}" type="presOf" srcId="{732F329F-1596-4724-8FA3-850710277625}" destId="{EE9222F6-1065-4D85-82F2-5C38A7F30C3C}" srcOrd="0" destOrd="0" presId="urn:microsoft.com/office/officeart/2005/8/layout/vList2"/>
    <dgm:cxn modelId="{D9D95749-657B-4420-9036-6801F5DC78EB}" type="presOf" srcId="{C5325E19-E129-4C5D-850A-AE49C2198FAA}" destId="{EE735F07-1E3D-41B3-A150-4C2ABA0F53E5}" srcOrd="0" destOrd="0" presId="urn:microsoft.com/office/officeart/2005/8/layout/vList2"/>
    <dgm:cxn modelId="{20B1F26E-F792-4A9C-B748-89724A236216}" srcId="{A433A98C-B1C6-462C-9CC7-5D29DE377F96}" destId="{A9B72B21-29ED-440A-8E32-2B72BD223614}" srcOrd="2" destOrd="0" parTransId="{AD5A42A6-1E6D-44D8-9890-829DA7F3A331}" sibTransId="{C66F46FA-D226-4AC4-881E-9D6DAE8C1074}"/>
    <dgm:cxn modelId="{9BFFEA73-D26E-4C66-8016-F4F372090956}" type="presOf" srcId="{E54DDD07-D12E-4A85-A2CE-5048DA11DD23}" destId="{00F128D7-F5C8-4A7A-B36A-59BC541A4DC3}" srcOrd="0" destOrd="0" presId="urn:microsoft.com/office/officeart/2005/8/layout/vList2"/>
    <dgm:cxn modelId="{4E9F2458-8A1B-4275-BED6-C810C7D85A43}" type="presOf" srcId="{1F9D241F-770E-437A-A20E-9C0DCB025BE1}" destId="{FB478863-F975-4DFF-921B-3E2DB4A4B47E}" srcOrd="0" destOrd="1" presId="urn:microsoft.com/office/officeart/2005/8/layout/vList2"/>
    <dgm:cxn modelId="{2AEC4C7A-5879-4199-BC5D-410268D8D151}" type="presOf" srcId="{A433A98C-B1C6-462C-9CC7-5D29DE377F96}" destId="{74A8333C-C720-4829-8CD1-70FC468921BD}" srcOrd="0" destOrd="0" presId="urn:microsoft.com/office/officeart/2005/8/layout/vList2"/>
    <dgm:cxn modelId="{8454C27C-AB71-41DE-9B1E-2DCEC5A3BE46}" type="presOf" srcId="{D68E7D92-A269-4D75-8BB2-1AB14D7F3BDC}" destId="{00F128D7-F5C8-4A7A-B36A-59BC541A4DC3}" srcOrd="0" destOrd="1" presId="urn:microsoft.com/office/officeart/2005/8/layout/vList2"/>
    <dgm:cxn modelId="{AA843D8E-7B28-4A6D-9C1A-09F095CAF4D9}" srcId="{4FCF18AA-D60A-4324-882B-666FA9709A6F}" destId="{A433A98C-B1C6-462C-9CC7-5D29DE377F96}" srcOrd="1" destOrd="0" parTransId="{2C805212-DBBB-4B50-84D1-23EF2DD2E0FD}" sibTransId="{73CEB146-D65F-407B-A34F-82A4A5B3C897}"/>
    <dgm:cxn modelId="{D2078894-96AB-4E09-A32B-440A412FF685}" type="presOf" srcId="{02CDE90F-F9E0-46BE-98AC-A0EDD596E5C4}" destId="{F87DACDB-5CE6-4B01-8BCD-1B6B1E82B892}" srcOrd="0" destOrd="0" presId="urn:microsoft.com/office/officeart/2005/8/layout/vList2"/>
    <dgm:cxn modelId="{723F6598-26BD-445F-85BE-D2AF1D835E7A}" type="presOf" srcId="{4FCF18AA-D60A-4324-882B-666FA9709A6F}" destId="{973F97A8-B0BE-4F2A-850A-5D0AB962D1E3}" srcOrd="0" destOrd="0" presId="urn:microsoft.com/office/officeart/2005/8/layout/vList2"/>
    <dgm:cxn modelId="{E3BF36B4-8A69-4A91-917D-3F386F7169D5}" type="presOf" srcId="{A9B72B21-29ED-440A-8E32-2B72BD223614}" destId="{DBA4D9F1-2157-47DC-B693-8E7C9B17DBC0}" srcOrd="0" destOrd="2" presId="urn:microsoft.com/office/officeart/2005/8/layout/vList2"/>
    <dgm:cxn modelId="{E5F1ADB5-55C4-49C6-A8D9-7CAAF4511323}" srcId="{4FCF18AA-D60A-4324-882B-666FA9709A6F}" destId="{C5325E19-E129-4C5D-850A-AE49C2198FAA}" srcOrd="3" destOrd="0" parTransId="{D14A078C-C877-421C-95D7-5B02F7B52CDC}" sibTransId="{3BA3291A-DC2E-4616-86A4-E732DA78C749}"/>
    <dgm:cxn modelId="{4A161CBF-3FD5-4E09-9CB3-86E70D6831A8}" type="presOf" srcId="{146E7BFE-8A96-4C1F-9FAF-028C6C0AF868}" destId="{DBA4D9F1-2157-47DC-B693-8E7C9B17DBC0}" srcOrd="0" destOrd="1" presId="urn:microsoft.com/office/officeart/2005/8/layout/vList2"/>
    <dgm:cxn modelId="{3F0674D9-71D0-4FBE-99A8-78E7FD3E42D4}" type="presOf" srcId="{B6E9070F-C46C-40C9-8451-C90B2678608F}" destId="{FB478863-F975-4DFF-921B-3E2DB4A4B47E}" srcOrd="0" destOrd="0" presId="urn:microsoft.com/office/officeart/2005/8/layout/vList2"/>
    <dgm:cxn modelId="{4FA22DE6-2439-4589-B8BB-7CD38DFEAA0B}" srcId="{A433A98C-B1C6-462C-9CC7-5D29DE377F96}" destId="{146E7BFE-8A96-4C1F-9FAF-028C6C0AF868}" srcOrd="1" destOrd="0" parTransId="{1D7E4A05-453C-4546-AD62-5E8CE9BBCDBF}" sibTransId="{AABBE3BA-4E11-4888-8D4A-4B4DB5D68650}"/>
    <dgm:cxn modelId="{80E4B732-DB4C-49C1-9E0F-3BFE04B83FDD}" type="presParOf" srcId="{973F97A8-B0BE-4F2A-850A-5D0AB962D1E3}" destId="{676DB328-6CD0-44D9-912F-F591263A88F4}" srcOrd="0" destOrd="0" presId="urn:microsoft.com/office/officeart/2005/8/layout/vList2"/>
    <dgm:cxn modelId="{2005CF77-F300-4E10-B5B0-5C33D48B7C3C}" type="presParOf" srcId="{973F97A8-B0BE-4F2A-850A-5D0AB962D1E3}" destId="{FB478863-F975-4DFF-921B-3E2DB4A4B47E}" srcOrd="1" destOrd="0" presId="urn:microsoft.com/office/officeart/2005/8/layout/vList2"/>
    <dgm:cxn modelId="{AE96C062-87AE-433F-A59C-C4FF97DFDCF0}" type="presParOf" srcId="{973F97A8-B0BE-4F2A-850A-5D0AB962D1E3}" destId="{74A8333C-C720-4829-8CD1-70FC468921BD}" srcOrd="2" destOrd="0" presId="urn:microsoft.com/office/officeart/2005/8/layout/vList2"/>
    <dgm:cxn modelId="{7B281E6B-C02B-4A4F-9F4C-B090B63B8120}" type="presParOf" srcId="{973F97A8-B0BE-4F2A-850A-5D0AB962D1E3}" destId="{DBA4D9F1-2157-47DC-B693-8E7C9B17DBC0}" srcOrd="3" destOrd="0" presId="urn:microsoft.com/office/officeart/2005/8/layout/vList2"/>
    <dgm:cxn modelId="{FEB09350-2012-4BB4-9193-EE6F32F27FFC}" type="presParOf" srcId="{973F97A8-B0BE-4F2A-850A-5D0AB962D1E3}" destId="{EE9222F6-1065-4D85-82F2-5C38A7F30C3C}" srcOrd="4" destOrd="0" presId="urn:microsoft.com/office/officeart/2005/8/layout/vList2"/>
    <dgm:cxn modelId="{55AAA228-5552-4000-9CD0-F123732388F0}" type="presParOf" srcId="{973F97A8-B0BE-4F2A-850A-5D0AB962D1E3}" destId="{00F128D7-F5C8-4A7A-B36A-59BC541A4DC3}" srcOrd="5" destOrd="0" presId="urn:microsoft.com/office/officeart/2005/8/layout/vList2"/>
    <dgm:cxn modelId="{6521B6CE-A742-4773-BFB9-B993F6C5ED7C}" type="presParOf" srcId="{973F97A8-B0BE-4F2A-850A-5D0AB962D1E3}" destId="{EE735F07-1E3D-41B3-A150-4C2ABA0F53E5}" srcOrd="6" destOrd="0" presId="urn:microsoft.com/office/officeart/2005/8/layout/vList2"/>
    <dgm:cxn modelId="{CEA9E293-BE3B-4229-9D06-6955E5B4E989}" type="presParOf" srcId="{973F97A8-B0BE-4F2A-850A-5D0AB962D1E3}" destId="{F87DACDB-5CE6-4B01-8BCD-1B6B1E82B892}" srcOrd="7"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FCF18AA-D60A-4324-882B-666FA9709A6F}"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38F8B438-519A-4BFA-AA16-937A5F4B2131}">
      <dgm:prSet custT="1"/>
      <dgm:spPr>
        <a:solidFill>
          <a:srgbClr val="00B0F0"/>
        </a:solidFill>
      </dgm:spPr>
      <dgm:t>
        <a:bodyPr/>
        <a:lstStyle/>
        <a:p>
          <a:r>
            <a:rPr lang="en-US" sz="2000" b="1" baseline="0">
              <a:solidFill>
                <a:schemeClr val="tx1"/>
              </a:solidFill>
            </a:rPr>
            <a:t>Solution Explorer</a:t>
          </a:r>
          <a:endParaRPr lang="en-US" sz="2000" b="1">
            <a:solidFill>
              <a:schemeClr val="tx1"/>
            </a:solidFill>
          </a:endParaRPr>
        </a:p>
      </dgm:t>
    </dgm:pt>
    <dgm:pt modelId="{8C2DDB57-7644-459C-A381-E74558558A71}" type="parTrans" cxnId="{6485E542-1E1E-4988-BC14-7DCE3ADC5C4D}">
      <dgm:prSet/>
      <dgm:spPr/>
      <dgm:t>
        <a:bodyPr/>
        <a:lstStyle/>
        <a:p>
          <a:endParaRPr lang="en-US" sz="2000">
            <a:solidFill>
              <a:schemeClr val="tx1"/>
            </a:solidFill>
          </a:endParaRPr>
        </a:p>
      </dgm:t>
    </dgm:pt>
    <dgm:pt modelId="{6EB43EF3-47A6-4752-81D9-4C4A4BE8FB8B}" type="sibTrans" cxnId="{6485E542-1E1E-4988-BC14-7DCE3ADC5C4D}">
      <dgm:prSet/>
      <dgm:spPr/>
      <dgm:t>
        <a:bodyPr/>
        <a:lstStyle/>
        <a:p>
          <a:endParaRPr lang="en-US" sz="2000">
            <a:solidFill>
              <a:schemeClr val="tx1"/>
            </a:solidFill>
          </a:endParaRPr>
        </a:p>
      </dgm:t>
    </dgm:pt>
    <dgm:pt modelId="{B6E9070F-C46C-40C9-8451-C90B2678608F}">
      <dgm:prSet custT="1"/>
      <dgm:spPr/>
      <dgm:t>
        <a:bodyPr/>
        <a:lstStyle/>
        <a:p>
          <a:r>
            <a:rPr lang="en-US" sz="2000" baseline="0">
              <a:solidFill>
                <a:schemeClr val="tx1"/>
              </a:solidFill>
            </a:rPr>
            <a:t>List of files in project</a:t>
          </a:r>
          <a:endParaRPr lang="en-US" sz="2000">
            <a:solidFill>
              <a:schemeClr val="tx1"/>
            </a:solidFill>
          </a:endParaRPr>
        </a:p>
      </dgm:t>
    </dgm:pt>
    <dgm:pt modelId="{FB640951-261F-4E77-85E7-016B35BF4A1A}" type="parTrans" cxnId="{AE4C6A19-3D02-46DB-ACAC-B66C9E6F10FF}">
      <dgm:prSet/>
      <dgm:spPr/>
      <dgm:t>
        <a:bodyPr/>
        <a:lstStyle/>
        <a:p>
          <a:endParaRPr lang="en-US" sz="2000">
            <a:solidFill>
              <a:schemeClr val="tx1"/>
            </a:solidFill>
          </a:endParaRPr>
        </a:p>
      </dgm:t>
    </dgm:pt>
    <dgm:pt modelId="{59E678F3-BD06-4441-852F-3A424D69B7EB}" type="sibTrans" cxnId="{AE4C6A19-3D02-46DB-ACAC-B66C9E6F10FF}">
      <dgm:prSet/>
      <dgm:spPr/>
      <dgm:t>
        <a:bodyPr/>
        <a:lstStyle/>
        <a:p>
          <a:endParaRPr lang="en-US" sz="2000">
            <a:solidFill>
              <a:schemeClr val="tx1"/>
            </a:solidFill>
          </a:endParaRPr>
        </a:p>
      </dgm:t>
    </dgm:pt>
    <dgm:pt modelId="{1F9D241F-770E-437A-A20E-9C0DCB025BE1}">
      <dgm:prSet custT="1"/>
      <dgm:spPr/>
      <dgm:t>
        <a:bodyPr/>
        <a:lstStyle/>
        <a:p>
          <a:r>
            <a:rPr lang="en-US" sz="2000" baseline="0">
              <a:solidFill>
                <a:schemeClr val="tx1"/>
              </a:solidFill>
            </a:rPr>
            <a:t>Use </a:t>
          </a:r>
          <a:r>
            <a:rPr lang="en-US" sz="2000" baseline="0" err="1">
              <a:solidFill>
                <a:schemeClr val="tx1"/>
              </a:solidFill>
            </a:rPr>
            <a:t>MainWindow.XAML</a:t>
          </a:r>
          <a:endParaRPr lang="en-US" sz="2000">
            <a:solidFill>
              <a:schemeClr val="tx1"/>
            </a:solidFill>
          </a:endParaRPr>
        </a:p>
      </dgm:t>
    </dgm:pt>
    <dgm:pt modelId="{46FA6DA3-4A0C-48C3-8D2A-072555080957}" type="parTrans" cxnId="{2F9EE362-9356-4267-9EB6-E43C452436D7}">
      <dgm:prSet/>
      <dgm:spPr/>
      <dgm:t>
        <a:bodyPr/>
        <a:lstStyle/>
        <a:p>
          <a:endParaRPr lang="en-US" sz="2000">
            <a:solidFill>
              <a:schemeClr val="tx1"/>
            </a:solidFill>
          </a:endParaRPr>
        </a:p>
      </dgm:t>
    </dgm:pt>
    <dgm:pt modelId="{279188CE-D80F-43B1-B95F-81E80D0C3AD6}" type="sibTrans" cxnId="{2F9EE362-9356-4267-9EB6-E43C452436D7}">
      <dgm:prSet/>
      <dgm:spPr/>
      <dgm:t>
        <a:bodyPr/>
        <a:lstStyle/>
        <a:p>
          <a:endParaRPr lang="en-US" sz="2000">
            <a:solidFill>
              <a:schemeClr val="tx1"/>
            </a:solidFill>
          </a:endParaRPr>
        </a:p>
      </dgm:t>
    </dgm:pt>
    <dgm:pt modelId="{A433A98C-B1C6-462C-9CC7-5D29DE377F96}">
      <dgm:prSet custT="1"/>
      <dgm:spPr/>
      <dgm:t>
        <a:bodyPr/>
        <a:lstStyle/>
        <a:p>
          <a:r>
            <a:rPr lang="en-US" sz="2000" b="1" baseline="0">
              <a:solidFill>
                <a:schemeClr val="tx1"/>
              </a:solidFill>
            </a:rPr>
            <a:t>Viewport</a:t>
          </a:r>
          <a:endParaRPr lang="en-US" sz="2000" b="1">
            <a:solidFill>
              <a:schemeClr val="tx1"/>
            </a:solidFill>
          </a:endParaRPr>
        </a:p>
      </dgm:t>
    </dgm:pt>
    <dgm:pt modelId="{2C805212-DBBB-4B50-84D1-23EF2DD2E0FD}" type="parTrans" cxnId="{AA843D8E-7B28-4A6D-9C1A-09F095CAF4D9}">
      <dgm:prSet/>
      <dgm:spPr/>
      <dgm:t>
        <a:bodyPr/>
        <a:lstStyle/>
        <a:p>
          <a:endParaRPr lang="en-US" sz="2000">
            <a:solidFill>
              <a:schemeClr val="tx1"/>
            </a:solidFill>
          </a:endParaRPr>
        </a:p>
      </dgm:t>
    </dgm:pt>
    <dgm:pt modelId="{73CEB146-D65F-407B-A34F-82A4A5B3C897}" type="sibTrans" cxnId="{AA843D8E-7B28-4A6D-9C1A-09F095CAF4D9}">
      <dgm:prSet/>
      <dgm:spPr/>
      <dgm:t>
        <a:bodyPr/>
        <a:lstStyle/>
        <a:p>
          <a:endParaRPr lang="en-US" sz="2000">
            <a:solidFill>
              <a:schemeClr val="tx1"/>
            </a:solidFill>
          </a:endParaRPr>
        </a:p>
      </dgm:t>
    </dgm:pt>
    <dgm:pt modelId="{418EB559-BFD7-4010-92FC-6CEF33F9E031}">
      <dgm:prSet custT="1"/>
      <dgm:spPr/>
      <dgm:t>
        <a:bodyPr/>
        <a:lstStyle/>
        <a:p>
          <a:r>
            <a:rPr lang="en-US" sz="2000" baseline="0">
              <a:solidFill>
                <a:schemeClr val="tx1"/>
              </a:solidFill>
            </a:rPr>
            <a:t>Code editor</a:t>
          </a:r>
          <a:endParaRPr lang="en-US" sz="2000">
            <a:solidFill>
              <a:schemeClr val="tx1"/>
            </a:solidFill>
          </a:endParaRPr>
        </a:p>
      </dgm:t>
    </dgm:pt>
    <dgm:pt modelId="{8DB63809-D2B8-4A26-8776-5F4D01598E08}" type="parTrans" cxnId="{44424F2A-EA13-4902-B805-9A601EB1572B}">
      <dgm:prSet/>
      <dgm:spPr/>
      <dgm:t>
        <a:bodyPr/>
        <a:lstStyle/>
        <a:p>
          <a:endParaRPr lang="en-US" sz="2000">
            <a:solidFill>
              <a:schemeClr val="tx1"/>
            </a:solidFill>
          </a:endParaRPr>
        </a:p>
      </dgm:t>
    </dgm:pt>
    <dgm:pt modelId="{4675353C-D05E-4B57-BCFB-185363BCC33C}" type="sibTrans" cxnId="{44424F2A-EA13-4902-B805-9A601EB1572B}">
      <dgm:prSet/>
      <dgm:spPr/>
      <dgm:t>
        <a:bodyPr/>
        <a:lstStyle/>
        <a:p>
          <a:endParaRPr lang="en-US" sz="2000">
            <a:solidFill>
              <a:schemeClr val="tx1"/>
            </a:solidFill>
          </a:endParaRPr>
        </a:p>
      </dgm:t>
    </dgm:pt>
    <dgm:pt modelId="{146E7BFE-8A96-4C1F-9FAF-028C6C0AF868}">
      <dgm:prSet custT="1"/>
      <dgm:spPr/>
      <dgm:t>
        <a:bodyPr/>
        <a:lstStyle/>
        <a:p>
          <a:r>
            <a:rPr lang="en-US" sz="2000" baseline="0">
              <a:solidFill>
                <a:schemeClr val="tx1"/>
              </a:solidFill>
            </a:rPr>
            <a:t>Visual GUI creator</a:t>
          </a:r>
          <a:endParaRPr lang="en-US" sz="2000">
            <a:solidFill>
              <a:schemeClr val="tx1"/>
            </a:solidFill>
          </a:endParaRPr>
        </a:p>
      </dgm:t>
    </dgm:pt>
    <dgm:pt modelId="{1D7E4A05-453C-4546-AD62-5E8CE9BBCDBF}" type="parTrans" cxnId="{4FA22DE6-2439-4589-B8BB-7CD38DFEAA0B}">
      <dgm:prSet/>
      <dgm:spPr/>
      <dgm:t>
        <a:bodyPr/>
        <a:lstStyle/>
        <a:p>
          <a:endParaRPr lang="en-US" sz="2000">
            <a:solidFill>
              <a:schemeClr val="tx1"/>
            </a:solidFill>
          </a:endParaRPr>
        </a:p>
      </dgm:t>
    </dgm:pt>
    <dgm:pt modelId="{AABBE3BA-4E11-4888-8D4A-4B4DB5D68650}" type="sibTrans" cxnId="{4FA22DE6-2439-4589-B8BB-7CD38DFEAA0B}">
      <dgm:prSet/>
      <dgm:spPr/>
      <dgm:t>
        <a:bodyPr/>
        <a:lstStyle/>
        <a:p>
          <a:endParaRPr lang="en-US" sz="2000">
            <a:solidFill>
              <a:schemeClr val="tx1"/>
            </a:solidFill>
          </a:endParaRPr>
        </a:p>
      </dgm:t>
    </dgm:pt>
    <dgm:pt modelId="{A9B72B21-29ED-440A-8E32-2B72BD223614}">
      <dgm:prSet custT="1"/>
      <dgm:spPr/>
      <dgm:t>
        <a:bodyPr/>
        <a:lstStyle/>
        <a:p>
          <a:r>
            <a:rPr lang="en-US" sz="2000" baseline="0">
              <a:solidFill>
                <a:schemeClr val="tx1"/>
              </a:solidFill>
            </a:rPr>
            <a:t>Tabs for open files</a:t>
          </a:r>
          <a:endParaRPr lang="en-US" sz="2000">
            <a:solidFill>
              <a:schemeClr val="tx1"/>
            </a:solidFill>
          </a:endParaRPr>
        </a:p>
      </dgm:t>
    </dgm:pt>
    <dgm:pt modelId="{AD5A42A6-1E6D-44D8-9890-829DA7F3A331}" type="parTrans" cxnId="{20B1F26E-F792-4A9C-B748-89724A236216}">
      <dgm:prSet/>
      <dgm:spPr/>
      <dgm:t>
        <a:bodyPr/>
        <a:lstStyle/>
        <a:p>
          <a:endParaRPr lang="en-US" sz="2000">
            <a:solidFill>
              <a:schemeClr val="tx1"/>
            </a:solidFill>
          </a:endParaRPr>
        </a:p>
      </dgm:t>
    </dgm:pt>
    <dgm:pt modelId="{C66F46FA-D226-4AC4-881E-9D6DAE8C1074}" type="sibTrans" cxnId="{20B1F26E-F792-4A9C-B748-89724A236216}">
      <dgm:prSet/>
      <dgm:spPr/>
      <dgm:t>
        <a:bodyPr/>
        <a:lstStyle/>
        <a:p>
          <a:endParaRPr lang="en-US" sz="2000">
            <a:solidFill>
              <a:schemeClr val="tx1"/>
            </a:solidFill>
          </a:endParaRPr>
        </a:p>
      </dgm:t>
    </dgm:pt>
    <dgm:pt modelId="{732F329F-1596-4724-8FA3-850710277625}">
      <dgm:prSet custT="1"/>
      <dgm:spPr/>
      <dgm:t>
        <a:bodyPr/>
        <a:lstStyle/>
        <a:p>
          <a:r>
            <a:rPr lang="en-US" sz="2000" b="1" baseline="0">
              <a:solidFill>
                <a:schemeClr val="tx1"/>
              </a:solidFill>
            </a:rPr>
            <a:t>Toolbox</a:t>
          </a:r>
          <a:endParaRPr lang="en-US" sz="2000" b="1">
            <a:solidFill>
              <a:schemeClr val="tx1"/>
            </a:solidFill>
          </a:endParaRPr>
        </a:p>
      </dgm:t>
    </dgm:pt>
    <dgm:pt modelId="{7776DF7D-1445-407E-BFC8-CDDA3853729C}" type="parTrans" cxnId="{FD8C9F27-FFE1-434C-9D01-EA8C1D0BA080}">
      <dgm:prSet/>
      <dgm:spPr/>
      <dgm:t>
        <a:bodyPr/>
        <a:lstStyle/>
        <a:p>
          <a:endParaRPr lang="en-US" sz="2000">
            <a:solidFill>
              <a:schemeClr val="tx1"/>
            </a:solidFill>
          </a:endParaRPr>
        </a:p>
      </dgm:t>
    </dgm:pt>
    <dgm:pt modelId="{78440C26-AD93-43AB-A709-566C1B1679A4}" type="sibTrans" cxnId="{FD8C9F27-FFE1-434C-9D01-EA8C1D0BA080}">
      <dgm:prSet/>
      <dgm:spPr/>
      <dgm:t>
        <a:bodyPr/>
        <a:lstStyle/>
        <a:p>
          <a:endParaRPr lang="en-US" sz="2000">
            <a:solidFill>
              <a:schemeClr val="tx1"/>
            </a:solidFill>
          </a:endParaRPr>
        </a:p>
      </dgm:t>
    </dgm:pt>
    <dgm:pt modelId="{E54DDD07-D12E-4A85-A2CE-5048DA11DD23}">
      <dgm:prSet custT="1"/>
      <dgm:spPr/>
      <dgm:t>
        <a:bodyPr/>
        <a:lstStyle/>
        <a:p>
          <a:r>
            <a:rPr lang="en-US" sz="2000" baseline="0">
              <a:solidFill>
                <a:schemeClr val="tx1"/>
              </a:solidFill>
            </a:rPr>
            <a:t>Contains GUI controls</a:t>
          </a:r>
          <a:endParaRPr lang="en-US" sz="2000">
            <a:solidFill>
              <a:schemeClr val="tx1"/>
            </a:solidFill>
          </a:endParaRPr>
        </a:p>
      </dgm:t>
    </dgm:pt>
    <dgm:pt modelId="{22D058B1-242F-4E6F-B6EA-833F75685DFC}" type="parTrans" cxnId="{F6178E08-BF27-4590-B605-F5AE64E67417}">
      <dgm:prSet/>
      <dgm:spPr/>
      <dgm:t>
        <a:bodyPr/>
        <a:lstStyle/>
        <a:p>
          <a:endParaRPr lang="en-US" sz="2000">
            <a:solidFill>
              <a:schemeClr val="tx1"/>
            </a:solidFill>
          </a:endParaRPr>
        </a:p>
      </dgm:t>
    </dgm:pt>
    <dgm:pt modelId="{29C5E739-9CEF-49AF-9D08-AFE4CA3503C9}" type="sibTrans" cxnId="{F6178E08-BF27-4590-B605-F5AE64E67417}">
      <dgm:prSet/>
      <dgm:spPr/>
      <dgm:t>
        <a:bodyPr/>
        <a:lstStyle/>
        <a:p>
          <a:endParaRPr lang="en-US" sz="2000">
            <a:solidFill>
              <a:schemeClr val="tx1"/>
            </a:solidFill>
          </a:endParaRPr>
        </a:p>
      </dgm:t>
    </dgm:pt>
    <dgm:pt modelId="{D68E7D92-A269-4D75-8BB2-1AB14D7F3BDC}">
      <dgm:prSet custT="1"/>
      <dgm:spPr/>
      <dgm:t>
        <a:bodyPr/>
        <a:lstStyle/>
        <a:p>
          <a:r>
            <a:rPr lang="en-US" sz="2000" baseline="0">
              <a:solidFill>
                <a:schemeClr val="tx1"/>
              </a:solidFill>
            </a:rPr>
            <a:t>Drag &amp; Drop</a:t>
          </a:r>
          <a:endParaRPr lang="en-US" sz="2000">
            <a:solidFill>
              <a:schemeClr val="tx1"/>
            </a:solidFill>
          </a:endParaRPr>
        </a:p>
      </dgm:t>
    </dgm:pt>
    <dgm:pt modelId="{35609101-4801-430C-A949-4B98B1DE4A96}" type="parTrans" cxnId="{2C428061-4B3F-4E8C-B09A-F86367B594D8}">
      <dgm:prSet/>
      <dgm:spPr/>
      <dgm:t>
        <a:bodyPr/>
        <a:lstStyle/>
        <a:p>
          <a:endParaRPr lang="en-US" sz="2000">
            <a:solidFill>
              <a:schemeClr val="tx1"/>
            </a:solidFill>
          </a:endParaRPr>
        </a:p>
      </dgm:t>
    </dgm:pt>
    <dgm:pt modelId="{90D5791E-CB42-4D35-96DC-2EECDA29FB4A}" type="sibTrans" cxnId="{2C428061-4B3F-4E8C-B09A-F86367B594D8}">
      <dgm:prSet/>
      <dgm:spPr/>
      <dgm:t>
        <a:bodyPr/>
        <a:lstStyle/>
        <a:p>
          <a:endParaRPr lang="en-US" sz="2000">
            <a:solidFill>
              <a:schemeClr val="tx1"/>
            </a:solidFill>
          </a:endParaRPr>
        </a:p>
      </dgm:t>
    </dgm:pt>
    <dgm:pt modelId="{C5325E19-E129-4C5D-850A-AE49C2198FAA}">
      <dgm:prSet custT="1"/>
      <dgm:spPr/>
      <dgm:t>
        <a:bodyPr/>
        <a:lstStyle/>
        <a:p>
          <a:r>
            <a:rPr lang="en-US" sz="2000" b="1" baseline="0">
              <a:solidFill>
                <a:schemeClr val="tx1"/>
              </a:solidFill>
            </a:rPr>
            <a:t>Properties</a:t>
          </a:r>
          <a:endParaRPr lang="en-US" sz="2000" b="1">
            <a:solidFill>
              <a:schemeClr val="tx1"/>
            </a:solidFill>
          </a:endParaRPr>
        </a:p>
      </dgm:t>
    </dgm:pt>
    <dgm:pt modelId="{D14A078C-C877-421C-95D7-5B02F7B52CDC}" type="parTrans" cxnId="{E5F1ADB5-55C4-49C6-A8D9-7CAAF4511323}">
      <dgm:prSet/>
      <dgm:spPr/>
      <dgm:t>
        <a:bodyPr/>
        <a:lstStyle/>
        <a:p>
          <a:endParaRPr lang="en-US" sz="2000">
            <a:solidFill>
              <a:schemeClr val="tx1"/>
            </a:solidFill>
          </a:endParaRPr>
        </a:p>
      </dgm:t>
    </dgm:pt>
    <dgm:pt modelId="{3BA3291A-DC2E-4616-86A4-E732DA78C749}" type="sibTrans" cxnId="{E5F1ADB5-55C4-49C6-A8D9-7CAAF4511323}">
      <dgm:prSet/>
      <dgm:spPr/>
      <dgm:t>
        <a:bodyPr/>
        <a:lstStyle/>
        <a:p>
          <a:endParaRPr lang="en-US" sz="2000">
            <a:solidFill>
              <a:schemeClr val="tx1"/>
            </a:solidFill>
          </a:endParaRPr>
        </a:p>
      </dgm:t>
    </dgm:pt>
    <dgm:pt modelId="{02CDE90F-F9E0-46BE-98AC-A0EDD596E5C4}">
      <dgm:prSet custT="1"/>
      <dgm:spPr/>
      <dgm:t>
        <a:bodyPr/>
        <a:lstStyle/>
        <a:p>
          <a:r>
            <a:rPr lang="en-US" sz="2000" baseline="0">
              <a:solidFill>
                <a:schemeClr val="tx1"/>
              </a:solidFill>
            </a:rPr>
            <a:t>Edit GUI controls</a:t>
          </a:r>
          <a:endParaRPr lang="en-US" sz="2000">
            <a:solidFill>
              <a:schemeClr val="tx1"/>
            </a:solidFill>
          </a:endParaRPr>
        </a:p>
      </dgm:t>
    </dgm:pt>
    <dgm:pt modelId="{24D2AE5C-0C97-49E9-A605-2B606B6E87F9}" type="parTrans" cxnId="{F3934C41-9DB8-4249-916F-37C62EEED449}">
      <dgm:prSet/>
      <dgm:spPr/>
      <dgm:t>
        <a:bodyPr/>
        <a:lstStyle/>
        <a:p>
          <a:endParaRPr lang="en-US" sz="2000">
            <a:solidFill>
              <a:schemeClr val="tx1"/>
            </a:solidFill>
          </a:endParaRPr>
        </a:p>
      </dgm:t>
    </dgm:pt>
    <dgm:pt modelId="{4CB0812D-665B-4A41-92A3-450E9805AF53}" type="sibTrans" cxnId="{F3934C41-9DB8-4249-916F-37C62EEED449}">
      <dgm:prSet/>
      <dgm:spPr/>
      <dgm:t>
        <a:bodyPr/>
        <a:lstStyle/>
        <a:p>
          <a:endParaRPr lang="en-US" sz="2000">
            <a:solidFill>
              <a:schemeClr val="tx1"/>
            </a:solidFill>
          </a:endParaRPr>
        </a:p>
      </dgm:t>
    </dgm:pt>
    <dgm:pt modelId="{E36F08B9-DF61-432B-9A7C-062F28375006}">
      <dgm:prSet custT="1"/>
      <dgm:spPr/>
      <dgm:t>
        <a:bodyPr/>
        <a:lstStyle/>
        <a:p>
          <a:r>
            <a:rPr lang="en-US" sz="2000">
              <a:solidFill>
                <a:schemeClr val="tx1"/>
              </a:solidFill>
            </a:rPr>
            <a:t>Changes XAML code</a:t>
          </a:r>
        </a:p>
      </dgm:t>
    </dgm:pt>
    <dgm:pt modelId="{15FCB37E-4FF1-421B-8828-247813BC771C}" type="parTrans" cxnId="{7DED441E-C68F-4849-8578-1F394E92FB64}">
      <dgm:prSet/>
      <dgm:spPr/>
    </dgm:pt>
    <dgm:pt modelId="{1B56EDE0-6EAD-4D8A-B4CE-FDFF3C0A68C2}" type="sibTrans" cxnId="{7DED441E-C68F-4849-8578-1F394E92FB64}">
      <dgm:prSet/>
      <dgm:spPr/>
    </dgm:pt>
    <dgm:pt modelId="{973F97A8-B0BE-4F2A-850A-5D0AB962D1E3}" type="pres">
      <dgm:prSet presAssocID="{4FCF18AA-D60A-4324-882B-666FA9709A6F}" presName="linear" presStyleCnt="0">
        <dgm:presLayoutVars>
          <dgm:animLvl val="lvl"/>
          <dgm:resizeHandles val="exact"/>
        </dgm:presLayoutVars>
      </dgm:prSet>
      <dgm:spPr/>
    </dgm:pt>
    <dgm:pt modelId="{676DB328-6CD0-44D9-912F-F591263A88F4}" type="pres">
      <dgm:prSet presAssocID="{38F8B438-519A-4BFA-AA16-937A5F4B2131}" presName="parentText" presStyleLbl="node1" presStyleIdx="0" presStyleCnt="4">
        <dgm:presLayoutVars>
          <dgm:chMax val="0"/>
          <dgm:bulletEnabled val="1"/>
        </dgm:presLayoutVars>
      </dgm:prSet>
      <dgm:spPr/>
    </dgm:pt>
    <dgm:pt modelId="{FB478863-F975-4DFF-921B-3E2DB4A4B47E}" type="pres">
      <dgm:prSet presAssocID="{38F8B438-519A-4BFA-AA16-937A5F4B2131}" presName="childText" presStyleLbl="revTx" presStyleIdx="0" presStyleCnt="4">
        <dgm:presLayoutVars>
          <dgm:bulletEnabled val="1"/>
        </dgm:presLayoutVars>
      </dgm:prSet>
      <dgm:spPr/>
    </dgm:pt>
    <dgm:pt modelId="{74A8333C-C720-4829-8CD1-70FC468921BD}" type="pres">
      <dgm:prSet presAssocID="{A433A98C-B1C6-462C-9CC7-5D29DE377F96}" presName="parentText" presStyleLbl="node1" presStyleIdx="1" presStyleCnt="4">
        <dgm:presLayoutVars>
          <dgm:chMax val="0"/>
          <dgm:bulletEnabled val="1"/>
        </dgm:presLayoutVars>
      </dgm:prSet>
      <dgm:spPr/>
    </dgm:pt>
    <dgm:pt modelId="{DBA4D9F1-2157-47DC-B693-8E7C9B17DBC0}" type="pres">
      <dgm:prSet presAssocID="{A433A98C-B1C6-462C-9CC7-5D29DE377F96}" presName="childText" presStyleLbl="revTx" presStyleIdx="1" presStyleCnt="4">
        <dgm:presLayoutVars>
          <dgm:bulletEnabled val="1"/>
        </dgm:presLayoutVars>
      </dgm:prSet>
      <dgm:spPr/>
    </dgm:pt>
    <dgm:pt modelId="{EE9222F6-1065-4D85-82F2-5C38A7F30C3C}" type="pres">
      <dgm:prSet presAssocID="{732F329F-1596-4724-8FA3-850710277625}" presName="parentText" presStyleLbl="node1" presStyleIdx="2" presStyleCnt="4">
        <dgm:presLayoutVars>
          <dgm:chMax val="0"/>
          <dgm:bulletEnabled val="1"/>
        </dgm:presLayoutVars>
      </dgm:prSet>
      <dgm:spPr/>
    </dgm:pt>
    <dgm:pt modelId="{00F128D7-F5C8-4A7A-B36A-59BC541A4DC3}" type="pres">
      <dgm:prSet presAssocID="{732F329F-1596-4724-8FA3-850710277625}" presName="childText" presStyleLbl="revTx" presStyleIdx="2" presStyleCnt="4">
        <dgm:presLayoutVars>
          <dgm:bulletEnabled val="1"/>
        </dgm:presLayoutVars>
      </dgm:prSet>
      <dgm:spPr/>
    </dgm:pt>
    <dgm:pt modelId="{EE735F07-1E3D-41B3-A150-4C2ABA0F53E5}" type="pres">
      <dgm:prSet presAssocID="{C5325E19-E129-4C5D-850A-AE49C2198FAA}" presName="parentText" presStyleLbl="node1" presStyleIdx="3" presStyleCnt="4">
        <dgm:presLayoutVars>
          <dgm:chMax val="0"/>
          <dgm:bulletEnabled val="1"/>
        </dgm:presLayoutVars>
      </dgm:prSet>
      <dgm:spPr/>
    </dgm:pt>
    <dgm:pt modelId="{F87DACDB-5CE6-4B01-8BCD-1B6B1E82B892}" type="pres">
      <dgm:prSet presAssocID="{C5325E19-E129-4C5D-850A-AE49C2198FAA}" presName="childText" presStyleLbl="revTx" presStyleIdx="3" presStyleCnt="4">
        <dgm:presLayoutVars>
          <dgm:bulletEnabled val="1"/>
        </dgm:presLayoutVars>
      </dgm:prSet>
      <dgm:spPr/>
    </dgm:pt>
  </dgm:ptLst>
  <dgm:cxnLst>
    <dgm:cxn modelId="{F6178E08-BF27-4590-B605-F5AE64E67417}" srcId="{732F329F-1596-4724-8FA3-850710277625}" destId="{E54DDD07-D12E-4A85-A2CE-5048DA11DD23}" srcOrd="0" destOrd="0" parTransId="{22D058B1-242F-4E6F-B6EA-833F75685DFC}" sibTransId="{29C5E739-9CEF-49AF-9D08-AFE4CA3503C9}"/>
    <dgm:cxn modelId="{33441C19-7EA8-47E5-AEED-06D9E310CB37}" type="presOf" srcId="{418EB559-BFD7-4010-92FC-6CEF33F9E031}" destId="{DBA4D9F1-2157-47DC-B693-8E7C9B17DBC0}" srcOrd="0" destOrd="0" presId="urn:microsoft.com/office/officeart/2005/8/layout/vList2"/>
    <dgm:cxn modelId="{AE4C6A19-3D02-46DB-ACAC-B66C9E6F10FF}" srcId="{38F8B438-519A-4BFA-AA16-937A5F4B2131}" destId="{B6E9070F-C46C-40C9-8451-C90B2678608F}" srcOrd="0" destOrd="0" parTransId="{FB640951-261F-4E77-85E7-016B35BF4A1A}" sibTransId="{59E678F3-BD06-4441-852F-3A424D69B7EB}"/>
    <dgm:cxn modelId="{7DED441E-C68F-4849-8578-1F394E92FB64}" srcId="{C5325E19-E129-4C5D-850A-AE49C2198FAA}" destId="{E36F08B9-DF61-432B-9A7C-062F28375006}" srcOrd="1" destOrd="0" parTransId="{15FCB37E-4FF1-421B-8828-247813BC771C}" sibTransId="{1B56EDE0-6EAD-4D8A-B4CE-FDFF3C0A68C2}"/>
    <dgm:cxn modelId="{B32EAF23-6170-4C5F-AC04-7F6AA5842180}" type="presOf" srcId="{38F8B438-519A-4BFA-AA16-937A5F4B2131}" destId="{676DB328-6CD0-44D9-912F-F591263A88F4}" srcOrd="0" destOrd="0" presId="urn:microsoft.com/office/officeart/2005/8/layout/vList2"/>
    <dgm:cxn modelId="{AE71D023-7D49-4A9D-9F87-904781DE4E34}" type="presOf" srcId="{E36F08B9-DF61-432B-9A7C-062F28375006}" destId="{F87DACDB-5CE6-4B01-8BCD-1B6B1E82B892}" srcOrd="0" destOrd="1" presId="urn:microsoft.com/office/officeart/2005/8/layout/vList2"/>
    <dgm:cxn modelId="{FD8C9F27-FFE1-434C-9D01-EA8C1D0BA080}" srcId="{4FCF18AA-D60A-4324-882B-666FA9709A6F}" destId="{732F329F-1596-4724-8FA3-850710277625}" srcOrd="2" destOrd="0" parTransId="{7776DF7D-1445-407E-BFC8-CDDA3853729C}" sibTransId="{78440C26-AD93-43AB-A709-566C1B1679A4}"/>
    <dgm:cxn modelId="{44424F2A-EA13-4902-B805-9A601EB1572B}" srcId="{A433A98C-B1C6-462C-9CC7-5D29DE377F96}" destId="{418EB559-BFD7-4010-92FC-6CEF33F9E031}" srcOrd="0" destOrd="0" parTransId="{8DB63809-D2B8-4A26-8776-5F4D01598E08}" sibTransId="{4675353C-D05E-4B57-BCFB-185363BCC33C}"/>
    <dgm:cxn modelId="{F3934C41-9DB8-4249-916F-37C62EEED449}" srcId="{C5325E19-E129-4C5D-850A-AE49C2198FAA}" destId="{02CDE90F-F9E0-46BE-98AC-A0EDD596E5C4}" srcOrd="0" destOrd="0" parTransId="{24D2AE5C-0C97-49E9-A605-2B606B6E87F9}" sibTransId="{4CB0812D-665B-4A41-92A3-450E9805AF53}"/>
    <dgm:cxn modelId="{2C428061-4B3F-4E8C-B09A-F86367B594D8}" srcId="{732F329F-1596-4724-8FA3-850710277625}" destId="{D68E7D92-A269-4D75-8BB2-1AB14D7F3BDC}" srcOrd="1" destOrd="0" parTransId="{35609101-4801-430C-A949-4B98B1DE4A96}" sibTransId="{90D5791E-CB42-4D35-96DC-2EECDA29FB4A}"/>
    <dgm:cxn modelId="{2F9EE362-9356-4267-9EB6-E43C452436D7}" srcId="{38F8B438-519A-4BFA-AA16-937A5F4B2131}" destId="{1F9D241F-770E-437A-A20E-9C0DCB025BE1}" srcOrd="1" destOrd="0" parTransId="{46FA6DA3-4A0C-48C3-8D2A-072555080957}" sibTransId="{279188CE-D80F-43B1-B95F-81E80D0C3AD6}"/>
    <dgm:cxn modelId="{6485E542-1E1E-4988-BC14-7DCE3ADC5C4D}" srcId="{4FCF18AA-D60A-4324-882B-666FA9709A6F}" destId="{38F8B438-519A-4BFA-AA16-937A5F4B2131}" srcOrd="0" destOrd="0" parTransId="{8C2DDB57-7644-459C-A381-E74558558A71}" sibTransId="{6EB43EF3-47A6-4752-81D9-4C4A4BE8FB8B}"/>
    <dgm:cxn modelId="{48066A63-149F-49C5-BA00-695B72B5D268}" type="presOf" srcId="{732F329F-1596-4724-8FA3-850710277625}" destId="{EE9222F6-1065-4D85-82F2-5C38A7F30C3C}" srcOrd="0" destOrd="0" presId="urn:microsoft.com/office/officeart/2005/8/layout/vList2"/>
    <dgm:cxn modelId="{D9D95749-657B-4420-9036-6801F5DC78EB}" type="presOf" srcId="{C5325E19-E129-4C5D-850A-AE49C2198FAA}" destId="{EE735F07-1E3D-41B3-A150-4C2ABA0F53E5}" srcOrd="0" destOrd="0" presId="urn:microsoft.com/office/officeart/2005/8/layout/vList2"/>
    <dgm:cxn modelId="{20B1F26E-F792-4A9C-B748-89724A236216}" srcId="{A433A98C-B1C6-462C-9CC7-5D29DE377F96}" destId="{A9B72B21-29ED-440A-8E32-2B72BD223614}" srcOrd="2" destOrd="0" parTransId="{AD5A42A6-1E6D-44D8-9890-829DA7F3A331}" sibTransId="{C66F46FA-D226-4AC4-881E-9D6DAE8C1074}"/>
    <dgm:cxn modelId="{9BFFEA73-D26E-4C66-8016-F4F372090956}" type="presOf" srcId="{E54DDD07-D12E-4A85-A2CE-5048DA11DD23}" destId="{00F128D7-F5C8-4A7A-B36A-59BC541A4DC3}" srcOrd="0" destOrd="0" presId="urn:microsoft.com/office/officeart/2005/8/layout/vList2"/>
    <dgm:cxn modelId="{4E9F2458-8A1B-4275-BED6-C810C7D85A43}" type="presOf" srcId="{1F9D241F-770E-437A-A20E-9C0DCB025BE1}" destId="{FB478863-F975-4DFF-921B-3E2DB4A4B47E}" srcOrd="0" destOrd="1" presId="urn:microsoft.com/office/officeart/2005/8/layout/vList2"/>
    <dgm:cxn modelId="{2AEC4C7A-5879-4199-BC5D-410268D8D151}" type="presOf" srcId="{A433A98C-B1C6-462C-9CC7-5D29DE377F96}" destId="{74A8333C-C720-4829-8CD1-70FC468921BD}" srcOrd="0" destOrd="0" presId="urn:microsoft.com/office/officeart/2005/8/layout/vList2"/>
    <dgm:cxn modelId="{8454C27C-AB71-41DE-9B1E-2DCEC5A3BE46}" type="presOf" srcId="{D68E7D92-A269-4D75-8BB2-1AB14D7F3BDC}" destId="{00F128D7-F5C8-4A7A-B36A-59BC541A4DC3}" srcOrd="0" destOrd="1" presId="urn:microsoft.com/office/officeart/2005/8/layout/vList2"/>
    <dgm:cxn modelId="{AA843D8E-7B28-4A6D-9C1A-09F095CAF4D9}" srcId="{4FCF18AA-D60A-4324-882B-666FA9709A6F}" destId="{A433A98C-B1C6-462C-9CC7-5D29DE377F96}" srcOrd="1" destOrd="0" parTransId="{2C805212-DBBB-4B50-84D1-23EF2DD2E0FD}" sibTransId="{73CEB146-D65F-407B-A34F-82A4A5B3C897}"/>
    <dgm:cxn modelId="{D2078894-96AB-4E09-A32B-440A412FF685}" type="presOf" srcId="{02CDE90F-F9E0-46BE-98AC-A0EDD596E5C4}" destId="{F87DACDB-5CE6-4B01-8BCD-1B6B1E82B892}" srcOrd="0" destOrd="0" presId="urn:microsoft.com/office/officeart/2005/8/layout/vList2"/>
    <dgm:cxn modelId="{723F6598-26BD-445F-85BE-D2AF1D835E7A}" type="presOf" srcId="{4FCF18AA-D60A-4324-882B-666FA9709A6F}" destId="{973F97A8-B0BE-4F2A-850A-5D0AB962D1E3}" srcOrd="0" destOrd="0" presId="urn:microsoft.com/office/officeart/2005/8/layout/vList2"/>
    <dgm:cxn modelId="{E3BF36B4-8A69-4A91-917D-3F386F7169D5}" type="presOf" srcId="{A9B72B21-29ED-440A-8E32-2B72BD223614}" destId="{DBA4D9F1-2157-47DC-B693-8E7C9B17DBC0}" srcOrd="0" destOrd="2" presId="urn:microsoft.com/office/officeart/2005/8/layout/vList2"/>
    <dgm:cxn modelId="{E5F1ADB5-55C4-49C6-A8D9-7CAAF4511323}" srcId="{4FCF18AA-D60A-4324-882B-666FA9709A6F}" destId="{C5325E19-E129-4C5D-850A-AE49C2198FAA}" srcOrd="3" destOrd="0" parTransId="{D14A078C-C877-421C-95D7-5B02F7B52CDC}" sibTransId="{3BA3291A-DC2E-4616-86A4-E732DA78C749}"/>
    <dgm:cxn modelId="{4A161CBF-3FD5-4E09-9CB3-86E70D6831A8}" type="presOf" srcId="{146E7BFE-8A96-4C1F-9FAF-028C6C0AF868}" destId="{DBA4D9F1-2157-47DC-B693-8E7C9B17DBC0}" srcOrd="0" destOrd="1" presId="urn:microsoft.com/office/officeart/2005/8/layout/vList2"/>
    <dgm:cxn modelId="{3F0674D9-71D0-4FBE-99A8-78E7FD3E42D4}" type="presOf" srcId="{B6E9070F-C46C-40C9-8451-C90B2678608F}" destId="{FB478863-F975-4DFF-921B-3E2DB4A4B47E}" srcOrd="0" destOrd="0" presId="urn:microsoft.com/office/officeart/2005/8/layout/vList2"/>
    <dgm:cxn modelId="{4FA22DE6-2439-4589-B8BB-7CD38DFEAA0B}" srcId="{A433A98C-B1C6-462C-9CC7-5D29DE377F96}" destId="{146E7BFE-8A96-4C1F-9FAF-028C6C0AF868}" srcOrd="1" destOrd="0" parTransId="{1D7E4A05-453C-4546-AD62-5E8CE9BBCDBF}" sibTransId="{AABBE3BA-4E11-4888-8D4A-4B4DB5D68650}"/>
    <dgm:cxn modelId="{80E4B732-DB4C-49C1-9E0F-3BFE04B83FDD}" type="presParOf" srcId="{973F97A8-B0BE-4F2A-850A-5D0AB962D1E3}" destId="{676DB328-6CD0-44D9-912F-F591263A88F4}" srcOrd="0" destOrd="0" presId="urn:microsoft.com/office/officeart/2005/8/layout/vList2"/>
    <dgm:cxn modelId="{2005CF77-F300-4E10-B5B0-5C33D48B7C3C}" type="presParOf" srcId="{973F97A8-B0BE-4F2A-850A-5D0AB962D1E3}" destId="{FB478863-F975-4DFF-921B-3E2DB4A4B47E}" srcOrd="1" destOrd="0" presId="urn:microsoft.com/office/officeart/2005/8/layout/vList2"/>
    <dgm:cxn modelId="{AE96C062-87AE-433F-A59C-C4FF97DFDCF0}" type="presParOf" srcId="{973F97A8-B0BE-4F2A-850A-5D0AB962D1E3}" destId="{74A8333C-C720-4829-8CD1-70FC468921BD}" srcOrd="2" destOrd="0" presId="urn:microsoft.com/office/officeart/2005/8/layout/vList2"/>
    <dgm:cxn modelId="{7B281E6B-C02B-4A4F-9F4C-B090B63B8120}" type="presParOf" srcId="{973F97A8-B0BE-4F2A-850A-5D0AB962D1E3}" destId="{DBA4D9F1-2157-47DC-B693-8E7C9B17DBC0}" srcOrd="3" destOrd="0" presId="urn:microsoft.com/office/officeart/2005/8/layout/vList2"/>
    <dgm:cxn modelId="{FEB09350-2012-4BB4-9193-EE6F32F27FFC}" type="presParOf" srcId="{973F97A8-B0BE-4F2A-850A-5D0AB962D1E3}" destId="{EE9222F6-1065-4D85-82F2-5C38A7F30C3C}" srcOrd="4" destOrd="0" presId="urn:microsoft.com/office/officeart/2005/8/layout/vList2"/>
    <dgm:cxn modelId="{55AAA228-5552-4000-9CD0-F123732388F0}" type="presParOf" srcId="{973F97A8-B0BE-4F2A-850A-5D0AB962D1E3}" destId="{00F128D7-F5C8-4A7A-B36A-59BC541A4DC3}" srcOrd="5" destOrd="0" presId="urn:microsoft.com/office/officeart/2005/8/layout/vList2"/>
    <dgm:cxn modelId="{6521B6CE-A742-4773-BFB9-B993F6C5ED7C}" type="presParOf" srcId="{973F97A8-B0BE-4F2A-850A-5D0AB962D1E3}" destId="{EE735F07-1E3D-41B3-A150-4C2ABA0F53E5}" srcOrd="6" destOrd="0" presId="urn:microsoft.com/office/officeart/2005/8/layout/vList2"/>
    <dgm:cxn modelId="{CEA9E293-BE3B-4229-9D06-6955E5B4E989}" type="presParOf" srcId="{973F97A8-B0BE-4F2A-850A-5D0AB962D1E3}" destId="{F87DACDB-5CE6-4B01-8BCD-1B6B1E82B892}" srcOrd="7"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4CBE2F-B65E-4220-BBCA-ACFA51DDC858}">
      <dsp:nvSpPr>
        <dsp:cNvPr id="0" name=""/>
        <dsp:cNvSpPr/>
      </dsp:nvSpPr>
      <dsp:spPr>
        <a:xfrm>
          <a:off x="0" y="683"/>
          <a:ext cx="6527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7ABC5F1-69BE-4AC9-95D2-BB63A8F8AB55}">
      <dsp:nvSpPr>
        <dsp:cNvPr id="0" name=""/>
        <dsp:cNvSpPr/>
      </dsp:nvSpPr>
      <dsp:spPr>
        <a:xfrm>
          <a:off x="0" y="683"/>
          <a:ext cx="6527800" cy="11192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baseline="0"/>
            <a:t>Windows Presentation Framework</a:t>
          </a:r>
          <a:endParaRPr lang="en-US" sz="2900" kern="1200"/>
        </a:p>
      </dsp:txBody>
      <dsp:txXfrm>
        <a:off x="0" y="683"/>
        <a:ext cx="6527800" cy="1119231"/>
      </dsp:txXfrm>
    </dsp:sp>
    <dsp:sp modelId="{EE9E89B9-C758-4876-B205-EBF8D080573C}">
      <dsp:nvSpPr>
        <dsp:cNvPr id="0" name=""/>
        <dsp:cNvSpPr/>
      </dsp:nvSpPr>
      <dsp:spPr>
        <a:xfrm>
          <a:off x="0" y="1119914"/>
          <a:ext cx="6527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8F37883-F993-42B0-A955-DE415640B274}">
      <dsp:nvSpPr>
        <dsp:cNvPr id="0" name=""/>
        <dsp:cNvSpPr/>
      </dsp:nvSpPr>
      <dsp:spPr>
        <a:xfrm>
          <a:off x="0" y="1119914"/>
          <a:ext cx="6527800" cy="11192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baseline="0"/>
            <a:t>Introduction to Visual Studio</a:t>
          </a:r>
          <a:endParaRPr lang="en-US" sz="2900" kern="1200"/>
        </a:p>
      </dsp:txBody>
      <dsp:txXfrm>
        <a:off x="0" y="1119914"/>
        <a:ext cx="6527800" cy="1119231"/>
      </dsp:txXfrm>
    </dsp:sp>
    <dsp:sp modelId="{77594EC9-30ED-4FFE-86C7-66BBD5CF54F0}">
      <dsp:nvSpPr>
        <dsp:cNvPr id="0" name=""/>
        <dsp:cNvSpPr/>
      </dsp:nvSpPr>
      <dsp:spPr>
        <a:xfrm>
          <a:off x="0" y="2239146"/>
          <a:ext cx="6527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EFAC99F-12D6-4589-A695-364AFE4294BC}">
      <dsp:nvSpPr>
        <dsp:cNvPr id="0" name=""/>
        <dsp:cNvSpPr/>
      </dsp:nvSpPr>
      <dsp:spPr>
        <a:xfrm>
          <a:off x="0" y="2239146"/>
          <a:ext cx="6527800" cy="11192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baseline="0"/>
            <a:t>Creating a GUI</a:t>
          </a:r>
          <a:endParaRPr lang="en-US" sz="2900" kern="1200"/>
        </a:p>
      </dsp:txBody>
      <dsp:txXfrm>
        <a:off x="0" y="2239146"/>
        <a:ext cx="6527800" cy="1119231"/>
      </dsp:txXfrm>
    </dsp:sp>
    <dsp:sp modelId="{355AFE5C-5941-4790-8F26-DB300538E2E5}">
      <dsp:nvSpPr>
        <dsp:cNvPr id="0" name=""/>
        <dsp:cNvSpPr/>
      </dsp:nvSpPr>
      <dsp:spPr>
        <a:xfrm>
          <a:off x="0" y="3358378"/>
          <a:ext cx="6527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B3D720F-5406-4D47-9047-FC1BF6AF63ED}">
      <dsp:nvSpPr>
        <dsp:cNvPr id="0" name=""/>
        <dsp:cNvSpPr/>
      </dsp:nvSpPr>
      <dsp:spPr>
        <a:xfrm>
          <a:off x="0" y="3358378"/>
          <a:ext cx="6527800" cy="11192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baseline="0"/>
            <a:t>Integrating PowerShell Code with GUIs</a:t>
          </a:r>
          <a:endParaRPr lang="en-US" sz="2900" kern="1200"/>
        </a:p>
      </dsp:txBody>
      <dsp:txXfrm>
        <a:off x="0" y="3358378"/>
        <a:ext cx="6527800" cy="1119231"/>
      </dsp:txXfrm>
    </dsp:sp>
    <dsp:sp modelId="{E59B9022-035A-481E-8898-E6328C1E2324}">
      <dsp:nvSpPr>
        <dsp:cNvPr id="0" name=""/>
        <dsp:cNvSpPr/>
      </dsp:nvSpPr>
      <dsp:spPr>
        <a:xfrm>
          <a:off x="0" y="4477610"/>
          <a:ext cx="6527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082CCA1-5E3B-45B9-B463-C893D1D8FE2C}">
      <dsp:nvSpPr>
        <dsp:cNvPr id="0" name=""/>
        <dsp:cNvSpPr/>
      </dsp:nvSpPr>
      <dsp:spPr>
        <a:xfrm>
          <a:off x="0" y="4477610"/>
          <a:ext cx="6527800" cy="11192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baseline="0"/>
            <a:t>Common issues</a:t>
          </a:r>
          <a:endParaRPr lang="en-US" sz="2900" kern="1200"/>
        </a:p>
      </dsp:txBody>
      <dsp:txXfrm>
        <a:off x="0" y="4477610"/>
        <a:ext cx="6527800" cy="1119231"/>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F1253E-3D25-407F-96EB-8A6378F65E52}">
      <dsp:nvSpPr>
        <dsp:cNvPr id="0" name=""/>
        <dsp:cNvSpPr/>
      </dsp:nvSpPr>
      <dsp:spPr>
        <a:xfrm>
          <a:off x="835651" y="0"/>
          <a:ext cx="6121021" cy="6121021"/>
        </a:xfrm>
        <a:prstGeom prst="diamond">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135A7AC-EF2C-4FA0-9899-9033C173DB5B}">
      <dsp:nvSpPr>
        <dsp:cNvPr id="0" name=""/>
        <dsp:cNvSpPr/>
      </dsp:nvSpPr>
      <dsp:spPr>
        <a:xfrm>
          <a:off x="1417148" y="581496"/>
          <a:ext cx="2387198" cy="2387198"/>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baseline="0"/>
            <a:t>Standardized</a:t>
          </a:r>
          <a:r>
            <a:rPr lang="en-US" sz="2400" kern="1200" baseline="0"/>
            <a:t> GUI components</a:t>
          </a:r>
          <a:endParaRPr lang="en-US" sz="2400" kern="1200"/>
        </a:p>
      </dsp:txBody>
      <dsp:txXfrm>
        <a:off x="1533681" y="698029"/>
        <a:ext cx="2154132" cy="2154132"/>
      </dsp:txXfrm>
    </dsp:sp>
    <dsp:sp modelId="{34DDADF4-5ED8-4C47-8721-C32631536E19}">
      <dsp:nvSpPr>
        <dsp:cNvPr id="0" name=""/>
        <dsp:cNvSpPr/>
      </dsp:nvSpPr>
      <dsp:spPr>
        <a:xfrm>
          <a:off x="3987977" y="581496"/>
          <a:ext cx="2387198" cy="2387198"/>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Located in the </a:t>
          </a:r>
          <a:r>
            <a:rPr lang="en-US" sz="2400" b="1" kern="1200" baseline="0"/>
            <a:t>toolbox tab </a:t>
          </a:r>
          <a:r>
            <a:rPr lang="en-US" sz="2400" kern="1200" baseline="0"/>
            <a:t>of Visual Studio</a:t>
          </a:r>
          <a:endParaRPr lang="en-US" sz="2400" kern="1200"/>
        </a:p>
      </dsp:txBody>
      <dsp:txXfrm>
        <a:off x="4104510" y="698029"/>
        <a:ext cx="2154132" cy="2154132"/>
      </dsp:txXfrm>
    </dsp:sp>
    <dsp:sp modelId="{33550CDE-45B3-458B-AD2A-33F0F505AE6C}">
      <dsp:nvSpPr>
        <dsp:cNvPr id="0" name=""/>
        <dsp:cNvSpPr/>
      </dsp:nvSpPr>
      <dsp:spPr>
        <a:xfrm>
          <a:off x="1417148" y="3152325"/>
          <a:ext cx="2387198" cy="2387198"/>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baseline="0"/>
            <a:t>Around 50 </a:t>
          </a:r>
          <a:r>
            <a:rPr lang="en-US" sz="2400" kern="1200" baseline="0"/>
            <a:t>available out of the box</a:t>
          </a:r>
          <a:endParaRPr lang="en-US" sz="2400" kern="1200"/>
        </a:p>
      </dsp:txBody>
      <dsp:txXfrm>
        <a:off x="1533681" y="3268858"/>
        <a:ext cx="2154132" cy="2154132"/>
      </dsp:txXfrm>
    </dsp:sp>
    <dsp:sp modelId="{A1B06AB3-2F33-447D-976A-6CEA995454E8}">
      <dsp:nvSpPr>
        <dsp:cNvPr id="0" name=""/>
        <dsp:cNvSpPr/>
      </dsp:nvSpPr>
      <dsp:spPr>
        <a:xfrm>
          <a:off x="3987977" y="3152325"/>
          <a:ext cx="2387198" cy="2387198"/>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kern="1200" baseline="0"/>
            <a:t>Custom controls </a:t>
          </a:r>
          <a:r>
            <a:rPr lang="en-US" sz="2400" kern="1200" baseline="0"/>
            <a:t>can be </a:t>
          </a:r>
          <a:r>
            <a:rPr lang="en-US" sz="2400" b="1" kern="1200" baseline="0"/>
            <a:t>created</a:t>
          </a:r>
          <a:r>
            <a:rPr lang="en-US" sz="2400" kern="1200" baseline="0"/>
            <a:t> or downloaded </a:t>
          </a:r>
          <a:endParaRPr lang="en-US" sz="2400" kern="1200"/>
        </a:p>
      </dsp:txBody>
      <dsp:txXfrm>
        <a:off x="4104510" y="3268858"/>
        <a:ext cx="2154132" cy="215413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60838E-1DFB-43B9-A2EA-80E0C83CF8A5}">
      <dsp:nvSpPr>
        <dsp:cNvPr id="0" name=""/>
        <dsp:cNvSpPr/>
      </dsp:nvSpPr>
      <dsp:spPr>
        <a:xfrm>
          <a:off x="0" y="4102"/>
          <a:ext cx="7954963" cy="8049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a:t>Every</a:t>
          </a:r>
          <a:r>
            <a:rPr lang="en-US" sz="2400" kern="1200"/>
            <a:t> control must be in a group</a:t>
          </a:r>
        </a:p>
      </dsp:txBody>
      <dsp:txXfrm>
        <a:off x="39295" y="43397"/>
        <a:ext cx="7876373" cy="726370"/>
      </dsp:txXfrm>
    </dsp:sp>
    <dsp:sp modelId="{EA983A13-7149-4067-94B6-3719D9F986E0}">
      <dsp:nvSpPr>
        <dsp:cNvPr id="0" name=""/>
        <dsp:cNvSpPr/>
      </dsp:nvSpPr>
      <dsp:spPr>
        <a:xfrm>
          <a:off x="0" y="809062"/>
          <a:ext cx="7954963" cy="7343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257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a:t>Groups are used to </a:t>
          </a:r>
          <a:r>
            <a:rPr lang="en-US" sz="2000" b="1" kern="1200"/>
            <a:t>organize</a:t>
          </a:r>
          <a:r>
            <a:rPr lang="en-US" sz="2000" kern="1200"/>
            <a:t> and </a:t>
          </a:r>
          <a:r>
            <a:rPr lang="en-US" sz="2000" b="1" kern="1200"/>
            <a:t>align</a:t>
          </a:r>
          <a:r>
            <a:rPr lang="en-US" sz="2000" kern="1200"/>
            <a:t> controls</a:t>
          </a:r>
        </a:p>
        <a:p>
          <a:pPr marL="228600" lvl="1" indent="-228600" algn="l" defTabSz="889000">
            <a:lnSpc>
              <a:spcPct val="90000"/>
            </a:lnSpc>
            <a:spcBef>
              <a:spcPct val="0"/>
            </a:spcBef>
            <a:spcAft>
              <a:spcPct val="20000"/>
            </a:spcAft>
            <a:buChar char="•"/>
          </a:pPr>
          <a:r>
            <a:rPr lang="en-US" sz="2000" kern="1200"/>
            <a:t>Ex. </a:t>
          </a:r>
          <a:r>
            <a:rPr lang="en-US" sz="2000" b="1" kern="1200"/>
            <a:t>Radio buttons </a:t>
          </a:r>
          <a:r>
            <a:rPr lang="en-US" sz="2000" kern="1200"/>
            <a:t>inside a group are linked</a:t>
          </a:r>
        </a:p>
      </dsp:txBody>
      <dsp:txXfrm>
        <a:off x="0" y="809062"/>
        <a:ext cx="7954963" cy="734332"/>
      </dsp:txXfrm>
    </dsp:sp>
    <dsp:sp modelId="{ADF8FE63-013F-4191-8866-40407CFE1E33}">
      <dsp:nvSpPr>
        <dsp:cNvPr id="0" name=""/>
        <dsp:cNvSpPr/>
      </dsp:nvSpPr>
      <dsp:spPr>
        <a:xfrm>
          <a:off x="0" y="1543395"/>
          <a:ext cx="7954963" cy="8049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a:t>WPF</a:t>
          </a:r>
          <a:r>
            <a:rPr lang="en-US" sz="2400" kern="1200"/>
            <a:t> has many options including:</a:t>
          </a:r>
        </a:p>
      </dsp:txBody>
      <dsp:txXfrm>
        <a:off x="39295" y="1582690"/>
        <a:ext cx="7876373" cy="726370"/>
      </dsp:txXfrm>
    </dsp:sp>
    <dsp:sp modelId="{D99B95FF-3380-459A-8F8F-47CA9B2930DA}">
      <dsp:nvSpPr>
        <dsp:cNvPr id="0" name=""/>
        <dsp:cNvSpPr/>
      </dsp:nvSpPr>
      <dsp:spPr>
        <a:xfrm>
          <a:off x="0" y="2348355"/>
          <a:ext cx="7954963" cy="33823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257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a:t>Grid</a:t>
          </a:r>
          <a:r>
            <a:rPr lang="en-US" sz="2000" kern="1200"/>
            <a:t> (default)</a:t>
          </a:r>
          <a:r>
            <a:rPr lang="en-US" sz="2000" b="0" kern="1200"/>
            <a:t> – </a:t>
          </a:r>
          <a:r>
            <a:rPr lang="en-US" sz="2000" kern="1200"/>
            <a:t>uses XY coordinates, rows, and columns</a:t>
          </a:r>
        </a:p>
        <a:p>
          <a:pPr marL="228600" lvl="1" indent="-228600" algn="l" defTabSz="889000">
            <a:lnSpc>
              <a:spcPct val="90000"/>
            </a:lnSpc>
            <a:spcBef>
              <a:spcPct val="0"/>
            </a:spcBef>
            <a:spcAft>
              <a:spcPct val="20000"/>
            </a:spcAft>
            <a:buChar char="•"/>
          </a:pPr>
          <a:r>
            <a:rPr lang="en-US" sz="2000" b="1" kern="1200"/>
            <a:t>Stack Panel </a:t>
          </a:r>
          <a:r>
            <a:rPr lang="en-US" sz="2000" kern="1200"/>
            <a:t>– </a:t>
          </a:r>
          <a:r>
            <a:rPr lang="en-US" sz="2000" b="0" i="0" kern="1200"/>
            <a:t>stacks child elements automatically within bounds</a:t>
          </a:r>
          <a:endParaRPr lang="en-US" sz="2000" kern="1200"/>
        </a:p>
        <a:p>
          <a:pPr marL="228600" lvl="1" indent="-228600" algn="l" defTabSz="889000">
            <a:lnSpc>
              <a:spcPct val="90000"/>
            </a:lnSpc>
            <a:spcBef>
              <a:spcPct val="0"/>
            </a:spcBef>
            <a:spcAft>
              <a:spcPct val="20000"/>
            </a:spcAft>
            <a:buChar char="•"/>
          </a:pPr>
          <a:r>
            <a:rPr lang="en-US" sz="2000" b="1" kern="1200"/>
            <a:t>Tab controls </a:t>
          </a:r>
          <a:r>
            <a:rPr lang="en-US" sz="2000" kern="1200"/>
            <a:t>– allows multiple tabs</a:t>
          </a:r>
        </a:p>
        <a:p>
          <a:pPr marL="228600" lvl="1" indent="-228600" algn="l" defTabSz="889000">
            <a:lnSpc>
              <a:spcPct val="90000"/>
            </a:lnSpc>
            <a:spcBef>
              <a:spcPct val="0"/>
            </a:spcBef>
            <a:spcAft>
              <a:spcPct val="20000"/>
            </a:spcAft>
            <a:buChar char="•"/>
          </a:pPr>
          <a:r>
            <a:rPr lang="en-US" sz="2000" b="1" kern="1200"/>
            <a:t>Expander</a:t>
          </a:r>
          <a:r>
            <a:rPr lang="en-US" sz="2000" kern="1200"/>
            <a:t> – </a:t>
          </a:r>
          <a:r>
            <a:rPr lang="en-US" sz="2000" b="0" i="0" kern="1200"/>
            <a:t>expand/collapse areas of the GUI</a:t>
          </a:r>
          <a:endParaRPr lang="en-US" sz="2000" kern="1200"/>
        </a:p>
        <a:p>
          <a:pPr marL="228600" lvl="1" indent="-228600" algn="l" defTabSz="889000">
            <a:lnSpc>
              <a:spcPct val="90000"/>
            </a:lnSpc>
            <a:spcBef>
              <a:spcPct val="0"/>
            </a:spcBef>
            <a:spcAft>
              <a:spcPct val="20000"/>
            </a:spcAft>
            <a:buChar char="•"/>
          </a:pPr>
          <a:r>
            <a:rPr lang="en-US" sz="2000" b="1" kern="1200"/>
            <a:t>Dock Panel </a:t>
          </a:r>
          <a:r>
            <a:rPr lang="en-US" sz="2000" kern="1200"/>
            <a:t>– used to set anchor points for relative placement</a:t>
          </a:r>
        </a:p>
        <a:p>
          <a:pPr marL="228600" lvl="1" indent="-228600" algn="l" defTabSz="889000">
            <a:lnSpc>
              <a:spcPct val="90000"/>
            </a:lnSpc>
            <a:spcBef>
              <a:spcPct val="0"/>
            </a:spcBef>
            <a:spcAft>
              <a:spcPct val="20000"/>
            </a:spcAft>
            <a:buChar char="•"/>
          </a:pPr>
          <a:r>
            <a:rPr lang="en-US" sz="2000" b="1" kern="1200"/>
            <a:t>Group</a:t>
          </a:r>
          <a:r>
            <a:rPr lang="en-US" sz="2000" kern="1200"/>
            <a:t> </a:t>
          </a:r>
          <a:r>
            <a:rPr lang="en-US" sz="2000" b="1" kern="1200"/>
            <a:t>box</a:t>
          </a:r>
          <a:r>
            <a:rPr lang="en-US" sz="2000" kern="1200"/>
            <a:t> – </a:t>
          </a:r>
          <a:r>
            <a:rPr lang="en-US" sz="2000" b="0" i="0" kern="1200"/>
            <a:t>link controls together with header and border</a:t>
          </a:r>
          <a:endParaRPr lang="en-US" sz="2000" kern="1200"/>
        </a:p>
        <a:p>
          <a:pPr marL="228600" lvl="1" indent="-228600" algn="l" defTabSz="889000">
            <a:lnSpc>
              <a:spcPct val="90000"/>
            </a:lnSpc>
            <a:spcBef>
              <a:spcPct val="0"/>
            </a:spcBef>
            <a:spcAft>
              <a:spcPct val="20000"/>
            </a:spcAft>
            <a:buChar char="•"/>
          </a:pPr>
          <a:r>
            <a:rPr lang="en-US" sz="2000" b="1" kern="1200"/>
            <a:t>Toolbar </a:t>
          </a:r>
          <a:r>
            <a:rPr lang="en-US" sz="2000" kern="1200"/>
            <a:t>– contains buttons for commands (usually menus)</a:t>
          </a:r>
          <a:endParaRPr lang="en-US" sz="2000" b="1" kern="1200"/>
        </a:p>
        <a:p>
          <a:pPr marL="228600" lvl="1" indent="-228600" algn="l" defTabSz="889000">
            <a:lnSpc>
              <a:spcPct val="90000"/>
            </a:lnSpc>
            <a:spcBef>
              <a:spcPct val="0"/>
            </a:spcBef>
            <a:spcAft>
              <a:spcPct val="20000"/>
            </a:spcAft>
            <a:buChar char="•"/>
          </a:pPr>
          <a:r>
            <a:rPr lang="en-US" sz="2000" b="1" kern="1200" err="1"/>
            <a:t>Statusbar</a:t>
          </a:r>
          <a:r>
            <a:rPr lang="en-US" sz="2000" b="1" kern="1200"/>
            <a:t> </a:t>
          </a:r>
          <a:r>
            <a:rPr lang="en-US" sz="2000" kern="1200"/>
            <a:t>– docked at the bottom to display status info</a:t>
          </a:r>
        </a:p>
        <a:p>
          <a:pPr marL="228600" lvl="1" indent="-228600" algn="l" defTabSz="889000">
            <a:lnSpc>
              <a:spcPct val="90000"/>
            </a:lnSpc>
            <a:spcBef>
              <a:spcPct val="0"/>
            </a:spcBef>
            <a:spcAft>
              <a:spcPct val="20000"/>
            </a:spcAft>
            <a:buChar char="•"/>
          </a:pPr>
          <a:r>
            <a:rPr lang="en-US" sz="2000" b="1" kern="1200"/>
            <a:t>Menu </a:t>
          </a:r>
          <a:r>
            <a:rPr lang="en-US" sz="2000" kern="1200"/>
            <a:t>– hierarchical information linked to commands (buttons)</a:t>
          </a:r>
          <a:endParaRPr lang="en-US" sz="2000" b="1" kern="1200"/>
        </a:p>
      </dsp:txBody>
      <dsp:txXfrm>
        <a:off x="0" y="2348355"/>
        <a:ext cx="7954963" cy="338238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F03ACB-66CC-48CC-B1F9-AC359C00A35C}">
      <dsp:nvSpPr>
        <dsp:cNvPr id="0" name=""/>
        <dsp:cNvSpPr/>
      </dsp:nvSpPr>
      <dsp:spPr>
        <a:xfrm>
          <a:off x="0" y="282607"/>
          <a:ext cx="6456623" cy="152617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01106" tIns="354076" rIns="501106" bIns="142240" numCol="1" spcCol="1270" anchor="t" anchorCtr="0">
          <a:noAutofit/>
        </a:bodyPr>
        <a:lstStyle/>
        <a:p>
          <a:pPr marL="228600" lvl="1" indent="-228600" algn="l" defTabSz="889000">
            <a:lnSpc>
              <a:spcPct val="90000"/>
            </a:lnSpc>
            <a:spcBef>
              <a:spcPct val="0"/>
            </a:spcBef>
            <a:spcAft>
              <a:spcPct val="15000"/>
            </a:spcAft>
            <a:buChar char="•"/>
          </a:pPr>
          <a:r>
            <a:rPr lang="en-US" sz="2000" b="1" kern="1200"/>
            <a:t>Minimize</a:t>
          </a:r>
          <a:r>
            <a:rPr lang="en-US" sz="2000" kern="1200"/>
            <a:t> the number of GUI controls</a:t>
          </a:r>
        </a:p>
        <a:p>
          <a:pPr marL="228600" lvl="1" indent="-228600" algn="l" defTabSz="889000">
            <a:lnSpc>
              <a:spcPct val="90000"/>
            </a:lnSpc>
            <a:spcBef>
              <a:spcPct val="0"/>
            </a:spcBef>
            <a:spcAft>
              <a:spcPct val="15000"/>
            </a:spcAft>
            <a:buChar char="•"/>
          </a:pPr>
          <a:r>
            <a:rPr lang="en-US" sz="2000" b="1" kern="1200"/>
            <a:t>Label</a:t>
          </a:r>
          <a:r>
            <a:rPr lang="en-US" sz="2000" kern="1200"/>
            <a:t> inputs</a:t>
          </a:r>
        </a:p>
        <a:p>
          <a:pPr marL="228600" lvl="1" indent="-228600" algn="l" defTabSz="889000">
            <a:lnSpc>
              <a:spcPct val="90000"/>
            </a:lnSpc>
            <a:spcBef>
              <a:spcPct val="0"/>
            </a:spcBef>
            <a:spcAft>
              <a:spcPct val="15000"/>
            </a:spcAft>
            <a:buChar char="•"/>
          </a:pPr>
          <a:r>
            <a:rPr lang="en-US" sz="2000" b="1" kern="1200"/>
            <a:t>Align</a:t>
          </a:r>
          <a:r>
            <a:rPr lang="en-US" sz="2000" kern="1200"/>
            <a:t> controls </a:t>
          </a:r>
        </a:p>
      </dsp:txBody>
      <dsp:txXfrm>
        <a:off x="0" y="282607"/>
        <a:ext cx="6456623" cy="1526175"/>
      </dsp:txXfrm>
    </dsp:sp>
    <dsp:sp modelId="{93EC8244-B84F-412C-BE1C-43971BD0178C}">
      <dsp:nvSpPr>
        <dsp:cNvPr id="0" name=""/>
        <dsp:cNvSpPr/>
      </dsp:nvSpPr>
      <dsp:spPr>
        <a:xfrm>
          <a:off x="322831" y="31687"/>
          <a:ext cx="4519636" cy="5018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831" tIns="0" rIns="170831" bIns="0" numCol="1" spcCol="1270" anchor="ctr" anchorCtr="0">
          <a:noAutofit/>
        </a:bodyPr>
        <a:lstStyle/>
        <a:p>
          <a:pPr marL="0" lvl="0" indent="0" algn="l" defTabSz="889000">
            <a:lnSpc>
              <a:spcPct val="90000"/>
            </a:lnSpc>
            <a:spcBef>
              <a:spcPct val="0"/>
            </a:spcBef>
            <a:spcAft>
              <a:spcPct val="35000"/>
            </a:spcAft>
            <a:buNone/>
          </a:pPr>
          <a:r>
            <a:rPr lang="en-US" sz="2000" kern="1200"/>
            <a:t>Aim for </a:t>
          </a:r>
          <a:r>
            <a:rPr lang="en-US" sz="2000" b="1" kern="1200"/>
            <a:t>clear</a:t>
          </a:r>
          <a:r>
            <a:rPr lang="en-US" sz="2000" kern="1200"/>
            <a:t>, </a:t>
          </a:r>
          <a:r>
            <a:rPr lang="en-US" sz="2000" b="1" kern="1200"/>
            <a:t>simple</a:t>
          </a:r>
          <a:r>
            <a:rPr lang="en-US" sz="2000" kern="1200"/>
            <a:t>, intuitive GUIs</a:t>
          </a:r>
        </a:p>
      </dsp:txBody>
      <dsp:txXfrm>
        <a:off x="347329" y="56185"/>
        <a:ext cx="4470640" cy="452844"/>
      </dsp:txXfrm>
    </dsp:sp>
    <dsp:sp modelId="{B34165A5-7E74-4145-9AC3-CDC74F247386}">
      <dsp:nvSpPr>
        <dsp:cNvPr id="0" name=""/>
        <dsp:cNvSpPr/>
      </dsp:nvSpPr>
      <dsp:spPr>
        <a:xfrm>
          <a:off x="0" y="2151502"/>
          <a:ext cx="6456623" cy="147262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01106" tIns="354076" rIns="501106"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a:t>Distinct sections can be moved to </a:t>
          </a:r>
          <a:r>
            <a:rPr lang="en-US" sz="2000" b="1" kern="1200"/>
            <a:t>tabs</a:t>
          </a:r>
        </a:p>
        <a:p>
          <a:pPr marL="228600" lvl="1" indent="-228600" algn="l" defTabSz="889000">
            <a:lnSpc>
              <a:spcPct val="90000"/>
            </a:lnSpc>
            <a:spcBef>
              <a:spcPct val="0"/>
            </a:spcBef>
            <a:spcAft>
              <a:spcPct val="15000"/>
            </a:spcAft>
            <a:buChar char="•"/>
          </a:pPr>
          <a:r>
            <a:rPr lang="en-US" sz="2000" kern="1200"/>
            <a:t>Settings not needed all the time can be put in </a:t>
          </a:r>
          <a:r>
            <a:rPr lang="en-US" sz="2000" b="1" kern="1200"/>
            <a:t>expanders</a:t>
          </a:r>
        </a:p>
      </dsp:txBody>
      <dsp:txXfrm>
        <a:off x="0" y="2151502"/>
        <a:ext cx="6456623" cy="1472625"/>
      </dsp:txXfrm>
    </dsp:sp>
    <dsp:sp modelId="{0A28C65A-7FB6-406F-9B5A-F695F316E3C0}">
      <dsp:nvSpPr>
        <dsp:cNvPr id="0" name=""/>
        <dsp:cNvSpPr/>
      </dsp:nvSpPr>
      <dsp:spPr>
        <a:xfrm>
          <a:off x="322831" y="1900582"/>
          <a:ext cx="4519636" cy="5018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831" tIns="0" rIns="170831" bIns="0" numCol="1" spcCol="1270" anchor="ctr" anchorCtr="0">
          <a:noAutofit/>
        </a:bodyPr>
        <a:lstStyle/>
        <a:p>
          <a:pPr marL="0" lvl="0" indent="0" algn="l" defTabSz="889000">
            <a:lnSpc>
              <a:spcPct val="90000"/>
            </a:lnSpc>
            <a:spcBef>
              <a:spcPct val="0"/>
            </a:spcBef>
            <a:spcAft>
              <a:spcPct val="35000"/>
            </a:spcAft>
            <a:buNone/>
          </a:pPr>
          <a:r>
            <a:rPr lang="en-US" sz="2000" kern="1200"/>
            <a:t>Leverage </a:t>
          </a:r>
          <a:r>
            <a:rPr lang="en-US" sz="2000" b="1" kern="1200"/>
            <a:t>grouping</a:t>
          </a:r>
        </a:p>
      </dsp:txBody>
      <dsp:txXfrm>
        <a:off x="347329" y="1925080"/>
        <a:ext cx="4470640" cy="452844"/>
      </dsp:txXfrm>
    </dsp:sp>
    <dsp:sp modelId="{57A23C58-1130-4A37-9455-847F82317C48}">
      <dsp:nvSpPr>
        <dsp:cNvPr id="0" name=""/>
        <dsp:cNvSpPr/>
      </dsp:nvSpPr>
      <dsp:spPr>
        <a:xfrm>
          <a:off x="0" y="3966847"/>
          <a:ext cx="6456623" cy="147262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01106" tIns="354076" rIns="501106"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a:t>Windows, images, </a:t>
          </a:r>
          <a:r>
            <a:rPr lang="en-US" sz="2000" kern="1200" err="1"/>
            <a:t>etc</a:t>
          </a:r>
          <a:endParaRPr lang="en-US" sz="2000" kern="1200"/>
        </a:p>
        <a:p>
          <a:pPr marL="228600" lvl="1" indent="-228600" algn="l" defTabSz="889000">
            <a:lnSpc>
              <a:spcPct val="90000"/>
            </a:lnSpc>
            <a:spcBef>
              <a:spcPct val="0"/>
            </a:spcBef>
            <a:spcAft>
              <a:spcPct val="15000"/>
            </a:spcAft>
            <a:buChar char="•"/>
          </a:pPr>
          <a:r>
            <a:rPr lang="en-US" sz="2000" kern="1200"/>
            <a:t>WPF has robust support for this, not covered in this workshop</a:t>
          </a:r>
        </a:p>
      </dsp:txBody>
      <dsp:txXfrm>
        <a:off x="0" y="3966847"/>
        <a:ext cx="6456623" cy="1472625"/>
      </dsp:txXfrm>
    </dsp:sp>
    <dsp:sp modelId="{22362824-C6FD-4C93-B06A-10305197D407}">
      <dsp:nvSpPr>
        <dsp:cNvPr id="0" name=""/>
        <dsp:cNvSpPr/>
      </dsp:nvSpPr>
      <dsp:spPr>
        <a:xfrm>
          <a:off x="322831" y="3715927"/>
          <a:ext cx="4519636" cy="5018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831" tIns="0" rIns="170831" bIns="0" numCol="1" spcCol="1270" anchor="ctr" anchorCtr="0">
          <a:noAutofit/>
        </a:bodyPr>
        <a:lstStyle/>
        <a:p>
          <a:pPr marL="0" lvl="0" indent="0" algn="l" defTabSz="889000">
            <a:lnSpc>
              <a:spcPct val="90000"/>
            </a:lnSpc>
            <a:spcBef>
              <a:spcPct val="0"/>
            </a:spcBef>
            <a:spcAft>
              <a:spcPct val="35000"/>
            </a:spcAft>
            <a:buNone/>
          </a:pPr>
          <a:r>
            <a:rPr lang="en-US" sz="2000" kern="1200"/>
            <a:t>Pay attention to </a:t>
          </a:r>
          <a:r>
            <a:rPr lang="en-US" sz="2000" b="1" kern="1200"/>
            <a:t>scaling</a:t>
          </a:r>
        </a:p>
      </dsp:txBody>
      <dsp:txXfrm>
        <a:off x="347329" y="3740425"/>
        <a:ext cx="4470640" cy="452844"/>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33710C-240D-45CF-BA5D-2504087F96E3}">
      <dsp:nvSpPr>
        <dsp:cNvPr id="0" name=""/>
        <dsp:cNvSpPr/>
      </dsp:nvSpPr>
      <dsp:spPr>
        <a:xfrm>
          <a:off x="145511" y="896534"/>
          <a:ext cx="2087039" cy="6877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r>
            <a:rPr lang="en-US" sz="2300" b="0" kern="1200"/>
            <a:t>Design GUI</a:t>
          </a:r>
        </a:p>
      </dsp:txBody>
      <dsp:txXfrm>
        <a:off x="145511" y="896534"/>
        <a:ext cx="2087039" cy="687774"/>
      </dsp:txXfrm>
    </dsp:sp>
    <dsp:sp modelId="{012A5B0F-909B-45AE-A84B-39127D3959A5}">
      <dsp:nvSpPr>
        <dsp:cNvPr id="0" name=""/>
        <dsp:cNvSpPr/>
      </dsp:nvSpPr>
      <dsp:spPr>
        <a:xfrm>
          <a:off x="143139" y="687356"/>
          <a:ext cx="166014" cy="166014"/>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D2A7030-B6F7-4B85-9A8E-8806C28B265A}">
      <dsp:nvSpPr>
        <dsp:cNvPr id="0" name=""/>
        <dsp:cNvSpPr/>
      </dsp:nvSpPr>
      <dsp:spPr>
        <a:xfrm>
          <a:off x="259349" y="454935"/>
          <a:ext cx="166014" cy="166014"/>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1288F5-61A7-4478-AB1C-7972A364DCFC}">
      <dsp:nvSpPr>
        <dsp:cNvPr id="0" name=""/>
        <dsp:cNvSpPr/>
      </dsp:nvSpPr>
      <dsp:spPr>
        <a:xfrm>
          <a:off x="538254" y="501419"/>
          <a:ext cx="260879" cy="260879"/>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13425C6-6AD5-4D61-B4D6-BD137861BC04}">
      <dsp:nvSpPr>
        <dsp:cNvPr id="0" name=""/>
        <dsp:cNvSpPr/>
      </dsp:nvSpPr>
      <dsp:spPr>
        <a:xfrm>
          <a:off x="770674" y="245757"/>
          <a:ext cx="166014" cy="166014"/>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AFFC669-4447-4E2E-943A-0C92612CE083}">
      <dsp:nvSpPr>
        <dsp:cNvPr id="0" name=""/>
        <dsp:cNvSpPr/>
      </dsp:nvSpPr>
      <dsp:spPr>
        <a:xfrm>
          <a:off x="1072820" y="152789"/>
          <a:ext cx="166014" cy="166014"/>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E0F8663-21D7-42EF-9535-FA2C103DAC7E}">
      <dsp:nvSpPr>
        <dsp:cNvPr id="0" name=""/>
        <dsp:cNvSpPr/>
      </dsp:nvSpPr>
      <dsp:spPr>
        <a:xfrm>
          <a:off x="1444693" y="315483"/>
          <a:ext cx="166014" cy="166014"/>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C5F899D-BA35-438F-BBB6-13C531C357BD}">
      <dsp:nvSpPr>
        <dsp:cNvPr id="0" name=""/>
        <dsp:cNvSpPr/>
      </dsp:nvSpPr>
      <dsp:spPr>
        <a:xfrm>
          <a:off x="1677113" y="431693"/>
          <a:ext cx="260879" cy="260879"/>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561056-6823-4886-8BB7-2B96580B2A95}">
      <dsp:nvSpPr>
        <dsp:cNvPr id="0" name=""/>
        <dsp:cNvSpPr/>
      </dsp:nvSpPr>
      <dsp:spPr>
        <a:xfrm>
          <a:off x="2002502" y="687356"/>
          <a:ext cx="166014" cy="166014"/>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1FB6173-AA81-410F-A424-C07AD59E2DD4}">
      <dsp:nvSpPr>
        <dsp:cNvPr id="0" name=""/>
        <dsp:cNvSpPr/>
      </dsp:nvSpPr>
      <dsp:spPr>
        <a:xfrm>
          <a:off x="2141954" y="943018"/>
          <a:ext cx="166014" cy="166014"/>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5A81B85-F7F9-469E-9730-E4B217E1F41B}">
      <dsp:nvSpPr>
        <dsp:cNvPr id="0" name=""/>
        <dsp:cNvSpPr/>
      </dsp:nvSpPr>
      <dsp:spPr>
        <a:xfrm>
          <a:off x="933368" y="454935"/>
          <a:ext cx="426894" cy="426894"/>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94DB1CF-006B-4B73-9D1A-5CC0B9C70B77}">
      <dsp:nvSpPr>
        <dsp:cNvPr id="0" name=""/>
        <dsp:cNvSpPr/>
      </dsp:nvSpPr>
      <dsp:spPr>
        <a:xfrm>
          <a:off x="26929" y="1338133"/>
          <a:ext cx="166014" cy="166014"/>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DC6BA4-3BB2-4A67-8C70-AE66E3448F5D}">
      <dsp:nvSpPr>
        <dsp:cNvPr id="0" name=""/>
        <dsp:cNvSpPr/>
      </dsp:nvSpPr>
      <dsp:spPr>
        <a:xfrm>
          <a:off x="166381" y="1547311"/>
          <a:ext cx="260879" cy="260879"/>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A9F703-207F-4EAB-93CE-4A6D5258BAA7}">
      <dsp:nvSpPr>
        <dsp:cNvPr id="0" name=""/>
        <dsp:cNvSpPr/>
      </dsp:nvSpPr>
      <dsp:spPr>
        <a:xfrm>
          <a:off x="515012" y="1733247"/>
          <a:ext cx="379461" cy="379461"/>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0CC1123-33FD-43CF-96CB-A4DC2313B21F}">
      <dsp:nvSpPr>
        <dsp:cNvPr id="0" name=""/>
        <dsp:cNvSpPr/>
      </dsp:nvSpPr>
      <dsp:spPr>
        <a:xfrm>
          <a:off x="1003094" y="2035393"/>
          <a:ext cx="166014" cy="166014"/>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BE6CEDA-73F7-42E8-B2B0-8EFCBDCD866C}">
      <dsp:nvSpPr>
        <dsp:cNvPr id="0" name=""/>
        <dsp:cNvSpPr/>
      </dsp:nvSpPr>
      <dsp:spPr>
        <a:xfrm>
          <a:off x="1096062" y="1733247"/>
          <a:ext cx="260879" cy="260879"/>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F9ECFE0-344B-4627-89AB-F77EB7C388FE}">
      <dsp:nvSpPr>
        <dsp:cNvPr id="0" name=""/>
        <dsp:cNvSpPr/>
      </dsp:nvSpPr>
      <dsp:spPr>
        <a:xfrm>
          <a:off x="1328483" y="2058635"/>
          <a:ext cx="166014" cy="166014"/>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7C93ED8-B35D-4068-BD5A-271FD6ACE267}">
      <dsp:nvSpPr>
        <dsp:cNvPr id="0" name=""/>
        <dsp:cNvSpPr/>
      </dsp:nvSpPr>
      <dsp:spPr>
        <a:xfrm>
          <a:off x="1537661" y="1686763"/>
          <a:ext cx="379461" cy="379461"/>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DD4D1C9-FEB1-41DB-91E4-B4B4A7D607CC}">
      <dsp:nvSpPr>
        <dsp:cNvPr id="0" name=""/>
        <dsp:cNvSpPr/>
      </dsp:nvSpPr>
      <dsp:spPr>
        <a:xfrm>
          <a:off x="2048986" y="1593795"/>
          <a:ext cx="260879" cy="260879"/>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0C7AA2-F75A-4363-87CF-31A03F61554C}">
      <dsp:nvSpPr>
        <dsp:cNvPr id="0" name=""/>
        <dsp:cNvSpPr/>
      </dsp:nvSpPr>
      <dsp:spPr>
        <a:xfrm>
          <a:off x="2309866" y="501033"/>
          <a:ext cx="766167" cy="1462696"/>
        </a:xfrm>
        <a:prstGeom prst="chevron">
          <a:avLst>
            <a:gd name="adj" fmla="val 6231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E09DEDE-47E1-46A9-8FEA-CFEFA0114840}">
      <dsp:nvSpPr>
        <dsp:cNvPr id="0" name=""/>
        <dsp:cNvSpPr/>
      </dsp:nvSpPr>
      <dsp:spPr>
        <a:xfrm>
          <a:off x="3076033" y="501743"/>
          <a:ext cx="2089546" cy="14626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r>
            <a:rPr lang="en-US" sz="2300" b="0" kern="1200"/>
            <a:t>Import XAML into PowerShell</a:t>
          </a:r>
        </a:p>
      </dsp:txBody>
      <dsp:txXfrm>
        <a:off x="3076033" y="501743"/>
        <a:ext cx="2089546" cy="1462682"/>
      </dsp:txXfrm>
    </dsp:sp>
    <dsp:sp modelId="{F23511A9-30C7-4455-9A00-960B009AB94B}">
      <dsp:nvSpPr>
        <dsp:cNvPr id="0" name=""/>
        <dsp:cNvSpPr/>
      </dsp:nvSpPr>
      <dsp:spPr>
        <a:xfrm>
          <a:off x="5165580" y="501033"/>
          <a:ext cx="766167" cy="1462696"/>
        </a:xfrm>
        <a:prstGeom prst="chevron">
          <a:avLst>
            <a:gd name="adj" fmla="val 6231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B5D0295-DECF-44B2-9F3D-7E24410EE119}">
      <dsp:nvSpPr>
        <dsp:cNvPr id="0" name=""/>
        <dsp:cNvSpPr/>
      </dsp:nvSpPr>
      <dsp:spPr>
        <a:xfrm>
          <a:off x="5931747" y="501743"/>
          <a:ext cx="2271086" cy="14626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r>
            <a:rPr lang="en-US" sz="2300" b="0" kern="1200"/>
            <a:t>Write </a:t>
          </a:r>
          <a:br>
            <a:rPr lang="en-US" sz="2300" b="0" kern="1200"/>
          </a:br>
          <a:r>
            <a:rPr lang="en-US" sz="2300" b="0" kern="1200"/>
            <a:t>PowerShell code</a:t>
          </a:r>
        </a:p>
      </dsp:txBody>
      <dsp:txXfrm>
        <a:off x="5931747" y="501743"/>
        <a:ext cx="2271086" cy="1462682"/>
      </dsp:txXfrm>
    </dsp:sp>
    <dsp:sp modelId="{3C0AE4DB-96B2-496A-AA47-5EF653878DD8}">
      <dsp:nvSpPr>
        <dsp:cNvPr id="0" name=""/>
        <dsp:cNvSpPr/>
      </dsp:nvSpPr>
      <dsp:spPr>
        <a:xfrm>
          <a:off x="8202834" y="501033"/>
          <a:ext cx="766167" cy="1462696"/>
        </a:xfrm>
        <a:prstGeom prst="chevron">
          <a:avLst>
            <a:gd name="adj" fmla="val 6231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A8BF7E-6D36-4A8D-8F7C-896687294A81}">
      <dsp:nvSpPr>
        <dsp:cNvPr id="0" name=""/>
        <dsp:cNvSpPr/>
      </dsp:nvSpPr>
      <dsp:spPr>
        <a:xfrm>
          <a:off x="8995930" y="569780"/>
          <a:ext cx="1976869" cy="1396861"/>
        </a:xfrm>
        <a:prstGeom prst="cloud">
          <a:avLst/>
        </a:prstGeom>
        <a:solidFill>
          <a:schemeClr val="lt1"/>
        </a:solidFill>
        <a:ln w="12700" cap="flat" cmpd="sng" algn="ctr">
          <a:solidFill>
            <a:schemeClr val="accent4"/>
          </a:solidFill>
          <a:prstDash val="solid"/>
          <a:miter lim="800000"/>
        </a:ln>
        <a:effectLst/>
      </dsp:spPr>
      <dsp:style>
        <a:lnRef idx="2">
          <a:schemeClr val="accent4"/>
        </a:lnRef>
        <a:fillRef idx="1">
          <a:schemeClr val="lt1"/>
        </a:fillRef>
        <a:effectRef idx="0">
          <a:schemeClr val="accent4"/>
        </a:effectRef>
        <a:fontRef idx="minor">
          <a:schemeClr val="dk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r>
            <a:rPr lang="en-US" sz="2300" b="0" kern="1200"/>
            <a:t>Display GUI</a:t>
          </a:r>
        </a:p>
      </dsp:txBody>
      <dsp:txXfrm>
        <a:off x="9268390" y="780732"/>
        <a:ext cx="1291372" cy="910223"/>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00B192-D726-4C75-A746-6063DB5D8F65}">
      <dsp:nvSpPr>
        <dsp:cNvPr id="0" name=""/>
        <dsp:cNvSpPr/>
      </dsp:nvSpPr>
      <dsp:spPr>
        <a:xfrm>
          <a:off x="0" y="0"/>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D92CE9-2E23-45FF-BDBC-5F6C801FD6E2}">
      <dsp:nvSpPr>
        <dsp:cNvPr id="0" name=""/>
        <dsp:cNvSpPr/>
      </dsp:nvSpPr>
      <dsp:spPr>
        <a:xfrm>
          <a:off x="0" y="0"/>
          <a:ext cx="10972800" cy="571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b="1" kern="1200"/>
            <a:t>Name</a:t>
          </a:r>
          <a:r>
            <a:rPr lang="en-US" sz="2800" kern="1200"/>
            <a:t> </a:t>
          </a:r>
          <a:r>
            <a:rPr lang="en-US" sz="2800" b="0" kern="1200"/>
            <a:t>all</a:t>
          </a:r>
          <a:r>
            <a:rPr lang="en-US" sz="2800" kern="1200"/>
            <a:t> controls in Visual Studio to </a:t>
          </a:r>
          <a:r>
            <a:rPr lang="en-US" sz="2800" b="1" kern="1200"/>
            <a:t>use</a:t>
          </a:r>
          <a:r>
            <a:rPr lang="en-US" sz="2800" kern="1200"/>
            <a:t> in PowerShell</a:t>
          </a:r>
        </a:p>
      </dsp:txBody>
      <dsp:txXfrm>
        <a:off x="0" y="0"/>
        <a:ext cx="10972800" cy="571500"/>
      </dsp:txXfrm>
    </dsp:sp>
    <dsp:sp modelId="{DB3DA63D-C452-4A73-B7AB-1E52332E2A70}">
      <dsp:nvSpPr>
        <dsp:cNvPr id="0" name=""/>
        <dsp:cNvSpPr/>
      </dsp:nvSpPr>
      <dsp:spPr>
        <a:xfrm>
          <a:off x="0" y="571500"/>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42E3EC1-DFEF-4193-87A0-47B995B156A2}">
      <dsp:nvSpPr>
        <dsp:cNvPr id="0" name=""/>
        <dsp:cNvSpPr/>
      </dsp:nvSpPr>
      <dsp:spPr>
        <a:xfrm>
          <a:off x="0" y="571500"/>
          <a:ext cx="10972800" cy="571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b="1" kern="1200"/>
            <a:t>Only</a:t>
          </a:r>
          <a:r>
            <a:rPr lang="en-US" sz="2800" b="0" kern="1200"/>
            <a:t> use </a:t>
          </a:r>
          <a:r>
            <a:rPr lang="en-US" sz="2800" b="1" kern="1200"/>
            <a:t>.XAML </a:t>
          </a:r>
          <a:r>
            <a:rPr lang="en-US" sz="2800" b="0" kern="1200"/>
            <a:t>files – ignore .CS files</a:t>
          </a:r>
        </a:p>
      </dsp:txBody>
      <dsp:txXfrm>
        <a:off x="0" y="571500"/>
        <a:ext cx="10972800" cy="571500"/>
      </dsp:txXfrm>
    </dsp:sp>
    <dsp:sp modelId="{50A9A61A-7505-42F6-AF20-4FF5C91B8208}">
      <dsp:nvSpPr>
        <dsp:cNvPr id="0" name=""/>
        <dsp:cNvSpPr/>
      </dsp:nvSpPr>
      <dsp:spPr>
        <a:xfrm>
          <a:off x="0" y="1143000"/>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1CE0A6E-5F1D-452B-90F2-2B33B1289AB4}">
      <dsp:nvSpPr>
        <dsp:cNvPr id="0" name=""/>
        <dsp:cNvSpPr/>
      </dsp:nvSpPr>
      <dsp:spPr>
        <a:xfrm>
          <a:off x="0" y="1143000"/>
          <a:ext cx="10972800" cy="571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b="1" kern="1200"/>
            <a:t>Code</a:t>
          </a:r>
          <a:r>
            <a:rPr lang="en-US" sz="2800" b="0" kern="1200"/>
            <a:t> to import XAML is mostly the </a:t>
          </a:r>
          <a:r>
            <a:rPr lang="en-US" sz="2800" b="1" kern="1200"/>
            <a:t>same </a:t>
          </a:r>
          <a:r>
            <a:rPr lang="en-US" sz="2800" b="0" kern="1200"/>
            <a:t>between projects</a:t>
          </a:r>
        </a:p>
      </dsp:txBody>
      <dsp:txXfrm>
        <a:off x="0" y="1143000"/>
        <a:ext cx="10972800" cy="571500"/>
      </dsp:txXfrm>
    </dsp:sp>
    <dsp:sp modelId="{D87854E0-3D7A-4861-AFCB-E5CBBDD34484}">
      <dsp:nvSpPr>
        <dsp:cNvPr id="0" name=""/>
        <dsp:cNvSpPr/>
      </dsp:nvSpPr>
      <dsp:spPr>
        <a:xfrm>
          <a:off x="0" y="1714500"/>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088EA8-23CB-4DD4-B882-D4371ECAA24F}">
      <dsp:nvSpPr>
        <dsp:cNvPr id="0" name=""/>
        <dsp:cNvSpPr/>
      </dsp:nvSpPr>
      <dsp:spPr>
        <a:xfrm>
          <a:off x="0" y="1714500"/>
          <a:ext cx="10972800" cy="571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b="1" kern="1200"/>
            <a:t>Best practice</a:t>
          </a:r>
          <a:r>
            <a:rPr lang="en-US" sz="2800" kern="1200"/>
            <a:t>: Mock-up the GUI </a:t>
          </a:r>
          <a:r>
            <a:rPr lang="en-US" sz="2800" b="1" kern="1200"/>
            <a:t>before</a:t>
          </a:r>
          <a:r>
            <a:rPr lang="en-US" sz="2800" kern="1200"/>
            <a:t> designing it in Visual Studio</a:t>
          </a:r>
        </a:p>
      </dsp:txBody>
      <dsp:txXfrm>
        <a:off x="0" y="1714500"/>
        <a:ext cx="10972800" cy="57150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00B192-D726-4C75-A746-6063DB5D8F65}">
      <dsp:nvSpPr>
        <dsp:cNvPr id="0" name=""/>
        <dsp:cNvSpPr/>
      </dsp:nvSpPr>
      <dsp:spPr>
        <a:xfrm>
          <a:off x="0" y="0"/>
          <a:ext cx="511736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D92CE9-2E23-45FF-BDBC-5F6C801FD6E2}">
      <dsp:nvSpPr>
        <dsp:cNvPr id="0" name=""/>
        <dsp:cNvSpPr/>
      </dsp:nvSpPr>
      <dsp:spPr>
        <a:xfrm>
          <a:off x="0" y="0"/>
          <a:ext cx="5117366" cy="1307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0" kern="1200"/>
            <a:t>Name controls in the </a:t>
          </a:r>
          <a:r>
            <a:rPr lang="en-US" sz="2400" b="1" kern="1200"/>
            <a:t>properties pane </a:t>
          </a:r>
          <a:r>
            <a:rPr lang="en-US" sz="2400" b="0" kern="1200"/>
            <a:t>in Visual Studio</a:t>
          </a:r>
        </a:p>
      </dsp:txBody>
      <dsp:txXfrm>
        <a:off x="0" y="0"/>
        <a:ext cx="5117366" cy="1307299"/>
      </dsp:txXfrm>
    </dsp:sp>
    <dsp:sp modelId="{DB3DA63D-C452-4A73-B7AB-1E52332E2A70}">
      <dsp:nvSpPr>
        <dsp:cNvPr id="0" name=""/>
        <dsp:cNvSpPr/>
      </dsp:nvSpPr>
      <dsp:spPr>
        <a:xfrm>
          <a:off x="0" y="1307299"/>
          <a:ext cx="511736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42E3EC1-DFEF-4193-87A0-47B995B156A2}">
      <dsp:nvSpPr>
        <dsp:cNvPr id="0" name=""/>
        <dsp:cNvSpPr/>
      </dsp:nvSpPr>
      <dsp:spPr>
        <a:xfrm>
          <a:off x="0" y="1307299"/>
          <a:ext cx="5117366" cy="1307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0" kern="1200"/>
            <a:t>Names are stored in the XAML with the </a:t>
          </a:r>
          <a:r>
            <a:rPr lang="en-US" sz="2400" b="1" kern="1200"/>
            <a:t>X:Name </a:t>
          </a:r>
          <a:r>
            <a:rPr lang="en-US" sz="2400" b="0" kern="1200"/>
            <a:t>attribute</a:t>
          </a:r>
        </a:p>
      </dsp:txBody>
      <dsp:txXfrm>
        <a:off x="0" y="1307299"/>
        <a:ext cx="5117366" cy="1307299"/>
      </dsp:txXfrm>
    </dsp:sp>
    <dsp:sp modelId="{50A9A61A-7505-42F6-AF20-4FF5C91B8208}">
      <dsp:nvSpPr>
        <dsp:cNvPr id="0" name=""/>
        <dsp:cNvSpPr/>
      </dsp:nvSpPr>
      <dsp:spPr>
        <a:xfrm>
          <a:off x="0" y="2614599"/>
          <a:ext cx="511736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1CE0A6E-5F1D-452B-90F2-2B33B1289AB4}">
      <dsp:nvSpPr>
        <dsp:cNvPr id="0" name=""/>
        <dsp:cNvSpPr/>
      </dsp:nvSpPr>
      <dsp:spPr>
        <a:xfrm>
          <a:off x="0" y="2614599"/>
          <a:ext cx="5117366" cy="1307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0" kern="1200"/>
            <a:t>Only </a:t>
          </a:r>
          <a:r>
            <a:rPr lang="en-US" sz="2400" b="1" kern="1200"/>
            <a:t>named</a:t>
          </a:r>
          <a:r>
            <a:rPr lang="en-US" sz="2400" b="0" kern="1200"/>
            <a:t> controls can be </a:t>
          </a:r>
          <a:r>
            <a:rPr lang="en-US" sz="2400" b="1" kern="1200"/>
            <a:t>used </a:t>
          </a:r>
          <a:r>
            <a:rPr lang="en-US" sz="2400" b="0" kern="1200"/>
            <a:t>in the PowerShell code</a:t>
          </a:r>
        </a:p>
      </dsp:txBody>
      <dsp:txXfrm>
        <a:off x="0" y="2614599"/>
        <a:ext cx="5117366" cy="1307299"/>
      </dsp:txXfrm>
    </dsp:sp>
    <dsp:sp modelId="{AD8DCF2A-8BF7-40C4-941C-9C233D047046}">
      <dsp:nvSpPr>
        <dsp:cNvPr id="0" name=""/>
        <dsp:cNvSpPr/>
      </dsp:nvSpPr>
      <dsp:spPr>
        <a:xfrm>
          <a:off x="0" y="3921900"/>
          <a:ext cx="511736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E706D9-7E07-4B66-AAE9-984A1279642E}">
      <dsp:nvSpPr>
        <dsp:cNvPr id="0" name=""/>
        <dsp:cNvSpPr/>
      </dsp:nvSpPr>
      <dsp:spPr>
        <a:xfrm>
          <a:off x="0" y="3921899"/>
          <a:ext cx="5117366" cy="1307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a:t>Best practice: </a:t>
          </a:r>
          <a:r>
            <a:rPr lang="en-US" sz="2400" b="0" kern="1200"/>
            <a:t>Use clear, descriptive names</a:t>
          </a:r>
        </a:p>
      </dsp:txBody>
      <dsp:txXfrm>
        <a:off x="0" y="3921899"/>
        <a:ext cx="5117366" cy="1307299"/>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7B3A1A-7620-4DAA-BD8A-60041AAE5627}">
      <dsp:nvSpPr>
        <dsp:cNvPr id="0" name=""/>
        <dsp:cNvSpPr/>
      </dsp:nvSpPr>
      <dsp:spPr>
        <a:xfrm rot="16200000">
          <a:off x="2423160" y="-2423160"/>
          <a:ext cx="640080" cy="5486400"/>
        </a:xfrm>
        <a:prstGeom prst="round1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t" anchorCtr="0">
          <a:noAutofit/>
        </a:bodyPr>
        <a:lstStyle/>
        <a:p>
          <a:pPr marL="0" lvl="0" indent="0" algn="ctr" defTabSz="889000">
            <a:lnSpc>
              <a:spcPct val="90000"/>
            </a:lnSpc>
            <a:spcBef>
              <a:spcPct val="0"/>
            </a:spcBef>
            <a:spcAft>
              <a:spcPct val="35000"/>
            </a:spcAft>
            <a:buNone/>
          </a:pPr>
          <a:r>
            <a:rPr lang="en-US" sz="2000" b="1" kern="1200"/>
            <a:t>Reusable</a:t>
          </a:r>
          <a:r>
            <a:rPr lang="en-US" sz="2000" kern="1200"/>
            <a:t> code – no need to memorize</a:t>
          </a:r>
        </a:p>
      </dsp:txBody>
      <dsp:txXfrm rot="5400000">
        <a:off x="0" y="0"/>
        <a:ext cx="5486400" cy="480060"/>
      </dsp:txXfrm>
    </dsp:sp>
    <dsp:sp modelId="{A13A87D4-29AF-43D2-B534-07DB86131877}">
      <dsp:nvSpPr>
        <dsp:cNvPr id="0" name=""/>
        <dsp:cNvSpPr/>
      </dsp:nvSpPr>
      <dsp:spPr>
        <a:xfrm>
          <a:off x="5486400" y="0"/>
          <a:ext cx="5486400" cy="640080"/>
        </a:xfrm>
        <a:prstGeom prst="round1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t" anchorCtr="0">
          <a:noAutofit/>
        </a:bodyPr>
        <a:lstStyle/>
        <a:p>
          <a:pPr marL="0" lvl="0" indent="0" algn="ctr" defTabSz="889000">
            <a:lnSpc>
              <a:spcPct val="90000"/>
            </a:lnSpc>
            <a:spcBef>
              <a:spcPct val="0"/>
            </a:spcBef>
            <a:spcAft>
              <a:spcPct val="35000"/>
            </a:spcAft>
            <a:buNone/>
          </a:pPr>
          <a:r>
            <a:rPr lang="en-US" sz="2000" b="1" kern="1200"/>
            <a:t>Creates</a:t>
          </a:r>
          <a:r>
            <a:rPr lang="en-US" sz="2000" kern="1200"/>
            <a:t> a hash table named </a:t>
          </a:r>
          <a:r>
            <a:rPr lang="en-US" sz="2000" b="1" kern="1200"/>
            <a:t>$GUI </a:t>
          </a:r>
          <a:endParaRPr lang="en-US" sz="2000" kern="1200"/>
        </a:p>
      </dsp:txBody>
      <dsp:txXfrm>
        <a:off x="5486400" y="0"/>
        <a:ext cx="5486400" cy="480060"/>
      </dsp:txXfrm>
    </dsp:sp>
    <dsp:sp modelId="{C95BF5B5-3B27-44F9-A471-895456D8E361}">
      <dsp:nvSpPr>
        <dsp:cNvPr id="0" name=""/>
        <dsp:cNvSpPr/>
      </dsp:nvSpPr>
      <dsp:spPr>
        <a:xfrm rot="10800000">
          <a:off x="0" y="640080"/>
          <a:ext cx="5486400" cy="640080"/>
        </a:xfrm>
        <a:prstGeom prst="round1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b" anchorCtr="0">
          <a:noAutofit/>
        </a:bodyPr>
        <a:lstStyle/>
        <a:p>
          <a:pPr marL="0" lvl="0" indent="0" algn="ctr" defTabSz="889000">
            <a:lnSpc>
              <a:spcPct val="90000"/>
            </a:lnSpc>
            <a:spcBef>
              <a:spcPct val="0"/>
            </a:spcBef>
            <a:spcAft>
              <a:spcPct val="35000"/>
            </a:spcAft>
            <a:buNone/>
          </a:pPr>
          <a:r>
            <a:rPr lang="en-US" sz="2000" b="1" kern="1200"/>
            <a:t>Keys</a:t>
          </a:r>
          <a:r>
            <a:rPr lang="en-US" sz="2000" kern="1200"/>
            <a:t> in the hash table </a:t>
          </a:r>
          <a:r>
            <a:rPr lang="en-US" sz="2000" b="1" kern="1200"/>
            <a:t>match</a:t>
          </a:r>
          <a:r>
            <a:rPr lang="en-US" sz="2000" kern="1200"/>
            <a:t> </a:t>
          </a:r>
          <a:r>
            <a:rPr lang="en-US" sz="2000" b="1" kern="1200"/>
            <a:t>x:Names</a:t>
          </a:r>
          <a:endParaRPr lang="en-US" sz="2000" kern="1200"/>
        </a:p>
      </dsp:txBody>
      <dsp:txXfrm rot="10800000">
        <a:off x="0" y="800100"/>
        <a:ext cx="5486400" cy="480060"/>
      </dsp:txXfrm>
    </dsp:sp>
    <dsp:sp modelId="{BDBFF365-92D8-4DF8-9408-EE03A0B178B5}">
      <dsp:nvSpPr>
        <dsp:cNvPr id="0" name=""/>
        <dsp:cNvSpPr/>
      </dsp:nvSpPr>
      <dsp:spPr>
        <a:xfrm rot="5400000">
          <a:off x="7909560" y="-1783080"/>
          <a:ext cx="640080" cy="5486400"/>
        </a:xfrm>
        <a:prstGeom prst="round1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b" anchorCtr="0">
          <a:noAutofit/>
        </a:bodyPr>
        <a:lstStyle/>
        <a:p>
          <a:pPr marL="0" lvl="0" indent="0" algn="ctr" defTabSz="889000">
            <a:lnSpc>
              <a:spcPct val="90000"/>
            </a:lnSpc>
            <a:spcBef>
              <a:spcPct val="0"/>
            </a:spcBef>
            <a:spcAft>
              <a:spcPct val="35000"/>
            </a:spcAft>
            <a:buNone/>
          </a:pPr>
          <a:r>
            <a:rPr lang="en-US" sz="2000" b="1" kern="1200"/>
            <a:t>Values</a:t>
          </a:r>
          <a:r>
            <a:rPr lang="en-US" sz="2000" kern="1200"/>
            <a:t> in hash table are the </a:t>
          </a:r>
          <a:r>
            <a:rPr lang="en-US" sz="2000" b="1" kern="1200"/>
            <a:t>control</a:t>
          </a:r>
          <a:r>
            <a:rPr lang="en-US" sz="2000" kern="1200"/>
            <a:t> </a:t>
          </a:r>
          <a:r>
            <a:rPr lang="en-US" sz="2000" b="1" kern="1200"/>
            <a:t>objects</a:t>
          </a:r>
        </a:p>
      </dsp:txBody>
      <dsp:txXfrm rot="-5400000">
        <a:off x="5486400" y="800100"/>
        <a:ext cx="5486400" cy="480060"/>
      </dsp:txXfrm>
    </dsp:sp>
    <dsp:sp modelId="{3CE51054-70F7-48AC-A75C-486CB78E151E}">
      <dsp:nvSpPr>
        <dsp:cNvPr id="0" name=""/>
        <dsp:cNvSpPr/>
      </dsp:nvSpPr>
      <dsp:spPr>
        <a:xfrm>
          <a:off x="3840480" y="480060"/>
          <a:ext cx="3291840" cy="320040"/>
        </a:xfrm>
        <a:prstGeom prst="roundRect">
          <a:avLst/>
        </a:prstGeom>
        <a:no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3856103" y="495683"/>
        <a:ext cx="3260594" cy="288794"/>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F5B567-700B-44F5-B6E3-B6C607E8AE23}">
      <dsp:nvSpPr>
        <dsp:cNvPr id="0" name=""/>
        <dsp:cNvSpPr/>
      </dsp:nvSpPr>
      <dsp:spPr>
        <a:xfrm>
          <a:off x="0" y="225"/>
          <a:ext cx="1095143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0EC9578-95F8-4FA4-A52A-C82C9D91825E}">
      <dsp:nvSpPr>
        <dsp:cNvPr id="0" name=""/>
        <dsp:cNvSpPr/>
      </dsp:nvSpPr>
      <dsp:spPr>
        <a:xfrm>
          <a:off x="0" y="225"/>
          <a:ext cx="10951430" cy="4612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0" kern="1200"/>
            <a:t>PowerShell code goes </a:t>
          </a:r>
          <a:r>
            <a:rPr lang="en-US" sz="2400" b="1" kern="1200"/>
            <a:t>before</a:t>
          </a:r>
          <a:r>
            <a:rPr lang="en-US" sz="2400" b="0" kern="1200"/>
            <a:t> the $</a:t>
          </a:r>
          <a:r>
            <a:rPr lang="en-US" sz="2400" b="0" kern="1200" err="1"/>
            <a:t>Rawform.</a:t>
          </a:r>
          <a:r>
            <a:rPr lang="en-US" sz="2400" b="1" kern="1200" err="1"/>
            <a:t>ShowDialog</a:t>
          </a:r>
          <a:r>
            <a:rPr lang="en-US" sz="2400" b="0" kern="1200"/>
            <a:t>()</a:t>
          </a:r>
        </a:p>
      </dsp:txBody>
      <dsp:txXfrm>
        <a:off x="0" y="225"/>
        <a:ext cx="10951430" cy="461215"/>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34B6D7-A903-400F-8178-B43D2CFF5A22}">
      <dsp:nvSpPr>
        <dsp:cNvPr id="0" name=""/>
        <dsp:cNvSpPr/>
      </dsp:nvSpPr>
      <dsp:spPr>
        <a:xfrm>
          <a:off x="271870" y="1201128"/>
          <a:ext cx="2859341" cy="1970086"/>
        </a:xfrm>
        <a:prstGeom prst="roundRect">
          <a:avLst/>
        </a:prstGeom>
        <a:blipFill dpi="0" rotWithShape="1">
          <a:blip xmlns:r="http://schemas.openxmlformats.org/officeDocument/2006/relationships" r:embed="rId1">
            <a:extLst>
              <a:ext uri="{96DAC541-7B7A-43D3-8B79-37D633B846F1}">
                <asvg:svgBlip xmlns:asvg="http://schemas.microsoft.com/office/drawing/2016/SVG/main" r:embed="rId2"/>
              </a:ext>
            </a:extLst>
          </a:blip>
          <a:srcRect/>
          <a:stretch>
            <a:fillRect l="15550" r="1555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90F5B3-856E-4C13-B862-A1D2DC32E6BC}">
      <dsp:nvSpPr>
        <dsp:cNvPr id="0" name=""/>
        <dsp:cNvSpPr/>
      </dsp:nvSpPr>
      <dsp:spPr>
        <a:xfrm>
          <a:off x="2142" y="3206879"/>
          <a:ext cx="3398798" cy="12609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0" numCol="1" spcCol="1270" anchor="t" anchorCtr="0">
          <a:noAutofit/>
        </a:bodyPr>
        <a:lstStyle/>
        <a:p>
          <a:pPr marL="0" lvl="0" indent="0" algn="ctr" defTabSz="1066800">
            <a:lnSpc>
              <a:spcPct val="90000"/>
            </a:lnSpc>
            <a:spcBef>
              <a:spcPct val="0"/>
            </a:spcBef>
            <a:spcAft>
              <a:spcPct val="35000"/>
            </a:spcAft>
            <a:buNone/>
          </a:pPr>
          <a:r>
            <a:rPr lang="en-US" sz="2400" b="1" kern="1200"/>
            <a:t>$GUI hash table </a:t>
          </a:r>
          <a:r>
            <a:rPr lang="en-US" sz="2400" b="0" kern="1200"/>
            <a:t>allows</a:t>
          </a:r>
          <a:r>
            <a:rPr lang="en-US" sz="2400" b="1" kern="1200"/>
            <a:t> access </a:t>
          </a:r>
          <a:r>
            <a:rPr lang="en-US" sz="2400" b="0" kern="1200"/>
            <a:t>to</a:t>
          </a:r>
          <a:r>
            <a:rPr lang="en-US" sz="2400" b="1" kern="1200"/>
            <a:t> </a:t>
          </a:r>
          <a:r>
            <a:rPr lang="en-US" sz="2400" b="0" kern="1200"/>
            <a:t>control</a:t>
          </a:r>
          <a:r>
            <a:rPr lang="en-US" sz="2400" b="1" kern="1200"/>
            <a:t> </a:t>
          </a:r>
          <a:r>
            <a:rPr lang="en-US" sz="2400" b="0" kern="1200"/>
            <a:t>elements</a:t>
          </a:r>
        </a:p>
      </dsp:txBody>
      <dsp:txXfrm>
        <a:off x="2142" y="3206879"/>
        <a:ext cx="3398798" cy="1260954"/>
      </dsp:txXfrm>
    </dsp:sp>
    <dsp:sp modelId="{8E481453-4F6D-4D17-A4E7-3BB0549944A9}">
      <dsp:nvSpPr>
        <dsp:cNvPr id="0" name=""/>
        <dsp:cNvSpPr/>
      </dsp:nvSpPr>
      <dsp:spPr>
        <a:xfrm>
          <a:off x="4010692" y="1201128"/>
          <a:ext cx="2859341" cy="1970086"/>
        </a:xfrm>
        <a:prstGeom prst="roundRect">
          <a:avLst/>
        </a:prstGeom>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15550" r="1555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6200B5-D5FF-4407-8A28-59D9CD249A53}">
      <dsp:nvSpPr>
        <dsp:cNvPr id="0" name=""/>
        <dsp:cNvSpPr/>
      </dsp:nvSpPr>
      <dsp:spPr>
        <a:xfrm>
          <a:off x="3740963" y="3206879"/>
          <a:ext cx="3398798" cy="12609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0" numCol="1" spcCol="1270" anchor="t" anchorCtr="0">
          <a:noAutofit/>
        </a:bodyPr>
        <a:lstStyle/>
        <a:p>
          <a:pPr marL="0" lvl="0" indent="0" algn="ctr" defTabSz="1066800">
            <a:lnSpc>
              <a:spcPct val="90000"/>
            </a:lnSpc>
            <a:spcBef>
              <a:spcPct val="0"/>
            </a:spcBef>
            <a:spcAft>
              <a:spcPct val="35000"/>
            </a:spcAft>
            <a:buNone/>
          </a:pPr>
          <a:r>
            <a:rPr lang="en-US" sz="2400" kern="1200"/>
            <a:t>Control </a:t>
          </a:r>
          <a:r>
            <a:rPr lang="en-US" sz="2400" b="1" kern="1200"/>
            <a:t>properties</a:t>
          </a:r>
          <a:r>
            <a:rPr lang="en-US" sz="2400" kern="1200"/>
            <a:t> gather user </a:t>
          </a:r>
          <a:r>
            <a:rPr lang="en-US" sz="2400" b="1" kern="1200"/>
            <a:t>input</a:t>
          </a:r>
        </a:p>
      </dsp:txBody>
      <dsp:txXfrm>
        <a:off x="3740963" y="3206879"/>
        <a:ext cx="3398798" cy="1260954"/>
      </dsp:txXfrm>
    </dsp:sp>
    <dsp:sp modelId="{8BFB11D7-82F7-4BFE-B848-232C14C7264D}">
      <dsp:nvSpPr>
        <dsp:cNvPr id="0" name=""/>
        <dsp:cNvSpPr/>
      </dsp:nvSpPr>
      <dsp:spPr>
        <a:xfrm>
          <a:off x="7479785" y="958029"/>
          <a:ext cx="3398798" cy="2341772"/>
        </a:xfrm>
        <a:prstGeom prst="roundRect">
          <a:avLst/>
        </a:prstGeom>
        <a:blipFill dpi="0" rotWithShape="1">
          <a:blip xmlns:r="http://schemas.openxmlformats.org/officeDocument/2006/relationships" r:embed="rId5">
            <a:extLst>
              <a:ext uri="{96DAC541-7B7A-43D3-8B79-37D633B846F1}">
                <asvg:svgBlip xmlns:asvg="http://schemas.microsoft.com/office/drawing/2016/SVG/main" r:embed="rId6"/>
              </a:ext>
            </a:extLst>
          </a:blip>
          <a:srcRect/>
          <a:stretch>
            <a:fillRect l="15550" r="1555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DBC8352-C88C-4E34-853A-82737C1BA0D7}">
      <dsp:nvSpPr>
        <dsp:cNvPr id="0" name=""/>
        <dsp:cNvSpPr/>
      </dsp:nvSpPr>
      <dsp:spPr>
        <a:xfrm>
          <a:off x="7479785" y="3299801"/>
          <a:ext cx="3398798" cy="12609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0" numCol="1" spcCol="1270" anchor="t" anchorCtr="0">
          <a:noAutofit/>
        </a:bodyPr>
        <a:lstStyle/>
        <a:p>
          <a:pPr marL="0" lvl="0" indent="0" algn="ctr" defTabSz="1066800">
            <a:lnSpc>
              <a:spcPct val="90000"/>
            </a:lnSpc>
            <a:spcBef>
              <a:spcPct val="0"/>
            </a:spcBef>
            <a:spcAft>
              <a:spcPct val="35000"/>
            </a:spcAft>
            <a:buNone/>
          </a:pPr>
          <a:r>
            <a:rPr lang="en-US" sz="2400" kern="1200"/>
            <a:t>Control </a:t>
          </a:r>
          <a:r>
            <a:rPr lang="en-US" sz="2400" b="1" kern="1200"/>
            <a:t>events</a:t>
          </a:r>
          <a:r>
            <a:rPr lang="en-US" sz="2400" kern="1200"/>
            <a:t> </a:t>
          </a:r>
          <a:r>
            <a:rPr lang="en-US" sz="2400" b="1" kern="1200"/>
            <a:t>trigger</a:t>
          </a:r>
          <a:r>
            <a:rPr lang="en-US" sz="2400" kern="1200"/>
            <a:t> code blocks</a:t>
          </a:r>
        </a:p>
      </dsp:txBody>
      <dsp:txXfrm>
        <a:off x="7479785" y="3299801"/>
        <a:ext cx="3398798" cy="126095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64339C-F7ED-4471-A09D-1EBB62FA32D1}">
      <dsp:nvSpPr>
        <dsp:cNvPr id="0" name=""/>
        <dsp:cNvSpPr/>
      </dsp:nvSpPr>
      <dsp:spPr>
        <a:xfrm>
          <a:off x="0" y="1366"/>
          <a:ext cx="1405206" cy="1405206"/>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35102687-431E-4581-AC6D-E8079C43D192}">
      <dsp:nvSpPr>
        <dsp:cNvPr id="0" name=""/>
        <dsp:cNvSpPr/>
      </dsp:nvSpPr>
      <dsp:spPr>
        <a:xfrm>
          <a:off x="685789" y="1366"/>
          <a:ext cx="9906020" cy="14052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33020" rIns="0" bIns="33020" numCol="1" spcCol="1270" anchor="ctr" anchorCtr="0">
          <a:noAutofit/>
        </a:bodyPr>
        <a:lstStyle/>
        <a:p>
          <a:pPr marL="0" lvl="0" indent="0" algn="l" defTabSz="1155700">
            <a:lnSpc>
              <a:spcPct val="90000"/>
            </a:lnSpc>
            <a:spcBef>
              <a:spcPct val="0"/>
            </a:spcBef>
            <a:spcAft>
              <a:spcPct val="35000"/>
            </a:spcAft>
            <a:buNone/>
          </a:pPr>
          <a:r>
            <a:rPr lang="en-US" sz="2600" kern="1200"/>
            <a:t>A </a:t>
          </a:r>
          <a:r>
            <a:rPr lang="en-US" sz="2600" b="0" kern="1200"/>
            <a:t>standard</a:t>
          </a:r>
          <a:r>
            <a:rPr lang="en-US" sz="2600" kern="1200"/>
            <a:t> set of editable </a:t>
          </a:r>
          <a:r>
            <a:rPr lang="en-US" sz="2600" b="1" kern="1200"/>
            <a:t>GUI features</a:t>
          </a:r>
        </a:p>
      </dsp:txBody>
      <dsp:txXfrm>
        <a:off x="685789" y="1366"/>
        <a:ext cx="9906020" cy="1405206"/>
      </dsp:txXfrm>
    </dsp:sp>
    <dsp:sp modelId="{1A3B3B12-54EB-4B29-86DB-51D95E467B08}">
      <dsp:nvSpPr>
        <dsp:cNvPr id="0" name=""/>
        <dsp:cNvSpPr/>
      </dsp:nvSpPr>
      <dsp:spPr>
        <a:xfrm>
          <a:off x="0" y="1406573"/>
          <a:ext cx="1405206" cy="1405206"/>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046673F9-2FCC-40EC-BCC1-882E6E101A03}">
      <dsp:nvSpPr>
        <dsp:cNvPr id="0" name=""/>
        <dsp:cNvSpPr/>
      </dsp:nvSpPr>
      <dsp:spPr>
        <a:xfrm>
          <a:off x="685789" y="1406573"/>
          <a:ext cx="9906020" cy="14052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33020" rIns="0" bIns="33020" numCol="1" spcCol="1270" anchor="ctr" anchorCtr="0">
          <a:noAutofit/>
        </a:bodyPr>
        <a:lstStyle/>
        <a:p>
          <a:pPr marL="0" lvl="0" indent="0" algn="l" defTabSz="1155700">
            <a:lnSpc>
              <a:spcPct val="90000"/>
            </a:lnSpc>
            <a:spcBef>
              <a:spcPct val="0"/>
            </a:spcBef>
            <a:spcAft>
              <a:spcPct val="35000"/>
            </a:spcAft>
            <a:buNone/>
          </a:pPr>
          <a:r>
            <a:rPr lang="en-AU" sz="2600" kern="1200"/>
            <a:t>Used for </a:t>
          </a:r>
          <a:r>
            <a:rPr lang="en-AU" sz="2600" b="1" kern="1200"/>
            <a:t>application development </a:t>
          </a:r>
          <a:r>
            <a:rPr lang="en-AU" sz="2600" kern="1200"/>
            <a:t>and </a:t>
          </a:r>
          <a:r>
            <a:rPr lang="en-AU" sz="2600" b="0" kern="1200"/>
            <a:t>isn’t native </a:t>
          </a:r>
          <a:r>
            <a:rPr lang="en-AU" sz="2600" kern="1200"/>
            <a:t>to PowerShell</a:t>
          </a:r>
          <a:endParaRPr lang="en-US" sz="2600" kern="1200"/>
        </a:p>
      </dsp:txBody>
      <dsp:txXfrm>
        <a:off x="685789" y="1406573"/>
        <a:ext cx="9906020" cy="1405206"/>
      </dsp:txXfrm>
    </dsp:sp>
    <dsp:sp modelId="{1240000E-3E80-47C7-B434-6377933CA802}">
      <dsp:nvSpPr>
        <dsp:cNvPr id="0" name=""/>
        <dsp:cNvSpPr/>
      </dsp:nvSpPr>
      <dsp:spPr>
        <a:xfrm>
          <a:off x="0" y="2811780"/>
          <a:ext cx="1405206" cy="1405206"/>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01F76BFA-364F-4229-A1B2-6CFD54305AD5}">
      <dsp:nvSpPr>
        <dsp:cNvPr id="0" name=""/>
        <dsp:cNvSpPr/>
      </dsp:nvSpPr>
      <dsp:spPr>
        <a:xfrm>
          <a:off x="685789" y="2811780"/>
          <a:ext cx="9906020" cy="14052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33020" rIns="0" bIns="33020" numCol="1" spcCol="1270" anchor="ctr" anchorCtr="0">
          <a:noAutofit/>
        </a:bodyPr>
        <a:lstStyle/>
        <a:p>
          <a:pPr marL="0" lvl="0" indent="0" algn="l" defTabSz="1155700">
            <a:lnSpc>
              <a:spcPct val="90000"/>
            </a:lnSpc>
            <a:spcBef>
              <a:spcPct val="0"/>
            </a:spcBef>
            <a:spcAft>
              <a:spcPct val="35000"/>
            </a:spcAft>
            <a:buNone/>
          </a:pPr>
          <a:r>
            <a:rPr lang="en-AU" sz="2600" kern="1200"/>
            <a:t>Part of the </a:t>
          </a:r>
          <a:r>
            <a:rPr lang="en-AU" sz="2600" b="1" kern="1200"/>
            <a:t>.NET framework</a:t>
          </a:r>
          <a:r>
            <a:rPr lang="en-AU" sz="2600" kern="1200"/>
            <a:t>, which can be leveraged by PowerShell</a:t>
          </a:r>
          <a:endParaRPr lang="en-US" sz="2600" kern="1200"/>
        </a:p>
      </dsp:txBody>
      <dsp:txXfrm>
        <a:off x="685789" y="2811780"/>
        <a:ext cx="9906020" cy="1405206"/>
      </dsp:txXfrm>
    </dsp:sp>
    <dsp:sp modelId="{B872C60D-CD53-435B-BC89-39D8285FBEF4}">
      <dsp:nvSpPr>
        <dsp:cNvPr id="0" name=""/>
        <dsp:cNvSpPr/>
      </dsp:nvSpPr>
      <dsp:spPr>
        <a:xfrm>
          <a:off x="0" y="4216986"/>
          <a:ext cx="1405206" cy="1405206"/>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2BC80169-F86A-4B9E-A6AC-4144D1E03E6B}">
      <dsp:nvSpPr>
        <dsp:cNvPr id="0" name=""/>
        <dsp:cNvSpPr/>
      </dsp:nvSpPr>
      <dsp:spPr>
        <a:xfrm>
          <a:off x="685789" y="4216986"/>
          <a:ext cx="9906020" cy="14052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33020" rIns="0" bIns="33020" numCol="1" spcCol="1270" anchor="ctr" anchorCtr="0">
          <a:noAutofit/>
        </a:bodyPr>
        <a:lstStyle/>
        <a:p>
          <a:pPr marL="0" lvl="0" indent="0" algn="l" defTabSz="1155700">
            <a:lnSpc>
              <a:spcPct val="90000"/>
            </a:lnSpc>
            <a:spcBef>
              <a:spcPct val="0"/>
            </a:spcBef>
            <a:spcAft>
              <a:spcPct val="35000"/>
            </a:spcAft>
            <a:buNone/>
          </a:pPr>
          <a:r>
            <a:rPr lang="en-AU" sz="2600" kern="1200"/>
            <a:t>WPF GUIs are created using </a:t>
          </a:r>
          <a:r>
            <a:rPr lang="en-AU" sz="2600" b="1" kern="1200"/>
            <a:t>XAML</a:t>
          </a:r>
          <a:r>
            <a:rPr lang="en-AU" sz="2600" kern="1200"/>
            <a:t>, an XML based markup language</a:t>
          </a:r>
          <a:endParaRPr lang="en-US" sz="2600" kern="1200"/>
        </a:p>
      </dsp:txBody>
      <dsp:txXfrm>
        <a:off x="685789" y="4216986"/>
        <a:ext cx="9906020" cy="1405206"/>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A068A0-AC15-4CB3-9E16-F57FA95419FE}">
      <dsp:nvSpPr>
        <dsp:cNvPr id="0" name=""/>
        <dsp:cNvSpPr/>
      </dsp:nvSpPr>
      <dsp:spPr>
        <a:xfrm>
          <a:off x="0" y="625"/>
          <a:ext cx="10972800" cy="1278909"/>
        </a:xfrm>
        <a:prstGeom prst="rect">
          <a:avLst/>
        </a:prstGeom>
        <a:solidFill>
          <a:schemeClr val="lt1"/>
        </a:solidFill>
        <a:ln w="12700" cap="flat" cmpd="sng" algn="ctr">
          <a:noFill/>
          <a:prstDash val="solid"/>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0" y="625"/>
        <a:ext cx="10972800" cy="690611"/>
      </dsp:txXfrm>
    </dsp:sp>
    <dsp:sp modelId="{97B38716-8DAC-4C2C-BAA0-D8B49A944BEC}">
      <dsp:nvSpPr>
        <dsp:cNvPr id="0" name=""/>
        <dsp:cNvSpPr/>
      </dsp:nvSpPr>
      <dsp:spPr>
        <a:xfrm>
          <a:off x="0" y="665658"/>
          <a:ext cx="2743199" cy="588298"/>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25400" rIns="142240" bIns="25400" numCol="1" spcCol="1270" anchor="ctr" anchorCtr="0">
          <a:noAutofit/>
        </a:bodyPr>
        <a:lstStyle/>
        <a:p>
          <a:pPr marL="0" lvl="0" indent="0" algn="ctr" defTabSz="889000">
            <a:lnSpc>
              <a:spcPct val="90000"/>
            </a:lnSpc>
            <a:spcBef>
              <a:spcPct val="0"/>
            </a:spcBef>
            <a:spcAft>
              <a:spcPct val="35000"/>
            </a:spcAft>
            <a:buNone/>
          </a:pPr>
          <a:r>
            <a:rPr lang="en-US" sz="2000" b="1" kern="1200" baseline="0" err="1"/>
            <a:t>ComboBox</a:t>
          </a:r>
          <a:br>
            <a:rPr lang="en-US" sz="2000" kern="1200" baseline="0"/>
          </a:br>
          <a:r>
            <a:rPr lang="en-US" sz="2000" kern="1200" baseline="0" err="1"/>
            <a:t>SelectedItem</a:t>
          </a:r>
          <a:r>
            <a:rPr lang="en-US" sz="2000" kern="1200" baseline="0"/>
            <a:t>, Items</a:t>
          </a:r>
          <a:endParaRPr lang="en-US" sz="2000" kern="1200"/>
        </a:p>
      </dsp:txBody>
      <dsp:txXfrm>
        <a:off x="0" y="665658"/>
        <a:ext cx="2743199" cy="588298"/>
      </dsp:txXfrm>
    </dsp:sp>
    <dsp:sp modelId="{7459BB97-0008-405D-8431-E3C20B8498FB}">
      <dsp:nvSpPr>
        <dsp:cNvPr id="0" name=""/>
        <dsp:cNvSpPr/>
      </dsp:nvSpPr>
      <dsp:spPr>
        <a:xfrm>
          <a:off x="2743200" y="665658"/>
          <a:ext cx="2743199" cy="588298"/>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25400" rIns="142240" bIns="25400" numCol="1" spcCol="1270" anchor="ctr" anchorCtr="0">
          <a:noAutofit/>
        </a:bodyPr>
        <a:lstStyle/>
        <a:p>
          <a:pPr marL="0" lvl="0" indent="0" algn="ctr" defTabSz="889000">
            <a:lnSpc>
              <a:spcPct val="90000"/>
            </a:lnSpc>
            <a:spcBef>
              <a:spcPct val="0"/>
            </a:spcBef>
            <a:spcAft>
              <a:spcPct val="35000"/>
            </a:spcAft>
            <a:buNone/>
          </a:pPr>
          <a:r>
            <a:rPr lang="en-US" sz="2000" b="1" kern="1200" baseline="0" err="1"/>
            <a:t>CheckBox</a:t>
          </a:r>
          <a:br>
            <a:rPr lang="en-US" sz="2000" b="1" kern="1200" baseline="0"/>
          </a:br>
          <a:r>
            <a:rPr lang="en-US" sz="2000" b="0" kern="1200" baseline="0" err="1"/>
            <a:t>I</a:t>
          </a:r>
          <a:r>
            <a:rPr lang="en-US" sz="2000" kern="1200" baseline="0" err="1"/>
            <a:t>sChecked</a:t>
          </a:r>
          <a:endParaRPr lang="en-US" sz="2000" kern="1200"/>
        </a:p>
      </dsp:txBody>
      <dsp:txXfrm>
        <a:off x="2743200" y="665658"/>
        <a:ext cx="2743199" cy="588298"/>
      </dsp:txXfrm>
    </dsp:sp>
    <dsp:sp modelId="{1726AAAD-46E1-4C15-BD65-2FF8F524FD46}">
      <dsp:nvSpPr>
        <dsp:cNvPr id="0" name=""/>
        <dsp:cNvSpPr/>
      </dsp:nvSpPr>
      <dsp:spPr>
        <a:xfrm>
          <a:off x="5486400" y="665658"/>
          <a:ext cx="2743199" cy="588298"/>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25400" rIns="142240" bIns="25400" numCol="1" spcCol="1270" anchor="ctr" anchorCtr="0">
          <a:noAutofit/>
        </a:bodyPr>
        <a:lstStyle/>
        <a:p>
          <a:pPr marL="0" lvl="0" indent="0" algn="ctr" defTabSz="889000">
            <a:lnSpc>
              <a:spcPct val="90000"/>
            </a:lnSpc>
            <a:spcBef>
              <a:spcPct val="0"/>
            </a:spcBef>
            <a:spcAft>
              <a:spcPct val="35000"/>
            </a:spcAft>
            <a:buNone/>
          </a:pPr>
          <a:r>
            <a:rPr lang="en-US" sz="2000" b="1" kern="1200" baseline="0" err="1"/>
            <a:t>ImageBox</a:t>
          </a:r>
          <a:br>
            <a:rPr lang="en-US" sz="2000" b="1" kern="1200" baseline="0"/>
          </a:br>
          <a:r>
            <a:rPr lang="en-US" sz="2000" kern="1200" baseline="0"/>
            <a:t>Source </a:t>
          </a:r>
          <a:endParaRPr lang="en-US" sz="2000" kern="1200"/>
        </a:p>
      </dsp:txBody>
      <dsp:txXfrm>
        <a:off x="5486400" y="665658"/>
        <a:ext cx="2743199" cy="588298"/>
      </dsp:txXfrm>
    </dsp:sp>
    <dsp:sp modelId="{74C69089-7FDC-47D6-B8F9-A7C8838592E7}">
      <dsp:nvSpPr>
        <dsp:cNvPr id="0" name=""/>
        <dsp:cNvSpPr/>
      </dsp:nvSpPr>
      <dsp:spPr>
        <a:xfrm>
          <a:off x="8229600" y="665658"/>
          <a:ext cx="2743199" cy="588298"/>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25400" rIns="142240" bIns="25400" numCol="1" spcCol="1270" anchor="ctr" anchorCtr="0">
          <a:noAutofit/>
        </a:bodyPr>
        <a:lstStyle/>
        <a:p>
          <a:pPr marL="0" lvl="0" indent="0" algn="ctr" defTabSz="889000">
            <a:lnSpc>
              <a:spcPct val="90000"/>
            </a:lnSpc>
            <a:spcBef>
              <a:spcPct val="0"/>
            </a:spcBef>
            <a:spcAft>
              <a:spcPct val="35000"/>
            </a:spcAft>
            <a:buNone/>
          </a:pPr>
          <a:r>
            <a:rPr lang="en-US" sz="2000" b="1" kern="1200" baseline="0" err="1"/>
            <a:t>TextBox</a:t>
          </a:r>
          <a:r>
            <a:rPr lang="en-US" sz="2000" kern="1200" baseline="0"/>
            <a:t> </a:t>
          </a:r>
          <a:br>
            <a:rPr lang="en-US" sz="2000" kern="1200" baseline="0"/>
          </a:br>
          <a:r>
            <a:rPr lang="en-US" sz="2000" kern="1200" baseline="0"/>
            <a:t>Text</a:t>
          </a:r>
          <a:endParaRPr lang="en-US" sz="2000" kern="1200"/>
        </a:p>
      </dsp:txBody>
      <dsp:txXfrm>
        <a:off x="8229600" y="665658"/>
        <a:ext cx="2743199" cy="588298"/>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2CAF66-7481-4E72-8A29-AEF07796441A}">
      <dsp:nvSpPr>
        <dsp:cNvPr id="0" name=""/>
        <dsp:cNvSpPr/>
      </dsp:nvSpPr>
      <dsp:spPr>
        <a:xfrm>
          <a:off x="0" y="323"/>
          <a:ext cx="10972800" cy="0"/>
        </a:xfrm>
        <a:prstGeom prst="lin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6474FC9-2945-4BFE-8970-AD98B1DBCAB7}">
      <dsp:nvSpPr>
        <dsp:cNvPr id="0" name=""/>
        <dsp:cNvSpPr/>
      </dsp:nvSpPr>
      <dsp:spPr>
        <a:xfrm>
          <a:off x="0" y="323"/>
          <a:ext cx="10972800" cy="5302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b="1" kern="1200" baseline="0"/>
            <a:t>Controls</a:t>
          </a:r>
          <a:r>
            <a:rPr lang="en-US" sz="2000" kern="1200" baseline="0"/>
            <a:t> have </a:t>
          </a:r>
          <a:r>
            <a:rPr lang="en-US" sz="2000" b="1" kern="1200" baseline="0"/>
            <a:t>properties</a:t>
          </a:r>
          <a:r>
            <a:rPr lang="en-US" sz="2000" kern="1200" baseline="0"/>
            <a:t>, just like any other object</a:t>
          </a:r>
          <a:endParaRPr lang="en-US" sz="2000" kern="1200"/>
        </a:p>
      </dsp:txBody>
      <dsp:txXfrm>
        <a:off x="0" y="323"/>
        <a:ext cx="10972800" cy="530222"/>
      </dsp:txXfrm>
    </dsp:sp>
    <dsp:sp modelId="{21DAAD4E-0127-4602-A2F1-3CE96460C6DD}">
      <dsp:nvSpPr>
        <dsp:cNvPr id="0" name=""/>
        <dsp:cNvSpPr/>
      </dsp:nvSpPr>
      <dsp:spPr>
        <a:xfrm>
          <a:off x="0" y="530546"/>
          <a:ext cx="10972800" cy="0"/>
        </a:xfrm>
        <a:prstGeom prst="lin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F3F5E6-665B-4E18-ACC3-F8667AAEF219}">
      <dsp:nvSpPr>
        <dsp:cNvPr id="0" name=""/>
        <dsp:cNvSpPr/>
      </dsp:nvSpPr>
      <dsp:spPr>
        <a:xfrm>
          <a:off x="0" y="530546"/>
          <a:ext cx="10972800" cy="5302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baseline="0"/>
            <a:t>Every piece of </a:t>
          </a:r>
          <a:r>
            <a:rPr lang="en-US" sz="2000" b="1" kern="1200" baseline="0"/>
            <a:t>information</a:t>
          </a:r>
          <a:r>
            <a:rPr lang="en-US" sz="2000" kern="1200" baseline="0"/>
            <a:t> is an </a:t>
          </a:r>
          <a:r>
            <a:rPr lang="en-US" sz="2000" b="1" kern="1200" baseline="0"/>
            <a:t>accessible</a:t>
          </a:r>
          <a:r>
            <a:rPr lang="en-US" sz="2000" kern="1200" baseline="0"/>
            <a:t> property</a:t>
          </a:r>
          <a:endParaRPr lang="en-US" sz="2000" kern="1200"/>
        </a:p>
      </dsp:txBody>
      <dsp:txXfrm>
        <a:off x="0" y="530546"/>
        <a:ext cx="10972800" cy="530222"/>
      </dsp:txXfrm>
    </dsp:sp>
    <dsp:sp modelId="{46B8F722-081B-4B8C-A13D-8E450D210A05}">
      <dsp:nvSpPr>
        <dsp:cNvPr id="0" name=""/>
        <dsp:cNvSpPr/>
      </dsp:nvSpPr>
      <dsp:spPr>
        <a:xfrm>
          <a:off x="0" y="1060768"/>
          <a:ext cx="10972800" cy="0"/>
        </a:xfrm>
        <a:prstGeom prst="lin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3F5058-96B8-45E2-8E8B-B2F84DD63973}">
      <dsp:nvSpPr>
        <dsp:cNvPr id="0" name=""/>
        <dsp:cNvSpPr/>
      </dsp:nvSpPr>
      <dsp:spPr>
        <a:xfrm>
          <a:off x="0" y="1060768"/>
          <a:ext cx="10972800" cy="5302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baseline="0"/>
            <a:t>The </a:t>
          </a:r>
          <a:r>
            <a:rPr lang="en-US" sz="2000" b="1" kern="1200" baseline="0"/>
            <a:t>$GUI </a:t>
          </a:r>
          <a:r>
            <a:rPr lang="en-US" sz="2000" kern="1200" baseline="0"/>
            <a:t>hash table is used to access the control </a:t>
          </a:r>
          <a:r>
            <a:rPr lang="en-US" sz="2000" b="1" kern="1200" baseline="0"/>
            <a:t>objects</a:t>
          </a:r>
          <a:r>
            <a:rPr lang="en-US" sz="2000" kern="1200" baseline="0"/>
            <a:t> </a:t>
          </a:r>
          <a:endParaRPr lang="en-US" sz="2000" kern="1200"/>
        </a:p>
      </dsp:txBody>
      <dsp:txXfrm>
        <a:off x="0" y="1060768"/>
        <a:ext cx="10972800" cy="530222"/>
      </dsp:txXfrm>
    </dsp:sp>
    <dsp:sp modelId="{6CBAADB2-6B4B-4420-9B9C-D3A1F7A9ACD8}">
      <dsp:nvSpPr>
        <dsp:cNvPr id="0" name=""/>
        <dsp:cNvSpPr/>
      </dsp:nvSpPr>
      <dsp:spPr>
        <a:xfrm>
          <a:off x="0" y="1590991"/>
          <a:ext cx="10972800" cy="0"/>
        </a:xfrm>
        <a:prstGeom prst="lin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AA22FC-F759-47DC-8C31-149D65A8947D}">
      <dsp:nvSpPr>
        <dsp:cNvPr id="0" name=""/>
        <dsp:cNvSpPr/>
      </dsp:nvSpPr>
      <dsp:spPr>
        <a:xfrm>
          <a:off x="0" y="1590991"/>
          <a:ext cx="10972800" cy="5302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baseline="0"/>
            <a:t>User </a:t>
          </a:r>
          <a:r>
            <a:rPr lang="en-US" sz="2000" b="1" kern="1200" baseline="0"/>
            <a:t>input</a:t>
          </a:r>
          <a:r>
            <a:rPr lang="en-US" sz="2000" kern="1200" baseline="0"/>
            <a:t> is </a:t>
          </a:r>
          <a:r>
            <a:rPr lang="en-US" sz="2000" b="1" kern="1200" baseline="0"/>
            <a:t>stored</a:t>
          </a:r>
          <a:r>
            <a:rPr lang="en-US" sz="2000" kern="1200" baseline="0"/>
            <a:t> into properties</a:t>
          </a:r>
          <a:endParaRPr lang="en-US" sz="2000" kern="1200"/>
        </a:p>
      </dsp:txBody>
      <dsp:txXfrm>
        <a:off x="0" y="1590991"/>
        <a:ext cx="10972800" cy="530222"/>
      </dsp:txXfrm>
    </dsp:sp>
    <dsp:sp modelId="{02FD7601-6BA5-47C3-81B0-9CF2A6B2BB41}">
      <dsp:nvSpPr>
        <dsp:cNvPr id="0" name=""/>
        <dsp:cNvSpPr/>
      </dsp:nvSpPr>
      <dsp:spPr>
        <a:xfrm>
          <a:off x="0" y="2121213"/>
          <a:ext cx="10972800" cy="0"/>
        </a:xfrm>
        <a:prstGeom prst="lin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F7A7AA0-2532-4B97-94D8-2260B926F717}">
      <dsp:nvSpPr>
        <dsp:cNvPr id="0" name=""/>
        <dsp:cNvSpPr/>
      </dsp:nvSpPr>
      <dsp:spPr>
        <a:xfrm>
          <a:off x="0" y="2121213"/>
          <a:ext cx="10972800" cy="5302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b="1" kern="1200" baseline="0"/>
            <a:t>Commonly</a:t>
          </a:r>
          <a:r>
            <a:rPr lang="en-US" sz="2000" kern="1200" baseline="0"/>
            <a:t> used properties:</a:t>
          </a:r>
          <a:endParaRPr lang="en-US" sz="2000" kern="1200"/>
        </a:p>
      </dsp:txBody>
      <dsp:txXfrm>
        <a:off x="0" y="2121213"/>
        <a:ext cx="10972800" cy="530222"/>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714FA6-F88F-4579-85D8-F6172F5A9637}">
      <dsp:nvSpPr>
        <dsp:cNvPr id="0" name=""/>
        <dsp:cNvSpPr/>
      </dsp:nvSpPr>
      <dsp:spPr>
        <a:xfrm>
          <a:off x="0" y="0"/>
          <a:ext cx="713232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43C939D-4BE8-4F71-8DCF-EB7E692BC7D7}">
      <dsp:nvSpPr>
        <dsp:cNvPr id="0" name=""/>
        <dsp:cNvSpPr/>
      </dsp:nvSpPr>
      <dsp:spPr>
        <a:xfrm>
          <a:off x="0" y="0"/>
          <a:ext cx="7132320" cy="914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Properties can be </a:t>
          </a:r>
          <a:r>
            <a:rPr lang="en-US" sz="2400" b="0" kern="1200" baseline="0"/>
            <a:t>found</a:t>
          </a:r>
          <a:r>
            <a:rPr lang="en-US" sz="2400" kern="1200" baseline="0"/>
            <a:t> in </a:t>
          </a:r>
          <a:r>
            <a:rPr lang="en-US" sz="2400" b="0" kern="1200" baseline="0"/>
            <a:t>multiple</a:t>
          </a:r>
          <a:r>
            <a:rPr lang="en-US" sz="2400" kern="1200" baseline="0"/>
            <a:t> </a:t>
          </a:r>
          <a:r>
            <a:rPr lang="en-US" sz="2400" b="0" kern="1200" baseline="0"/>
            <a:t>locations</a:t>
          </a:r>
          <a:r>
            <a:rPr lang="en-US" sz="2400" kern="1200" baseline="0"/>
            <a:t>: </a:t>
          </a:r>
          <a:br>
            <a:rPr lang="en-US" sz="2400" kern="1200" baseline="0"/>
          </a:br>
          <a:r>
            <a:rPr lang="en-US" sz="2400" kern="1200" baseline="0"/>
            <a:t>Get-Member, Docs pages, or Visual Studio pane</a:t>
          </a:r>
          <a:endParaRPr lang="en-US" sz="2400" kern="1200"/>
        </a:p>
      </dsp:txBody>
      <dsp:txXfrm>
        <a:off x="0" y="0"/>
        <a:ext cx="7132320" cy="914400"/>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126D4B-E16C-46DB-8ECA-19977610692E}">
      <dsp:nvSpPr>
        <dsp:cNvPr id="0" name=""/>
        <dsp:cNvSpPr/>
      </dsp:nvSpPr>
      <dsp:spPr>
        <a:xfrm>
          <a:off x="0" y="625"/>
          <a:ext cx="10972800" cy="1278909"/>
        </a:xfrm>
        <a:prstGeom prst="rect">
          <a:avLst/>
        </a:prstGeom>
        <a:solidFill>
          <a:schemeClr val="lt1"/>
        </a:solidFill>
        <a:ln w="12700" cap="flat" cmpd="sng" algn="ctr">
          <a:noFill/>
          <a:prstDash val="solid"/>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0" y="625"/>
        <a:ext cx="10972800" cy="690611"/>
      </dsp:txXfrm>
    </dsp:sp>
    <dsp:sp modelId="{5D8B8104-6F06-46B7-B934-BE0CA2848C12}">
      <dsp:nvSpPr>
        <dsp:cNvPr id="0" name=""/>
        <dsp:cNvSpPr/>
      </dsp:nvSpPr>
      <dsp:spPr>
        <a:xfrm>
          <a:off x="5357" y="665658"/>
          <a:ext cx="3654028" cy="588298"/>
        </a:xfrm>
        <a:prstGeom prst="rect">
          <a:avLst/>
        </a:prstGeom>
        <a:solidFill>
          <a:schemeClr val="accent1">
            <a:lumMod val="40000"/>
            <a:lumOff val="60000"/>
            <a:alpha val="9000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25400" rIns="142240" bIns="25400" numCol="1" spcCol="1270" anchor="ctr" anchorCtr="0">
          <a:noAutofit/>
        </a:bodyPr>
        <a:lstStyle/>
        <a:p>
          <a:pPr marL="0" lvl="0" indent="0" algn="ctr" defTabSz="889000">
            <a:lnSpc>
              <a:spcPct val="90000"/>
            </a:lnSpc>
            <a:spcBef>
              <a:spcPct val="0"/>
            </a:spcBef>
            <a:spcAft>
              <a:spcPct val="35000"/>
            </a:spcAft>
            <a:buNone/>
          </a:pPr>
          <a:r>
            <a:rPr lang="en-US" sz="2000" kern="1200" baseline="0"/>
            <a:t>Button </a:t>
          </a:r>
          <a:br>
            <a:rPr lang="en-US" sz="2000" kern="1200" baseline="0"/>
          </a:br>
          <a:r>
            <a:rPr lang="en-US" sz="2000" b="1" kern="1200" baseline="0" err="1"/>
            <a:t>add_Click</a:t>
          </a:r>
          <a:r>
            <a:rPr lang="en-US" sz="2000" b="1" kern="1200" baseline="0"/>
            <a:t>()</a:t>
          </a:r>
          <a:endParaRPr lang="en-US" sz="2000" kern="1200"/>
        </a:p>
      </dsp:txBody>
      <dsp:txXfrm>
        <a:off x="5357" y="665658"/>
        <a:ext cx="3654028" cy="588298"/>
      </dsp:txXfrm>
    </dsp:sp>
    <dsp:sp modelId="{197E540E-B8FC-4F48-A948-E503244E2D35}">
      <dsp:nvSpPr>
        <dsp:cNvPr id="0" name=""/>
        <dsp:cNvSpPr/>
      </dsp:nvSpPr>
      <dsp:spPr>
        <a:xfrm>
          <a:off x="3659385" y="665658"/>
          <a:ext cx="3654028" cy="588298"/>
        </a:xfrm>
        <a:prstGeom prst="rect">
          <a:avLst/>
        </a:prstGeom>
        <a:solidFill>
          <a:schemeClr val="accent3">
            <a:lumMod val="40000"/>
            <a:lumOff val="60000"/>
            <a:alpha val="9000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25400" rIns="142240" bIns="25400" numCol="1" spcCol="1270" anchor="ctr" anchorCtr="0">
          <a:noAutofit/>
        </a:bodyPr>
        <a:lstStyle/>
        <a:p>
          <a:pPr marL="0" lvl="0" indent="0" algn="ctr" defTabSz="889000">
            <a:lnSpc>
              <a:spcPct val="90000"/>
            </a:lnSpc>
            <a:spcBef>
              <a:spcPct val="0"/>
            </a:spcBef>
            <a:spcAft>
              <a:spcPct val="35000"/>
            </a:spcAft>
            <a:buNone/>
          </a:pPr>
          <a:r>
            <a:rPr lang="en-US" sz="2000" kern="1200" baseline="0" err="1"/>
            <a:t>Combobox</a:t>
          </a:r>
          <a:r>
            <a:rPr lang="en-US" sz="2000" kern="1200" baseline="0"/>
            <a:t> </a:t>
          </a:r>
          <a:br>
            <a:rPr lang="en-US" sz="2000" kern="1200" baseline="0"/>
          </a:br>
          <a:r>
            <a:rPr lang="en-US" sz="2000" b="1" kern="1200" baseline="0" err="1"/>
            <a:t>add_SelectionChanged</a:t>
          </a:r>
          <a:r>
            <a:rPr lang="en-US" sz="2000" b="1" kern="1200" baseline="0"/>
            <a:t>()</a:t>
          </a:r>
          <a:endParaRPr lang="en-US" sz="2000" kern="1200"/>
        </a:p>
      </dsp:txBody>
      <dsp:txXfrm>
        <a:off x="3659385" y="665658"/>
        <a:ext cx="3654028" cy="588298"/>
      </dsp:txXfrm>
    </dsp:sp>
    <dsp:sp modelId="{ACCCAA64-C0CA-4FAB-A22C-4F79350E6DC7}">
      <dsp:nvSpPr>
        <dsp:cNvPr id="0" name=""/>
        <dsp:cNvSpPr/>
      </dsp:nvSpPr>
      <dsp:spPr>
        <a:xfrm>
          <a:off x="7313414" y="665658"/>
          <a:ext cx="3654028" cy="588298"/>
        </a:xfrm>
        <a:prstGeom prst="rect">
          <a:avLst/>
        </a:prstGeom>
        <a:solidFill>
          <a:schemeClr val="accent5">
            <a:lumMod val="40000"/>
            <a:lumOff val="60000"/>
            <a:alpha val="9000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25400" rIns="142240" bIns="254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1"/>
              </a:solidFill>
            </a:rPr>
            <a:t>Slider</a:t>
          </a:r>
          <a:br>
            <a:rPr lang="en-US" sz="2000" kern="1200">
              <a:solidFill>
                <a:schemeClr val="tx1"/>
              </a:solidFill>
            </a:rPr>
          </a:br>
          <a:r>
            <a:rPr lang="en-US" sz="2000" b="1" kern="1200" err="1">
              <a:solidFill>
                <a:schemeClr val="tx1"/>
              </a:solidFill>
            </a:rPr>
            <a:t>add_ValueChanged</a:t>
          </a:r>
          <a:r>
            <a:rPr lang="en-US" sz="2000" b="1" kern="1200">
              <a:solidFill>
                <a:schemeClr val="tx1"/>
              </a:solidFill>
            </a:rPr>
            <a:t>()</a:t>
          </a:r>
        </a:p>
      </dsp:txBody>
      <dsp:txXfrm>
        <a:off x="7313414" y="665658"/>
        <a:ext cx="3654028" cy="588298"/>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2CAF66-7481-4E72-8A29-AEF07796441A}">
      <dsp:nvSpPr>
        <dsp:cNvPr id="0" name=""/>
        <dsp:cNvSpPr/>
      </dsp:nvSpPr>
      <dsp:spPr>
        <a:xfrm>
          <a:off x="0" y="0"/>
          <a:ext cx="10972800" cy="0"/>
        </a:xfrm>
        <a:prstGeom prst="line">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6474FC9-2945-4BFE-8970-AD98B1DBCAB7}">
      <dsp:nvSpPr>
        <dsp:cNvPr id="0" name=""/>
        <dsp:cNvSpPr/>
      </dsp:nvSpPr>
      <dsp:spPr>
        <a:xfrm>
          <a:off x="0" y="0"/>
          <a:ext cx="10972800" cy="662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Events are a way for an object to </a:t>
          </a:r>
          <a:r>
            <a:rPr lang="en-US" sz="2400" b="1" kern="1200" baseline="0"/>
            <a:t>broadcast</a:t>
          </a:r>
          <a:r>
            <a:rPr lang="en-US" sz="2400" kern="1200" baseline="0"/>
            <a:t> that </a:t>
          </a:r>
          <a:r>
            <a:rPr lang="en-US" sz="2400" b="1" kern="1200" baseline="0"/>
            <a:t>something</a:t>
          </a:r>
          <a:r>
            <a:rPr lang="en-US" sz="2400" kern="1200" baseline="0"/>
            <a:t> has happened</a:t>
          </a:r>
          <a:endParaRPr lang="en-US" sz="2400" kern="1200"/>
        </a:p>
      </dsp:txBody>
      <dsp:txXfrm>
        <a:off x="0" y="0"/>
        <a:ext cx="10972800" cy="662939"/>
      </dsp:txXfrm>
    </dsp:sp>
    <dsp:sp modelId="{483FC6AD-69AD-44E2-B125-358BCA43247C}">
      <dsp:nvSpPr>
        <dsp:cNvPr id="0" name=""/>
        <dsp:cNvSpPr/>
      </dsp:nvSpPr>
      <dsp:spPr>
        <a:xfrm>
          <a:off x="0" y="662939"/>
          <a:ext cx="10972800" cy="0"/>
        </a:xfrm>
        <a:prstGeom prst="line">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D4B5E9D-38A0-40C2-A10F-2D9105683AD5}">
      <dsp:nvSpPr>
        <dsp:cNvPr id="0" name=""/>
        <dsp:cNvSpPr/>
      </dsp:nvSpPr>
      <dsp:spPr>
        <a:xfrm>
          <a:off x="0" y="662939"/>
          <a:ext cx="10972800" cy="662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PowerShell </a:t>
          </a:r>
          <a:r>
            <a:rPr lang="en-US" sz="2400" b="1" kern="1200" baseline="0"/>
            <a:t>code</a:t>
          </a:r>
          <a:r>
            <a:rPr lang="en-US" sz="2400" kern="1200" baseline="0"/>
            <a:t> can be </a:t>
          </a:r>
          <a:r>
            <a:rPr lang="en-US" sz="2400" b="1" kern="1200" baseline="0"/>
            <a:t>triggered</a:t>
          </a:r>
          <a:r>
            <a:rPr lang="en-US" sz="2400" kern="1200" baseline="0"/>
            <a:t> from these events </a:t>
          </a:r>
          <a:endParaRPr lang="en-US" sz="2400" kern="1200"/>
        </a:p>
      </dsp:txBody>
      <dsp:txXfrm>
        <a:off x="0" y="662939"/>
        <a:ext cx="10972800" cy="662939"/>
      </dsp:txXfrm>
    </dsp:sp>
    <dsp:sp modelId="{4F0E979F-8634-4083-B3C6-48117D22F063}">
      <dsp:nvSpPr>
        <dsp:cNvPr id="0" name=""/>
        <dsp:cNvSpPr/>
      </dsp:nvSpPr>
      <dsp:spPr>
        <a:xfrm>
          <a:off x="0" y="1325879"/>
          <a:ext cx="10972800" cy="0"/>
        </a:xfrm>
        <a:prstGeom prst="line">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1A8B7D-358B-49F6-AC44-183CB5A8C1FC}">
      <dsp:nvSpPr>
        <dsp:cNvPr id="0" name=""/>
        <dsp:cNvSpPr/>
      </dsp:nvSpPr>
      <dsp:spPr>
        <a:xfrm>
          <a:off x="0" y="1325879"/>
          <a:ext cx="10972800" cy="662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Code is stored in </a:t>
          </a:r>
          <a:r>
            <a:rPr lang="en-US" sz="2400" b="1" kern="1200" baseline="0"/>
            <a:t>script blocks </a:t>
          </a:r>
          <a:r>
            <a:rPr lang="en-US" sz="2400" kern="1200" baseline="0"/>
            <a:t>and added via </a:t>
          </a:r>
          <a:r>
            <a:rPr lang="en-US" sz="2400" b="1" kern="1200" baseline="0"/>
            <a:t>methods</a:t>
          </a:r>
          <a:endParaRPr lang="en-US" sz="2400" kern="1200"/>
        </a:p>
      </dsp:txBody>
      <dsp:txXfrm>
        <a:off x="0" y="1325879"/>
        <a:ext cx="10972800" cy="662939"/>
      </dsp:txXfrm>
    </dsp:sp>
    <dsp:sp modelId="{12479E5A-8707-48F7-8053-F5165FEE7AB8}">
      <dsp:nvSpPr>
        <dsp:cNvPr id="0" name=""/>
        <dsp:cNvSpPr/>
      </dsp:nvSpPr>
      <dsp:spPr>
        <a:xfrm>
          <a:off x="0" y="1988820"/>
          <a:ext cx="10972800" cy="0"/>
        </a:xfrm>
        <a:prstGeom prst="line">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6B6A64A-F356-4883-9B4B-0F7701813563}">
      <dsp:nvSpPr>
        <dsp:cNvPr id="0" name=""/>
        <dsp:cNvSpPr/>
      </dsp:nvSpPr>
      <dsp:spPr>
        <a:xfrm>
          <a:off x="0" y="1988819"/>
          <a:ext cx="10972800" cy="662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Method </a:t>
          </a:r>
          <a:r>
            <a:rPr lang="en-US" sz="2400" b="1" kern="1200" baseline="0"/>
            <a:t>syntax</a:t>
          </a:r>
          <a:r>
            <a:rPr lang="en-US" sz="2400" kern="1200" baseline="0"/>
            <a:t> is </a:t>
          </a:r>
          <a:r>
            <a:rPr lang="en-US" sz="2400" b="1" kern="1200" baseline="0"/>
            <a:t>add_</a:t>
          </a:r>
          <a:r>
            <a:rPr lang="en-US" sz="2400" b="1" i="1" kern="1200" baseline="0"/>
            <a:t>EVENTNAME</a:t>
          </a:r>
          <a:r>
            <a:rPr lang="en-US" sz="2400" kern="1200" baseline="0"/>
            <a:t>(&lt;scriptblock&gt;)</a:t>
          </a:r>
          <a:endParaRPr lang="en-US" sz="2400" kern="1200"/>
        </a:p>
      </dsp:txBody>
      <dsp:txXfrm>
        <a:off x="0" y="1988819"/>
        <a:ext cx="10972800" cy="662939"/>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714FA6-F88F-4579-85D8-F6172F5A9637}">
      <dsp:nvSpPr>
        <dsp:cNvPr id="0" name=""/>
        <dsp:cNvSpPr/>
      </dsp:nvSpPr>
      <dsp:spPr>
        <a:xfrm>
          <a:off x="0" y="0"/>
          <a:ext cx="77724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43C939D-4BE8-4F71-8DCF-EB7E692BC7D7}">
      <dsp:nvSpPr>
        <dsp:cNvPr id="0" name=""/>
        <dsp:cNvSpPr/>
      </dsp:nvSpPr>
      <dsp:spPr>
        <a:xfrm>
          <a:off x="0" y="0"/>
          <a:ext cx="7772400" cy="914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Events can be </a:t>
          </a:r>
          <a:r>
            <a:rPr lang="en-US" sz="2400" b="0" kern="1200" baseline="0"/>
            <a:t>found</a:t>
          </a:r>
          <a:r>
            <a:rPr lang="en-US" sz="2400" kern="1200" baseline="0"/>
            <a:t> in </a:t>
          </a:r>
          <a:r>
            <a:rPr lang="en-US" sz="2400" b="0" kern="1200" baseline="0"/>
            <a:t>multiple</a:t>
          </a:r>
          <a:r>
            <a:rPr lang="en-US" sz="2400" kern="1200" baseline="0"/>
            <a:t> </a:t>
          </a:r>
          <a:r>
            <a:rPr lang="en-US" sz="2400" b="0" kern="1200" baseline="0"/>
            <a:t>locations</a:t>
          </a:r>
          <a:r>
            <a:rPr lang="en-US" sz="2400" kern="1200" baseline="0"/>
            <a:t>: </a:t>
          </a:r>
          <a:br>
            <a:rPr lang="en-US" sz="2400" kern="1200" baseline="0"/>
          </a:br>
          <a:r>
            <a:rPr lang="en-US" sz="2400" kern="1200" baseline="0"/>
            <a:t>Get-Member, Docs pages, or Visual Studio pane</a:t>
          </a:r>
          <a:endParaRPr lang="en-US" sz="2400" kern="1200"/>
        </a:p>
      </dsp:txBody>
      <dsp:txXfrm>
        <a:off x="0" y="0"/>
        <a:ext cx="7772400" cy="914400"/>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06E09D-1FEB-413A-9449-C98D8A21796D}">
      <dsp:nvSpPr>
        <dsp:cNvPr id="0" name=""/>
        <dsp:cNvSpPr/>
      </dsp:nvSpPr>
      <dsp:spPr>
        <a:xfrm>
          <a:off x="0" y="41040"/>
          <a:ext cx="10972800" cy="1010880"/>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defRPr b="1"/>
          </a:pPr>
          <a:r>
            <a:rPr lang="en-US" sz="2400" b="0" kern="1200"/>
            <a:t>A method to </a:t>
          </a:r>
          <a:r>
            <a:rPr lang="en-US" sz="2400" b="1" kern="1200"/>
            <a:t>link</a:t>
          </a:r>
          <a:r>
            <a:rPr lang="en-US" sz="2400" b="0" kern="1200"/>
            <a:t> a property of a control to another value to keep them in </a:t>
          </a:r>
          <a:r>
            <a:rPr lang="en-US" sz="2400" b="1" kern="1200"/>
            <a:t>sync</a:t>
          </a:r>
        </a:p>
      </dsp:txBody>
      <dsp:txXfrm>
        <a:off x="49347" y="90387"/>
        <a:ext cx="10874106" cy="912186"/>
      </dsp:txXfrm>
    </dsp:sp>
    <dsp:sp modelId="{BFB7A520-2282-4A5C-8803-AC913DCAF558}">
      <dsp:nvSpPr>
        <dsp:cNvPr id="0" name=""/>
        <dsp:cNvSpPr/>
      </dsp:nvSpPr>
      <dsp:spPr>
        <a:xfrm>
          <a:off x="0" y="1207440"/>
          <a:ext cx="10972800" cy="1010880"/>
        </a:xfrm>
        <a:prstGeom prst="roundRect">
          <a:avLst/>
        </a:prstGeom>
        <a:solidFill>
          <a:schemeClr val="accent3">
            <a:lumMod val="75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a:t>Updating</a:t>
          </a:r>
          <a:r>
            <a:rPr lang="en-US" sz="2400" kern="1200"/>
            <a:t> source value causes other controls to get updated </a:t>
          </a:r>
          <a:r>
            <a:rPr lang="en-US" sz="2400" b="1" kern="1200"/>
            <a:t>automatically</a:t>
          </a:r>
        </a:p>
      </dsp:txBody>
      <dsp:txXfrm>
        <a:off x="49347" y="1256787"/>
        <a:ext cx="10874106" cy="912186"/>
      </dsp:txXfrm>
    </dsp:sp>
    <dsp:sp modelId="{798FC048-0703-458F-887A-BE4834216473}">
      <dsp:nvSpPr>
        <dsp:cNvPr id="0" name=""/>
        <dsp:cNvSpPr/>
      </dsp:nvSpPr>
      <dsp:spPr>
        <a:xfrm>
          <a:off x="0" y="2373840"/>
          <a:ext cx="10972800" cy="1010880"/>
        </a:xfrm>
        <a:prstGeom prst="roundRect">
          <a:avLst/>
        </a:prstGeom>
        <a:solidFill>
          <a:schemeClr val="accent4">
            <a:lumMod val="75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Used to </a:t>
          </a:r>
          <a:r>
            <a:rPr lang="en-US" sz="2400" b="1" kern="1200"/>
            <a:t>improve</a:t>
          </a:r>
          <a:r>
            <a:rPr lang="en-US" sz="2400" kern="1200"/>
            <a:t> </a:t>
          </a:r>
          <a:r>
            <a:rPr lang="en-US" sz="2400" b="0" kern="1200"/>
            <a:t>visual</a:t>
          </a:r>
          <a:r>
            <a:rPr lang="en-US" sz="2400" kern="1200"/>
            <a:t> experience and sync </a:t>
          </a:r>
          <a:r>
            <a:rPr lang="en-US" sz="2400" b="1" kern="1200"/>
            <a:t>multiple</a:t>
          </a:r>
          <a:r>
            <a:rPr lang="en-US" sz="2400" kern="1200"/>
            <a:t> input methods </a:t>
          </a:r>
        </a:p>
      </dsp:txBody>
      <dsp:txXfrm>
        <a:off x="49347" y="2423187"/>
        <a:ext cx="10874106" cy="912186"/>
      </dsp:txXfrm>
    </dsp:sp>
    <dsp:sp modelId="{AD2BAD64-9C17-4076-A048-06BAC57B9C15}">
      <dsp:nvSpPr>
        <dsp:cNvPr id="0" name=""/>
        <dsp:cNvSpPr/>
      </dsp:nvSpPr>
      <dsp:spPr>
        <a:xfrm>
          <a:off x="0" y="3540240"/>
          <a:ext cx="10972800" cy="1010880"/>
        </a:xfrm>
        <a:prstGeom prst="roundRect">
          <a:avLst/>
        </a:prstGeom>
        <a:solidFill>
          <a:srgbClr val="3B2E58"/>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defRPr b="1"/>
          </a:pPr>
          <a:r>
            <a:rPr lang="en-US" sz="2400" b="0" kern="1200"/>
            <a:t>Ways to </a:t>
          </a:r>
          <a:r>
            <a:rPr lang="en-US" sz="2400" b="1" kern="1200"/>
            <a:t>declare</a:t>
          </a:r>
          <a:r>
            <a:rPr lang="en-US" sz="2400" b="0" kern="1200"/>
            <a:t> data binding</a:t>
          </a:r>
        </a:p>
      </dsp:txBody>
      <dsp:txXfrm>
        <a:off x="49347" y="3589587"/>
        <a:ext cx="10874106" cy="912186"/>
      </dsp:txXfrm>
    </dsp:sp>
    <dsp:sp modelId="{0BF68657-3B3C-4C8B-9AE4-54302DFDB9BD}">
      <dsp:nvSpPr>
        <dsp:cNvPr id="0" name=""/>
        <dsp:cNvSpPr/>
      </dsp:nvSpPr>
      <dsp:spPr>
        <a:xfrm>
          <a:off x="0" y="4551120"/>
          <a:ext cx="10972800" cy="894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a:t>Directly in </a:t>
          </a:r>
          <a:r>
            <a:rPr lang="en-US" sz="2400" b="1" kern="1200"/>
            <a:t>XAML</a:t>
          </a:r>
          <a:r>
            <a:rPr lang="en-US" sz="2400" kern="1200"/>
            <a:t> referencing another control as source</a:t>
          </a:r>
        </a:p>
        <a:p>
          <a:pPr marL="228600" lvl="1" indent="-228600" algn="l" defTabSz="1066800">
            <a:lnSpc>
              <a:spcPct val="90000"/>
            </a:lnSpc>
            <a:spcBef>
              <a:spcPct val="0"/>
            </a:spcBef>
            <a:spcAft>
              <a:spcPct val="20000"/>
            </a:spcAft>
            <a:buChar char="•"/>
          </a:pPr>
          <a:r>
            <a:rPr lang="en-US" sz="2400" kern="1200"/>
            <a:t>In </a:t>
          </a:r>
          <a:r>
            <a:rPr lang="en-US" sz="2400" b="1" kern="1200"/>
            <a:t>PowerShell code </a:t>
          </a:r>
          <a:r>
            <a:rPr lang="en-US" sz="2400" kern="1200"/>
            <a:t>referencing a PowerShell variable object</a:t>
          </a:r>
        </a:p>
      </dsp:txBody>
      <dsp:txXfrm>
        <a:off x="0" y="4551120"/>
        <a:ext cx="10972800" cy="894240"/>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E643AE-FDC3-4974-9F5D-6BC880DC0463}">
      <dsp:nvSpPr>
        <dsp:cNvPr id="0" name=""/>
        <dsp:cNvSpPr/>
      </dsp:nvSpPr>
      <dsp:spPr>
        <a:xfrm>
          <a:off x="3056" y="253"/>
          <a:ext cx="8497807" cy="1530548"/>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baseline="0"/>
            <a:t>Allows binding existing GUI elements together </a:t>
          </a:r>
          <a:r>
            <a:rPr lang="en-US" sz="2800" b="1" kern="1200" baseline="0"/>
            <a:t>without </a:t>
          </a:r>
          <a:r>
            <a:rPr lang="en-US" sz="2800" b="0" kern="1200" baseline="0"/>
            <a:t>PowerShell</a:t>
          </a:r>
          <a:r>
            <a:rPr lang="en-US" sz="2800" b="1" kern="1200" baseline="0"/>
            <a:t> </a:t>
          </a:r>
          <a:r>
            <a:rPr lang="en-US" sz="2800" b="0" kern="1200" baseline="0"/>
            <a:t>code</a:t>
          </a:r>
          <a:endParaRPr lang="en-US" sz="2800" b="0" kern="1200"/>
        </a:p>
      </dsp:txBody>
      <dsp:txXfrm>
        <a:off x="47884" y="45081"/>
        <a:ext cx="8408151" cy="1440892"/>
      </dsp:txXfrm>
    </dsp:sp>
    <dsp:sp modelId="{3EABF5A4-41D0-47A0-9E0C-AE43420C7241}">
      <dsp:nvSpPr>
        <dsp:cNvPr id="0" name=""/>
        <dsp:cNvSpPr/>
      </dsp:nvSpPr>
      <dsp:spPr>
        <a:xfrm>
          <a:off x="11350" y="1730079"/>
          <a:ext cx="2677152" cy="1927266"/>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baseline="0" err="1"/>
            <a:t>ElementName</a:t>
          </a:r>
          <a:r>
            <a:rPr lang="en-US" sz="2400" kern="1200" baseline="0"/>
            <a:t> </a:t>
          </a:r>
          <a:br>
            <a:rPr lang="en-US" sz="2400" kern="1200" baseline="0"/>
          </a:br>
          <a:r>
            <a:rPr lang="en-US" sz="2400" kern="1200" baseline="0"/>
            <a:t>X:Name of XAML control to bind to</a:t>
          </a:r>
          <a:endParaRPr lang="en-US" sz="2400" kern="1200"/>
        </a:p>
      </dsp:txBody>
      <dsp:txXfrm>
        <a:off x="67798" y="1786527"/>
        <a:ext cx="2564256" cy="1814370"/>
      </dsp:txXfrm>
    </dsp:sp>
    <dsp:sp modelId="{CE15F57A-C44F-4D1D-BFA3-D80158CDD933}">
      <dsp:nvSpPr>
        <dsp:cNvPr id="0" name=""/>
        <dsp:cNvSpPr/>
      </dsp:nvSpPr>
      <dsp:spPr>
        <a:xfrm>
          <a:off x="2913383" y="1730079"/>
          <a:ext cx="2677152" cy="1927266"/>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baseline="0"/>
            <a:t>Path</a:t>
          </a:r>
          <a:r>
            <a:rPr lang="en-US" sz="2400" kern="1200" baseline="0"/>
            <a:t> </a:t>
          </a:r>
          <a:br>
            <a:rPr lang="en-US" sz="2400" kern="1200" baseline="0"/>
          </a:br>
          <a:r>
            <a:rPr lang="en-US" sz="2400" kern="1200" baseline="0"/>
            <a:t>Property name of control to bind to</a:t>
          </a:r>
          <a:endParaRPr lang="en-US" sz="2400" kern="1200"/>
        </a:p>
      </dsp:txBody>
      <dsp:txXfrm>
        <a:off x="2969831" y="1786527"/>
        <a:ext cx="2564256" cy="1814370"/>
      </dsp:txXfrm>
    </dsp:sp>
    <dsp:sp modelId="{781FA425-35DA-4990-B478-FB884A3A6B00}">
      <dsp:nvSpPr>
        <dsp:cNvPr id="0" name=""/>
        <dsp:cNvSpPr/>
      </dsp:nvSpPr>
      <dsp:spPr>
        <a:xfrm>
          <a:off x="5815416" y="1730079"/>
          <a:ext cx="2677152" cy="1927266"/>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baseline="0"/>
            <a:t>Mode</a:t>
          </a:r>
          <a:r>
            <a:rPr lang="en-US" sz="2400" kern="1200" baseline="0"/>
            <a:t> </a:t>
          </a:r>
          <a:br>
            <a:rPr lang="en-US" sz="2400" kern="1200" baseline="0"/>
          </a:br>
          <a:r>
            <a:rPr lang="en-US" sz="2400" kern="1200" baseline="0"/>
            <a:t>One direction</a:t>
          </a:r>
          <a:br>
            <a:rPr lang="en-US" sz="2400" kern="1200" baseline="0"/>
          </a:br>
          <a:r>
            <a:rPr lang="en-US" sz="2400" kern="1200" baseline="0"/>
            <a:t>Two directions</a:t>
          </a:r>
          <a:endParaRPr lang="en-US" sz="2400" kern="1200"/>
        </a:p>
      </dsp:txBody>
      <dsp:txXfrm>
        <a:off x="5871864" y="1786527"/>
        <a:ext cx="2564256" cy="1814370"/>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C82203-6125-420C-88F5-41B3B2529518}">
      <dsp:nvSpPr>
        <dsp:cNvPr id="0" name=""/>
        <dsp:cNvSpPr/>
      </dsp:nvSpPr>
      <dsp:spPr>
        <a:xfrm>
          <a:off x="0" y="0"/>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E530010-9543-4224-9CA5-3966A34EB5A4}">
      <dsp:nvSpPr>
        <dsp:cNvPr id="0" name=""/>
        <dsp:cNvSpPr/>
      </dsp:nvSpPr>
      <dsp:spPr>
        <a:xfrm>
          <a:off x="0" y="0"/>
          <a:ext cx="10972800" cy="502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a:t>Displays on form </a:t>
          </a:r>
          <a:r>
            <a:rPr lang="en-US" sz="2600" b="1" kern="1200" baseline="0"/>
            <a:t>refresh</a:t>
          </a:r>
          <a:r>
            <a:rPr lang="en-US" sz="2600" kern="1200" baseline="0"/>
            <a:t> </a:t>
          </a:r>
          <a:endParaRPr lang="en-US" sz="2600" kern="1200"/>
        </a:p>
      </dsp:txBody>
      <dsp:txXfrm>
        <a:off x="0" y="0"/>
        <a:ext cx="10972800" cy="502920"/>
      </dsp:txXfrm>
    </dsp:sp>
    <dsp:sp modelId="{EE4EDE4D-DB31-4357-88DB-067F904C29DC}">
      <dsp:nvSpPr>
        <dsp:cNvPr id="0" name=""/>
        <dsp:cNvSpPr/>
      </dsp:nvSpPr>
      <dsp:spPr>
        <a:xfrm>
          <a:off x="0" y="502920"/>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314A57-17EC-43A5-9FFE-294343B47253}">
      <dsp:nvSpPr>
        <dsp:cNvPr id="0" name=""/>
        <dsp:cNvSpPr/>
      </dsp:nvSpPr>
      <dsp:spPr>
        <a:xfrm>
          <a:off x="0" y="502920"/>
          <a:ext cx="10972800" cy="502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baseline="0"/>
            <a:t>Form </a:t>
          </a:r>
          <a:r>
            <a:rPr lang="en-US" sz="2600" b="1" kern="1200" baseline="0"/>
            <a:t>not</a:t>
          </a:r>
          <a:r>
            <a:rPr lang="en-US" sz="2600" kern="1200" baseline="0"/>
            <a:t> refreshed </a:t>
          </a:r>
          <a:r>
            <a:rPr lang="en-US" sz="2600" b="1" kern="1200" baseline="0"/>
            <a:t>automatically</a:t>
          </a:r>
          <a:r>
            <a:rPr lang="en-US" sz="2600" kern="1200" baseline="0"/>
            <a:t> with all datatypes</a:t>
          </a:r>
          <a:endParaRPr lang="en-US" sz="2600" kern="1200"/>
        </a:p>
      </dsp:txBody>
      <dsp:txXfrm>
        <a:off x="0" y="502920"/>
        <a:ext cx="10972800" cy="502920"/>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E6B4CF-40F2-47F2-8147-9CA20E44EE0A}">
      <dsp:nvSpPr>
        <dsp:cNvPr id="0" name=""/>
        <dsp:cNvSpPr/>
      </dsp:nvSpPr>
      <dsp:spPr>
        <a:xfrm>
          <a:off x="0" y="103769"/>
          <a:ext cx="10972800"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PowerShell code and GUI form refresh share the </a:t>
          </a:r>
          <a:r>
            <a:rPr lang="en-US" sz="2400" b="1" kern="1200"/>
            <a:t>same thread</a:t>
          </a:r>
        </a:p>
      </dsp:txBody>
      <dsp:txXfrm>
        <a:off x="59399" y="163168"/>
        <a:ext cx="10854002" cy="1098002"/>
      </dsp:txXfrm>
    </dsp:sp>
    <dsp:sp modelId="{96B24E08-D494-443B-BE38-F420D57B2281}">
      <dsp:nvSpPr>
        <dsp:cNvPr id="0" name=""/>
        <dsp:cNvSpPr/>
      </dsp:nvSpPr>
      <dsp:spPr>
        <a:xfrm>
          <a:off x="0" y="1507770"/>
          <a:ext cx="10972800"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While PowerShell code is executing, the form will </a:t>
          </a:r>
          <a:r>
            <a:rPr lang="en-US" sz="2400" b="1" kern="1200"/>
            <a:t>not respond</a:t>
          </a:r>
        </a:p>
      </dsp:txBody>
      <dsp:txXfrm>
        <a:off x="59399" y="1567169"/>
        <a:ext cx="10854002" cy="1098002"/>
      </dsp:txXfrm>
    </dsp:sp>
    <dsp:sp modelId="{7328EA60-4386-4DB2-869B-5CD19979E7DF}">
      <dsp:nvSpPr>
        <dsp:cNvPr id="0" name=""/>
        <dsp:cNvSpPr/>
      </dsp:nvSpPr>
      <dsp:spPr>
        <a:xfrm>
          <a:off x="0" y="2911770"/>
          <a:ext cx="10972800"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Several techniques exist to make this code </a:t>
          </a:r>
          <a:r>
            <a:rPr lang="en-US" sz="2400" b="1" kern="1200"/>
            <a:t>asynchronous, </a:t>
          </a:r>
          <a:r>
            <a:rPr lang="en-US" sz="2400" kern="1200"/>
            <a:t>but they all have </a:t>
          </a:r>
          <a:r>
            <a:rPr lang="en-US" sz="2400" b="1" kern="1200"/>
            <a:t>challenges</a:t>
          </a:r>
          <a:r>
            <a:rPr lang="en-US" sz="2400" kern="1200"/>
            <a:t>:</a:t>
          </a:r>
          <a:endParaRPr lang="en-US" sz="2400" b="1" kern="1200"/>
        </a:p>
      </dsp:txBody>
      <dsp:txXfrm>
        <a:off x="59399" y="2971169"/>
        <a:ext cx="10854002" cy="1098002"/>
      </dsp:txXfrm>
    </dsp:sp>
    <dsp:sp modelId="{1B0EAEEB-BACA-4116-965C-561BCBE885C3}">
      <dsp:nvSpPr>
        <dsp:cNvPr id="0" name=""/>
        <dsp:cNvSpPr/>
      </dsp:nvSpPr>
      <dsp:spPr>
        <a:xfrm>
          <a:off x="0" y="4128570"/>
          <a:ext cx="10972800" cy="1345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err="1"/>
            <a:t>Runspaces</a:t>
          </a:r>
          <a:endParaRPr lang="en-US" sz="2400" kern="1200"/>
        </a:p>
        <a:p>
          <a:pPr marL="228600" lvl="1" indent="-228600" algn="l" defTabSz="1066800">
            <a:lnSpc>
              <a:spcPct val="90000"/>
            </a:lnSpc>
            <a:spcBef>
              <a:spcPct val="0"/>
            </a:spcBef>
            <a:spcAft>
              <a:spcPct val="20000"/>
            </a:spcAft>
            <a:buChar char="•"/>
          </a:pPr>
          <a:r>
            <a:rPr lang="en-US" sz="2400" kern="1200"/>
            <a:t>Events</a:t>
          </a:r>
        </a:p>
        <a:p>
          <a:pPr marL="228600" lvl="1" indent="-228600" algn="l" defTabSz="1066800">
            <a:lnSpc>
              <a:spcPct val="90000"/>
            </a:lnSpc>
            <a:spcBef>
              <a:spcPct val="0"/>
            </a:spcBef>
            <a:spcAft>
              <a:spcPct val="20000"/>
            </a:spcAft>
            <a:buChar char="•"/>
          </a:pPr>
          <a:r>
            <a:rPr lang="en-US" sz="2400" kern="1200"/>
            <a:t>Timers</a:t>
          </a:r>
        </a:p>
      </dsp:txBody>
      <dsp:txXfrm>
        <a:off x="0" y="4128570"/>
        <a:ext cx="10972800" cy="13455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330A22-8275-4D8D-A5D9-D4AECEA02B3D}">
      <dsp:nvSpPr>
        <dsp:cNvPr id="0" name=""/>
        <dsp:cNvSpPr/>
      </dsp:nvSpPr>
      <dsp:spPr>
        <a:xfrm>
          <a:off x="0" y="865727"/>
          <a:ext cx="5529406"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Turn an existing tool into something more user friendly</a:t>
          </a:r>
        </a:p>
      </dsp:txBody>
      <dsp:txXfrm>
        <a:off x="59399" y="925126"/>
        <a:ext cx="5410608" cy="1098002"/>
      </dsp:txXfrm>
    </dsp:sp>
    <dsp:sp modelId="{968DD822-1F7F-41A9-A8B3-D1AF2B1C7090}">
      <dsp:nvSpPr>
        <dsp:cNvPr id="0" name=""/>
        <dsp:cNvSpPr/>
      </dsp:nvSpPr>
      <dsp:spPr>
        <a:xfrm>
          <a:off x="0" y="2269727"/>
          <a:ext cx="5529406"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Standard GUI controls can be used to gather input</a:t>
          </a:r>
        </a:p>
      </dsp:txBody>
      <dsp:txXfrm>
        <a:off x="59399" y="2329126"/>
        <a:ext cx="5410608" cy="1098002"/>
      </dsp:txXfrm>
    </dsp:sp>
    <dsp:sp modelId="{5433A0D4-E8AC-4EA5-B954-5833F52DD8B2}">
      <dsp:nvSpPr>
        <dsp:cNvPr id="0" name=""/>
        <dsp:cNvSpPr/>
      </dsp:nvSpPr>
      <dsp:spPr>
        <a:xfrm>
          <a:off x="0" y="3673727"/>
          <a:ext cx="5529406"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WPF GUIs can adapt to screen resolutions and touch screens</a:t>
          </a:r>
        </a:p>
      </dsp:txBody>
      <dsp:txXfrm>
        <a:off x="59399" y="3733126"/>
        <a:ext cx="5410608" cy="1098002"/>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C0EF46-85F4-48D0-9A34-3099C7F4CF4B}">
      <dsp:nvSpPr>
        <dsp:cNvPr id="0" name=""/>
        <dsp:cNvSpPr/>
      </dsp:nvSpPr>
      <dsp:spPr>
        <a:xfrm>
          <a:off x="0" y="503099"/>
          <a:ext cx="10972800" cy="11970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1611" tIns="416560" rIns="851611"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a:t>Execute code blocks in a separate </a:t>
          </a:r>
          <a:r>
            <a:rPr lang="en-US" sz="2000" kern="1200" err="1"/>
            <a:t>runspace</a:t>
          </a:r>
          <a:r>
            <a:rPr lang="en-US" sz="2000" kern="1200"/>
            <a:t> where the </a:t>
          </a:r>
          <a:r>
            <a:rPr lang="en-US" sz="2000" b="1" kern="1200"/>
            <a:t>output</a:t>
          </a:r>
          <a:r>
            <a:rPr lang="en-US" sz="2000" kern="1200"/>
            <a:t> will be </a:t>
          </a:r>
          <a:r>
            <a:rPr lang="en-US" sz="2000" b="1" kern="1200"/>
            <a:t>outside</a:t>
          </a:r>
          <a:r>
            <a:rPr lang="en-US" sz="2000" kern="1200"/>
            <a:t> of the GUI</a:t>
          </a:r>
        </a:p>
      </dsp:txBody>
      <dsp:txXfrm>
        <a:off x="0" y="503099"/>
        <a:ext cx="10972800" cy="1197000"/>
      </dsp:txXfrm>
    </dsp:sp>
    <dsp:sp modelId="{8FA0024D-A284-40A6-A304-2D981717B5B7}">
      <dsp:nvSpPr>
        <dsp:cNvPr id="0" name=""/>
        <dsp:cNvSpPr/>
      </dsp:nvSpPr>
      <dsp:spPr>
        <a:xfrm>
          <a:off x="548640" y="207899"/>
          <a:ext cx="7680960" cy="5904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0322" tIns="0" rIns="290322" bIns="0" numCol="1" spcCol="1270" anchor="ctr" anchorCtr="0">
          <a:noAutofit/>
        </a:bodyPr>
        <a:lstStyle/>
        <a:p>
          <a:pPr marL="0" lvl="0" indent="0" algn="l" defTabSz="889000">
            <a:lnSpc>
              <a:spcPct val="90000"/>
            </a:lnSpc>
            <a:spcBef>
              <a:spcPct val="0"/>
            </a:spcBef>
            <a:spcAft>
              <a:spcPct val="35000"/>
            </a:spcAft>
            <a:buNone/>
          </a:pPr>
          <a:r>
            <a:rPr lang="en-US" sz="2000" b="1" kern="1200"/>
            <a:t>Easiest solution</a:t>
          </a:r>
        </a:p>
      </dsp:txBody>
      <dsp:txXfrm>
        <a:off x="577461" y="236720"/>
        <a:ext cx="7623318" cy="532758"/>
      </dsp:txXfrm>
    </dsp:sp>
    <dsp:sp modelId="{02BA8D73-32B3-4E0D-83F3-2E58467767E1}">
      <dsp:nvSpPr>
        <dsp:cNvPr id="0" name=""/>
        <dsp:cNvSpPr/>
      </dsp:nvSpPr>
      <dsp:spPr>
        <a:xfrm>
          <a:off x="0" y="2103300"/>
          <a:ext cx="10972800" cy="1197000"/>
        </a:xfrm>
        <a:prstGeom prst="rect">
          <a:avLst/>
        </a:prstGeom>
        <a:solidFill>
          <a:schemeClr val="lt1">
            <a:alpha val="90000"/>
            <a:hueOff val="0"/>
            <a:satOff val="0"/>
            <a:lumOff val="0"/>
            <a:alphaOff val="0"/>
          </a:schemeClr>
        </a:solidFill>
        <a:ln w="12700" cap="flat" cmpd="sng" algn="ctr">
          <a:solidFill>
            <a:schemeClr val="accent2">
              <a:hueOff val="-6031536"/>
              <a:satOff val="27236"/>
              <a:lumOff val="85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1611" tIns="416560" rIns="851611" bIns="142240" numCol="1" spcCol="1270" anchor="t" anchorCtr="0">
          <a:noAutofit/>
        </a:bodyPr>
        <a:lstStyle/>
        <a:p>
          <a:pPr marL="228600" lvl="1" indent="-228600" algn="l" defTabSz="889000">
            <a:lnSpc>
              <a:spcPct val="90000"/>
            </a:lnSpc>
            <a:spcBef>
              <a:spcPct val="0"/>
            </a:spcBef>
            <a:spcAft>
              <a:spcPct val="15000"/>
            </a:spcAft>
            <a:buChar char="•"/>
          </a:pPr>
          <a:r>
            <a:rPr lang="en-US" sz="2000" b="1" kern="1200" err="1"/>
            <a:t>EndInvoke</a:t>
          </a:r>
          <a:r>
            <a:rPr lang="en-US" sz="2000" b="1" kern="1200"/>
            <a:t>() </a:t>
          </a:r>
          <a:r>
            <a:rPr lang="en-US" sz="2000" kern="1200"/>
            <a:t>will </a:t>
          </a:r>
          <a:r>
            <a:rPr lang="en-US" sz="2000" b="1" kern="1200"/>
            <a:t>lock up </a:t>
          </a:r>
          <a:r>
            <a:rPr lang="en-US" sz="2000" kern="1200"/>
            <a:t>the GUI, so waiting for the </a:t>
          </a:r>
          <a:r>
            <a:rPr lang="en-US" sz="2000" kern="1200" err="1"/>
            <a:t>runspace</a:t>
          </a:r>
          <a:r>
            <a:rPr lang="en-US" sz="2000" kern="1200"/>
            <a:t> the usual way is not a solution</a:t>
          </a:r>
        </a:p>
      </dsp:txBody>
      <dsp:txXfrm>
        <a:off x="0" y="2103300"/>
        <a:ext cx="10972800" cy="1197000"/>
      </dsp:txXfrm>
    </dsp:sp>
    <dsp:sp modelId="{1C31A1D8-57F9-42AF-B278-4EA4EF8594EB}">
      <dsp:nvSpPr>
        <dsp:cNvPr id="0" name=""/>
        <dsp:cNvSpPr/>
      </dsp:nvSpPr>
      <dsp:spPr>
        <a:xfrm>
          <a:off x="548640" y="1808100"/>
          <a:ext cx="7680960" cy="590400"/>
        </a:xfrm>
        <a:prstGeom prst="roundRect">
          <a:avLst/>
        </a:prstGeom>
        <a:solidFill>
          <a:schemeClr val="accent4">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0322" tIns="0" rIns="290322" bIns="0" numCol="1" spcCol="1270" anchor="ctr" anchorCtr="0">
          <a:noAutofit/>
        </a:bodyPr>
        <a:lstStyle/>
        <a:p>
          <a:pPr marL="0" lvl="0" indent="0" algn="l" defTabSz="889000">
            <a:lnSpc>
              <a:spcPct val="90000"/>
            </a:lnSpc>
            <a:spcBef>
              <a:spcPct val="0"/>
            </a:spcBef>
            <a:spcAft>
              <a:spcPct val="35000"/>
            </a:spcAft>
            <a:buNone/>
          </a:pPr>
          <a:r>
            <a:rPr lang="en-US" sz="2000" b="1" kern="1200"/>
            <a:t>Common Challenges</a:t>
          </a:r>
          <a:endParaRPr lang="en-US" sz="2000" kern="1200"/>
        </a:p>
      </dsp:txBody>
      <dsp:txXfrm>
        <a:off x="577461" y="1836921"/>
        <a:ext cx="7623318" cy="532758"/>
      </dsp:txXfrm>
    </dsp:sp>
    <dsp:sp modelId="{DD1BFB31-E6C6-489F-B01F-1E5CD252B672}">
      <dsp:nvSpPr>
        <dsp:cNvPr id="0" name=""/>
        <dsp:cNvSpPr/>
      </dsp:nvSpPr>
      <dsp:spPr>
        <a:xfrm>
          <a:off x="0" y="3703500"/>
          <a:ext cx="10972800" cy="1575000"/>
        </a:xfrm>
        <a:prstGeom prst="rect">
          <a:avLst/>
        </a:prstGeom>
        <a:solidFill>
          <a:schemeClr val="lt1">
            <a:alpha val="90000"/>
            <a:hueOff val="0"/>
            <a:satOff val="0"/>
            <a:lumOff val="0"/>
            <a:alphaOff val="0"/>
          </a:schemeClr>
        </a:solidFill>
        <a:ln w="12700" cap="flat" cmpd="sng" algn="ctr">
          <a:solidFill>
            <a:schemeClr val="accent2">
              <a:hueOff val="-12063073"/>
              <a:satOff val="54471"/>
              <a:lumOff val="1705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1611" tIns="416560" rIns="851611"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a:t>Leverage a combination of </a:t>
          </a:r>
          <a:r>
            <a:rPr lang="en-US" sz="2000" b="1" i="1" kern="1200"/>
            <a:t>synchronized</a:t>
          </a:r>
          <a:r>
            <a:rPr lang="en-US" sz="2000" b="1" kern="1200"/>
            <a:t> hash tables</a:t>
          </a:r>
          <a:r>
            <a:rPr lang="en-US" sz="2000" kern="1200"/>
            <a:t>, </a:t>
          </a:r>
          <a:r>
            <a:rPr lang="en-US" sz="2000" b="1" kern="1200"/>
            <a:t>dispatchers</a:t>
          </a:r>
          <a:r>
            <a:rPr lang="en-US" sz="2000" kern="1200"/>
            <a:t>, and </a:t>
          </a:r>
          <a:r>
            <a:rPr lang="en-US" sz="2000" b="1" kern="1200"/>
            <a:t>events</a:t>
          </a:r>
          <a:r>
            <a:rPr lang="en-US" sz="2000" kern="1200"/>
            <a:t> </a:t>
          </a:r>
        </a:p>
        <a:p>
          <a:pPr marL="228600" lvl="1" indent="-228600" algn="l" defTabSz="889000">
            <a:lnSpc>
              <a:spcPct val="90000"/>
            </a:lnSpc>
            <a:spcBef>
              <a:spcPct val="0"/>
            </a:spcBef>
            <a:spcAft>
              <a:spcPct val="15000"/>
            </a:spcAft>
            <a:buChar char="•"/>
          </a:pPr>
          <a:r>
            <a:rPr lang="en-US" sz="2000" b="1" kern="1200"/>
            <a:t>Poor performance </a:t>
          </a:r>
          <a:r>
            <a:rPr lang="en-US" sz="2000" kern="1200"/>
            <a:t>likely</a:t>
          </a:r>
        </a:p>
        <a:p>
          <a:pPr marL="228600" lvl="1" indent="-228600" algn="l" defTabSz="889000">
            <a:lnSpc>
              <a:spcPct val="90000"/>
            </a:lnSpc>
            <a:spcBef>
              <a:spcPct val="0"/>
            </a:spcBef>
            <a:spcAft>
              <a:spcPct val="15000"/>
            </a:spcAft>
            <a:buChar char="•"/>
          </a:pPr>
          <a:r>
            <a:rPr lang="en-US" sz="2000" b="1" kern="1200"/>
            <a:t>Not covered </a:t>
          </a:r>
          <a:r>
            <a:rPr lang="en-US" sz="2000" kern="1200"/>
            <a:t>in this workshop</a:t>
          </a:r>
        </a:p>
      </dsp:txBody>
      <dsp:txXfrm>
        <a:off x="0" y="3703500"/>
        <a:ext cx="10972800" cy="1575000"/>
      </dsp:txXfrm>
    </dsp:sp>
    <dsp:sp modelId="{094F19F5-60E9-44F8-9948-910C0AE80018}">
      <dsp:nvSpPr>
        <dsp:cNvPr id="0" name=""/>
        <dsp:cNvSpPr/>
      </dsp:nvSpPr>
      <dsp:spPr>
        <a:xfrm>
          <a:off x="548640" y="3408300"/>
          <a:ext cx="7680960" cy="590400"/>
        </a:xfrm>
        <a:prstGeom prst="roundRect">
          <a:avLst/>
        </a:prstGeom>
        <a:solidFill>
          <a:schemeClr val="accent3">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0322" tIns="0" rIns="290322" bIns="0" numCol="1" spcCol="1270" anchor="ctr" anchorCtr="0">
          <a:noAutofit/>
        </a:bodyPr>
        <a:lstStyle/>
        <a:p>
          <a:pPr marL="0" lvl="0" indent="0" algn="l" defTabSz="889000">
            <a:lnSpc>
              <a:spcPct val="90000"/>
            </a:lnSpc>
            <a:spcBef>
              <a:spcPct val="0"/>
            </a:spcBef>
            <a:spcAft>
              <a:spcPct val="35000"/>
            </a:spcAft>
            <a:buNone/>
          </a:pPr>
          <a:r>
            <a:rPr lang="en-US" sz="2000" b="1" kern="1200"/>
            <a:t>Updating</a:t>
          </a:r>
          <a:r>
            <a:rPr lang="en-US" sz="2000" kern="1200"/>
            <a:t> the GUI:</a:t>
          </a:r>
        </a:p>
      </dsp:txBody>
      <dsp:txXfrm>
        <a:off x="577461" y="3437121"/>
        <a:ext cx="7623318" cy="5327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34B6D7-A903-400F-8178-B43D2CFF5A22}">
      <dsp:nvSpPr>
        <dsp:cNvPr id="0" name=""/>
        <dsp:cNvSpPr/>
      </dsp:nvSpPr>
      <dsp:spPr>
        <a:xfrm>
          <a:off x="271870" y="1201128"/>
          <a:ext cx="2859341" cy="1970086"/>
        </a:xfrm>
        <a:prstGeom prst="roundRect">
          <a:avLst/>
        </a:prstGeom>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15550" r="1555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90F5B3-856E-4C13-B862-A1D2DC32E6BC}">
      <dsp:nvSpPr>
        <dsp:cNvPr id="0" name=""/>
        <dsp:cNvSpPr/>
      </dsp:nvSpPr>
      <dsp:spPr>
        <a:xfrm>
          <a:off x="2142" y="3206879"/>
          <a:ext cx="3398798" cy="12609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0" numCol="1" spcCol="1270" anchor="t" anchorCtr="0">
          <a:noAutofit/>
        </a:bodyPr>
        <a:lstStyle/>
        <a:p>
          <a:pPr marL="0" lvl="0" indent="0" algn="ctr" defTabSz="1066800">
            <a:lnSpc>
              <a:spcPct val="90000"/>
            </a:lnSpc>
            <a:spcBef>
              <a:spcPct val="0"/>
            </a:spcBef>
            <a:spcAft>
              <a:spcPct val="35000"/>
            </a:spcAft>
            <a:buNone/>
          </a:pPr>
          <a:r>
            <a:rPr lang="en-US" sz="2400" b="1" kern="1200"/>
            <a:t>GUI editor </a:t>
          </a:r>
          <a:r>
            <a:rPr lang="en-US" sz="2400" kern="1200"/>
            <a:t>for XAML code in real time</a:t>
          </a:r>
        </a:p>
      </dsp:txBody>
      <dsp:txXfrm>
        <a:off x="2142" y="3206879"/>
        <a:ext cx="3398798" cy="1260954"/>
      </dsp:txXfrm>
    </dsp:sp>
    <dsp:sp modelId="{8E481453-4F6D-4D17-A4E7-3BB0549944A9}">
      <dsp:nvSpPr>
        <dsp:cNvPr id="0" name=""/>
        <dsp:cNvSpPr/>
      </dsp:nvSpPr>
      <dsp:spPr>
        <a:xfrm>
          <a:off x="4010692" y="1201128"/>
          <a:ext cx="2859341" cy="1970086"/>
        </a:xfrm>
        <a:prstGeom prst="roundRect">
          <a:avLst/>
        </a:prstGeom>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15550" r="1555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6200B5-D5FF-4407-8A28-59D9CD249A53}">
      <dsp:nvSpPr>
        <dsp:cNvPr id="0" name=""/>
        <dsp:cNvSpPr/>
      </dsp:nvSpPr>
      <dsp:spPr>
        <a:xfrm>
          <a:off x="3740963" y="3206879"/>
          <a:ext cx="3398798" cy="12609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0" numCol="1" spcCol="1270" anchor="t" anchorCtr="0">
          <a:noAutofit/>
        </a:bodyPr>
        <a:lstStyle/>
        <a:p>
          <a:pPr marL="0" lvl="0" indent="0" algn="ctr" defTabSz="1066800">
            <a:lnSpc>
              <a:spcPct val="90000"/>
            </a:lnSpc>
            <a:spcBef>
              <a:spcPct val="0"/>
            </a:spcBef>
            <a:spcAft>
              <a:spcPct val="35000"/>
            </a:spcAft>
            <a:buNone/>
          </a:pPr>
          <a:r>
            <a:rPr lang="en-US" sz="2400" b="1" kern="1200"/>
            <a:t>Drag and drop </a:t>
          </a:r>
          <a:r>
            <a:rPr lang="en-US" sz="2400" kern="1200"/>
            <a:t>functionality for adding new controls</a:t>
          </a:r>
        </a:p>
      </dsp:txBody>
      <dsp:txXfrm>
        <a:off x="3740963" y="3206879"/>
        <a:ext cx="3398798" cy="1260954"/>
      </dsp:txXfrm>
    </dsp:sp>
    <dsp:sp modelId="{87A42E0C-7796-41CE-95AB-C685C097D68D}">
      <dsp:nvSpPr>
        <dsp:cNvPr id="0" name=""/>
        <dsp:cNvSpPr/>
      </dsp:nvSpPr>
      <dsp:spPr>
        <a:xfrm>
          <a:off x="7749513" y="1201128"/>
          <a:ext cx="2859341" cy="1970086"/>
        </a:xfrm>
        <a:prstGeom prst="roundRect">
          <a:avLst/>
        </a:prstGeom>
        <a:blipFill dpi="0" rotWithShape="1">
          <a:blip xmlns:r="http://schemas.openxmlformats.org/officeDocument/2006/relationships" r:embed="rId5">
            <a:extLst>
              <a:ext uri="{96DAC541-7B7A-43D3-8B79-37D633B846F1}">
                <asvg:svgBlip xmlns:asvg="http://schemas.microsoft.com/office/drawing/2016/SVG/main" r:embed="rId6"/>
              </a:ext>
            </a:extLst>
          </a:blip>
          <a:srcRect/>
          <a:stretch>
            <a:fillRect l="15550" r="1555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11F9EEF-440C-4784-8CDD-BD3528EFF8B9}">
      <dsp:nvSpPr>
        <dsp:cNvPr id="0" name=""/>
        <dsp:cNvSpPr/>
      </dsp:nvSpPr>
      <dsp:spPr>
        <a:xfrm>
          <a:off x="7479785" y="3206879"/>
          <a:ext cx="3398798" cy="12609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0" numCol="1" spcCol="1270" anchor="t" anchorCtr="0">
          <a:noAutofit/>
        </a:bodyPr>
        <a:lstStyle/>
        <a:p>
          <a:pPr marL="0" lvl="0" indent="0" algn="ctr" defTabSz="1066800">
            <a:lnSpc>
              <a:spcPct val="90000"/>
            </a:lnSpc>
            <a:spcBef>
              <a:spcPct val="0"/>
            </a:spcBef>
            <a:spcAft>
              <a:spcPct val="35000"/>
            </a:spcAft>
            <a:buNone/>
          </a:pPr>
          <a:r>
            <a:rPr lang="en-US" sz="2400" kern="1200"/>
            <a:t>Install </a:t>
          </a:r>
          <a:r>
            <a:rPr lang="en-US" sz="2400" b="1" kern="1200"/>
            <a:t>.NET desktop development </a:t>
          </a:r>
          <a:r>
            <a:rPr lang="en-US" sz="2400" kern="1200"/>
            <a:t>feature for WPF XAML</a:t>
          </a:r>
        </a:p>
      </dsp:txBody>
      <dsp:txXfrm>
        <a:off x="7479785" y="3206879"/>
        <a:ext cx="3398798" cy="126095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8CD6E7-8F8B-42C0-AEA3-9D3E76DA9D52}">
      <dsp:nvSpPr>
        <dsp:cNvPr id="0" name=""/>
        <dsp:cNvSpPr/>
      </dsp:nvSpPr>
      <dsp:spPr>
        <a:xfrm>
          <a:off x="0" y="660176"/>
          <a:ext cx="11081438" cy="1169437"/>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0043" tIns="562356" rIns="860043" bIns="192024" numCol="1" spcCol="1270" anchor="t" anchorCtr="0">
          <a:noAutofit/>
        </a:bodyPr>
        <a:lstStyle/>
        <a:p>
          <a:pPr marL="228600" lvl="1" indent="-228600" algn="l" defTabSz="1200150">
            <a:lnSpc>
              <a:spcPct val="90000"/>
            </a:lnSpc>
            <a:spcBef>
              <a:spcPct val="0"/>
            </a:spcBef>
            <a:spcAft>
              <a:spcPct val="15000"/>
            </a:spcAft>
            <a:buChar char="•"/>
          </a:pPr>
          <a:r>
            <a:rPr lang="en-US" sz="2700" kern="1200"/>
            <a:t>Free for </a:t>
          </a:r>
          <a:r>
            <a:rPr lang="en-US" sz="2700" b="1" kern="1200"/>
            <a:t>non-enterprise</a:t>
          </a:r>
          <a:r>
            <a:rPr lang="en-US" sz="2700" kern="1200"/>
            <a:t>, education, or open-source projects</a:t>
          </a:r>
        </a:p>
      </dsp:txBody>
      <dsp:txXfrm>
        <a:off x="0" y="660176"/>
        <a:ext cx="11081438" cy="1169437"/>
      </dsp:txXfrm>
    </dsp:sp>
    <dsp:sp modelId="{A25F29A8-2F34-49B3-BEB6-C03709FBE3C6}">
      <dsp:nvSpPr>
        <dsp:cNvPr id="0" name=""/>
        <dsp:cNvSpPr/>
      </dsp:nvSpPr>
      <dsp:spPr>
        <a:xfrm>
          <a:off x="554071" y="261656"/>
          <a:ext cx="7757006" cy="7970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96" tIns="0" rIns="293196" bIns="0" numCol="1" spcCol="1270" anchor="ctr" anchorCtr="0">
          <a:noAutofit/>
        </a:bodyPr>
        <a:lstStyle/>
        <a:p>
          <a:pPr marL="0" lvl="0" indent="0" algn="l" defTabSz="1200150">
            <a:lnSpc>
              <a:spcPct val="90000"/>
            </a:lnSpc>
            <a:spcBef>
              <a:spcPct val="0"/>
            </a:spcBef>
            <a:spcAft>
              <a:spcPct val="35000"/>
            </a:spcAft>
            <a:buNone/>
          </a:pPr>
          <a:r>
            <a:rPr lang="en-US" sz="2700" kern="1200"/>
            <a:t>Visual Studio Community</a:t>
          </a:r>
        </a:p>
      </dsp:txBody>
      <dsp:txXfrm>
        <a:off x="592979" y="300564"/>
        <a:ext cx="7679190" cy="719224"/>
      </dsp:txXfrm>
    </dsp:sp>
    <dsp:sp modelId="{C04D449A-196E-4321-AB9C-C6F408B66AEA}">
      <dsp:nvSpPr>
        <dsp:cNvPr id="0" name=""/>
        <dsp:cNvSpPr/>
      </dsp:nvSpPr>
      <dsp:spPr>
        <a:xfrm>
          <a:off x="0" y="2373933"/>
          <a:ext cx="11081438" cy="1169437"/>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0043" tIns="562356" rIns="860043" bIns="192024" numCol="1" spcCol="1270" anchor="t" anchorCtr="0">
          <a:noAutofit/>
        </a:bodyPr>
        <a:lstStyle/>
        <a:p>
          <a:pPr marL="228600" lvl="1" indent="-228600" algn="l" defTabSz="1200150">
            <a:lnSpc>
              <a:spcPct val="90000"/>
            </a:lnSpc>
            <a:spcBef>
              <a:spcPct val="0"/>
            </a:spcBef>
            <a:spcAft>
              <a:spcPct val="15000"/>
            </a:spcAft>
            <a:buChar char="•"/>
          </a:pPr>
          <a:r>
            <a:rPr lang="en-US" sz="2700" kern="1200"/>
            <a:t>Built for </a:t>
          </a:r>
          <a:r>
            <a:rPr lang="en-US" sz="2700" b="1" kern="1200"/>
            <a:t>Enterprise </a:t>
          </a:r>
          <a:r>
            <a:rPr lang="en-US" sz="2700" b="0" kern="1200"/>
            <a:t>use</a:t>
          </a:r>
          <a:endParaRPr lang="en-US" sz="2700" b="1" kern="1200"/>
        </a:p>
      </dsp:txBody>
      <dsp:txXfrm>
        <a:off x="0" y="2373933"/>
        <a:ext cx="11081438" cy="1169437"/>
      </dsp:txXfrm>
    </dsp:sp>
    <dsp:sp modelId="{AD9BE762-EFA1-4048-84DD-5F8D11CFC3BD}">
      <dsp:nvSpPr>
        <dsp:cNvPr id="0" name=""/>
        <dsp:cNvSpPr/>
      </dsp:nvSpPr>
      <dsp:spPr>
        <a:xfrm>
          <a:off x="554071" y="1975413"/>
          <a:ext cx="7757006" cy="7970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96" tIns="0" rIns="293196" bIns="0" numCol="1" spcCol="1270" anchor="ctr" anchorCtr="0">
          <a:noAutofit/>
        </a:bodyPr>
        <a:lstStyle/>
        <a:p>
          <a:pPr marL="0" lvl="0" indent="0" algn="l" defTabSz="1200150">
            <a:lnSpc>
              <a:spcPct val="90000"/>
            </a:lnSpc>
            <a:spcBef>
              <a:spcPct val="0"/>
            </a:spcBef>
            <a:spcAft>
              <a:spcPct val="35000"/>
            </a:spcAft>
            <a:buNone/>
          </a:pPr>
          <a:r>
            <a:rPr lang="en-US" sz="2700" kern="1200"/>
            <a:t>Visual Studio Professional</a:t>
          </a:r>
        </a:p>
      </dsp:txBody>
      <dsp:txXfrm>
        <a:off x="592979" y="2014321"/>
        <a:ext cx="7679190" cy="719224"/>
      </dsp:txXfrm>
    </dsp:sp>
    <dsp:sp modelId="{41E608C7-D386-4F4D-8A6A-9F4D52689235}">
      <dsp:nvSpPr>
        <dsp:cNvPr id="0" name=""/>
        <dsp:cNvSpPr/>
      </dsp:nvSpPr>
      <dsp:spPr>
        <a:xfrm>
          <a:off x="0" y="4087691"/>
          <a:ext cx="11081438" cy="1169437"/>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0043" tIns="562356" rIns="860043" bIns="192024" numCol="1" spcCol="1270" anchor="t" anchorCtr="0">
          <a:noAutofit/>
        </a:bodyPr>
        <a:lstStyle/>
        <a:p>
          <a:pPr marL="228600" lvl="1" indent="-228600" algn="l" defTabSz="1200150">
            <a:lnSpc>
              <a:spcPct val="90000"/>
            </a:lnSpc>
            <a:spcBef>
              <a:spcPct val="0"/>
            </a:spcBef>
            <a:spcAft>
              <a:spcPct val="15000"/>
            </a:spcAft>
            <a:buChar char="•"/>
          </a:pPr>
          <a:r>
            <a:rPr lang="en-US" sz="2700" kern="1200"/>
            <a:t>Extra features </a:t>
          </a:r>
          <a:r>
            <a:rPr lang="en-US" sz="2700" b="1" kern="1200"/>
            <a:t>unnecessary</a:t>
          </a:r>
          <a:r>
            <a:rPr lang="en-US" sz="2700" kern="1200"/>
            <a:t> for WPF GUIs</a:t>
          </a:r>
        </a:p>
      </dsp:txBody>
      <dsp:txXfrm>
        <a:off x="0" y="4087691"/>
        <a:ext cx="11081438" cy="1169437"/>
      </dsp:txXfrm>
    </dsp:sp>
    <dsp:sp modelId="{549BE411-07FC-4A2A-8929-411D834CC192}">
      <dsp:nvSpPr>
        <dsp:cNvPr id="0" name=""/>
        <dsp:cNvSpPr/>
      </dsp:nvSpPr>
      <dsp:spPr>
        <a:xfrm>
          <a:off x="554071" y="3689171"/>
          <a:ext cx="7757006" cy="7970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96" tIns="0" rIns="293196" bIns="0" numCol="1" spcCol="1270" anchor="ctr" anchorCtr="0">
          <a:noAutofit/>
        </a:bodyPr>
        <a:lstStyle/>
        <a:p>
          <a:pPr marL="0" lvl="0" indent="0" algn="l" defTabSz="1200150">
            <a:lnSpc>
              <a:spcPct val="90000"/>
            </a:lnSpc>
            <a:spcBef>
              <a:spcPct val="0"/>
            </a:spcBef>
            <a:spcAft>
              <a:spcPct val="35000"/>
            </a:spcAft>
            <a:buNone/>
          </a:pPr>
          <a:r>
            <a:rPr lang="en-US" sz="2700" kern="1200"/>
            <a:t>Visual Studio Enterprise</a:t>
          </a:r>
        </a:p>
      </dsp:txBody>
      <dsp:txXfrm>
        <a:off x="592979" y="3728079"/>
        <a:ext cx="7679190" cy="71922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7E4B8C-EA49-4019-B45F-CD18F6B4D5CB}">
      <dsp:nvSpPr>
        <dsp:cNvPr id="0" name=""/>
        <dsp:cNvSpPr/>
      </dsp:nvSpPr>
      <dsp:spPr>
        <a:xfrm>
          <a:off x="0" y="1656903"/>
          <a:ext cx="5251979" cy="1086296"/>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kern="1200" baseline="0"/>
            <a:t>Select WPF App (Visual C#)</a:t>
          </a:r>
          <a:endParaRPr lang="en-US" sz="2800" kern="1200"/>
        </a:p>
      </dsp:txBody>
      <dsp:txXfrm>
        <a:off x="0" y="1656903"/>
        <a:ext cx="5251979" cy="1086296"/>
      </dsp:txXfrm>
    </dsp:sp>
    <dsp:sp modelId="{915D4467-7AE2-4328-A15C-3FF68B9B8D49}">
      <dsp:nvSpPr>
        <dsp:cNvPr id="0" name=""/>
        <dsp:cNvSpPr/>
      </dsp:nvSpPr>
      <dsp:spPr>
        <a:xfrm rot="10800000">
          <a:off x="0" y="0"/>
          <a:ext cx="5251979" cy="1670723"/>
        </a:xfrm>
        <a:prstGeom prst="upArrowCallou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kern="1200" baseline="0"/>
            <a:t>Create a New Project</a:t>
          </a:r>
          <a:endParaRPr lang="en-US" sz="2800" kern="1200"/>
        </a:p>
      </dsp:txBody>
      <dsp:txXfrm rot="10800000">
        <a:off x="0" y="0"/>
        <a:ext cx="5251979" cy="108558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6DB328-6CD0-44D9-912F-F591263A88F4}">
      <dsp:nvSpPr>
        <dsp:cNvPr id="0" name=""/>
        <dsp:cNvSpPr/>
      </dsp:nvSpPr>
      <dsp:spPr>
        <a:xfrm>
          <a:off x="0" y="35774"/>
          <a:ext cx="3200400" cy="524160"/>
        </a:xfrm>
        <a:prstGeom prst="roundRect">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a:solidFill>
                <a:schemeClr val="tx1"/>
              </a:solidFill>
            </a:rPr>
            <a:t>Solution Explorer</a:t>
          </a:r>
          <a:endParaRPr lang="en-US" sz="2000" b="1" kern="1200">
            <a:solidFill>
              <a:schemeClr val="tx1"/>
            </a:solidFill>
          </a:endParaRPr>
        </a:p>
      </dsp:txBody>
      <dsp:txXfrm>
        <a:off x="25587" y="61361"/>
        <a:ext cx="3149226" cy="472986"/>
      </dsp:txXfrm>
    </dsp:sp>
    <dsp:sp modelId="{FB478863-F975-4DFF-921B-3E2DB4A4B47E}">
      <dsp:nvSpPr>
        <dsp:cNvPr id="0" name=""/>
        <dsp:cNvSpPr/>
      </dsp:nvSpPr>
      <dsp:spPr>
        <a:xfrm>
          <a:off x="0" y="559934"/>
          <a:ext cx="3200400" cy="7389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1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a:solidFill>
                <a:schemeClr val="tx1"/>
              </a:solidFill>
            </a:rPr>
            <a:t>List of files in project</a:t>
          </a:r>
          <a:endParaRPr lang="en-US" sz="2000" kern="1200">
            <a:solidFill>
              <a:schemeClr val="tx1"/>
            </a:solidFill>
          </a:endParaRPr>
        </a:p>
        <a:p>
          <a:pPr marL="228600" lvl="1" indent="-228600" algn="l" defTabSz="889000">
            <a:lnSpc>
              <a:spcPct val="90000"/>
            </a:lnSpc>
            <a:spcBef>
              <a:spcPct val="0"/>
            </a:spcBef>
            <a:spcAft>
              <a:spcPct val="20000"/>
            </a:spcAft>
            <a:buChar char="•"/>
          </a:pPr>
          <a:r>
            <a:rPr lang="en-US" sz="2000" kern="1200" baseline="0">
              <a:solidFill>
                <a:schemeClr val="tx1"/>
              </a:solidFill>
            </a:rPr>
            <a:t>Use </a:t>
          </a:r>
          <a:r>
            <a:rPr lang="en-US" sz="2000" kern="1200" baseline="0" err="1">
              <a:solidFill>
                <a:schemeClr val="tx1"/>
              </a:solidFill>
            </a:rPr>
            <a:t>MainWindow.XAML</a:t>
          </a:r>
          <a:endParaRPr lang="en-US" sz="2000" kern="1200">
            <a:solidFill>
              <a:schemeClr val="tx1"/>
            </a:solidFill>
          </a:endParaRPr>
        </a:p>
      </dsp:txBody>
      <dsp:txXfrm>
        <a:off x="0" y="559934"/>
        <a:ext cx="3200400" cy="738990"/>
      </dsp:txXfrm>
    </dsp:sp>
    <dsp:sp modelId="{74A8333C-C720-4829-8CD1-70FC468921BD}">
      <dsp:nvSpPr>
        <dsp:cNvPr id="0" name=""/>
        <dsp:cNvSpPr/>
      </dsp:nvSpPr>
      <dsp:spPr>
        <a:xfrm>
          <a:off x="0" y="1298924"/>
          <a:ext cx="3200400" cy="52416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a:solidFill>
                <a:schemeClr val="tx1"/>
              </a:solidFill>
            </a:rPr>
            <a:t>Viewport</a:t>
          </a:r>
          <a:endParaRPr lang="en-US" sz="2000" b="1" kern="1200">
            <a:solidFill>
              <a:schemeClr val="tx1"/>
            </a:solidFill>
          </a:endParaRPr>
        </a:p>
      </dsp:txBody>
      <dsp:txXfrm>
        <a:off x="25587" y="1324511"/>
        <a:ext cx="3149226" cy="472986"/>
      </dsp:txXfrm>
    </dsp:sp>
    <dsp:sp modelId="{DBA4D9F1-2157-47DC-B693-8E7C9B17DBC0}">
      <dsp:nvSpPr>
        <dsp:cNvPr id="0" name=""/>
        <dsp:cNvSpPr/>
      </dsp:nvSpPr>
      <dsp:spPr>
        <a:xfrm>
          <a:off x="0" y="1823084"/>
          <a:ext cx="3200400" cy="1101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1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a:solidFill>
                <a:schemeClr val="tx1"/>
              </a:solidFill>
            </a:rPr>
            <a:t>Code editor</a:t>
          </a:r>
          <a:endParaRPr lang="en-US" sz="2000" kern="1200">
            <a:solidFill>
              <a:schemeClr val="tx1"/>
            </a:solidFill>
          </a:endParaRPr>
        </a:p>
        <a:p>
          <a:pPr marL="228600" lvl="1" indent="-228600" algn="l" defTabSz="889000">
            <a:lnSpc>
              <a:spcPct val="90000"/>
            </a:lnSpc>
            <a:spcBef>
              <a:spcPct val="0"/>
            </a:spcBef>
            <a:spcAft>
              <a:spcPct val="20000"/>
            </a:spcAft>
            <a:buChar char="•"/>
          </a:pPr>
          <a:r>
            <a:rPr lang="en-US" sz="2000" kern="1200" baseline="0">
              <a:solidFill>
                <a:schemeClr val="tx1"/>
              </a:solidFill>
            </a:rPr>
            <a:t>Visual GUI creator</a:t>
          </a:r>
          <a:endParaRPr lang="en-US" sz="2000" kern="1200">
            <a:solidFill>
              <a:schemeClr val="tx1"/>
            </a:solidFill>
          </a:endParaRPr>
        </a:p>
        <a:p>
          <a:pPr marL="228600" lvl="1" indent="-228600" algn="l" defTabSz="889000">
            <a:lnSpc>
              <a:spcPct val="90000"/>
            </a:lnSpc>
            <a:spcBef>
              <a:spcPct val="0"/>
            </a:spcBef>
            <a:spcAft>
              <a:spcPct val="20000"/>
            </a:spcAft>
            <a:buChar char="•"/>
          </a:pPr>
          <a:r>
            <a:rPr lang="en-US" sz="2000" kern="1200" baseline="0">
              <a:solidFill>
                <a:schemeClr val="tx1"/>
              </a:solidFill>
            </a:rPr>
            <a:t>Tabs for open files</a:t>
          </a:r>
          <a:endParaRPr lang="en-US" sz="2000" kern="1200">
            <a:solidFill>
              <a:schemeClr val="tx1"/>
            </a:solidFill>
          </a:endParaRPr>
        </a:p>
      </dsp:txBody>
      <dsp:txXfrm>
        <a:off x="0" y="1823084"/>
        <a:ext cx="3200400" cy="1101240"/>
      </dsp:txXfrm>
    </dsp:sp>
    <dsp:sp modelId="{EE9222F6-1065-4D85-82F2-5C38A7F30C3C}">
      <dsp:nvSpPr>
        <dsp:cNvPr id="0" name=""/>
        <dsp:cNvSpPr/>
      </dsp:nvSpPr>
      <dsp:spPr>
        <a:xfrm>
          <a:off x="0" y="2924325"/>
          <a:ext cx="3200400" cy="52416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a:solidFill>
                <a:schemeClr val="tx1"/>
              </a:solidFill>
            </a:rPr>
            <a:t>Toolbox</a:t>
          </a:r>
          <a:endParaRPr lang="en-US" sz="2000" b="1" kern="1200">
            <a:solidFill>
              <a:schemeClr val="tx1"/>
            </a:solidFill>
          </a:endParaRPr>
        </a:p>
      </dsp:txBody>
      <dsp:txXfrm>
        <a:off x="25587" y="2949912"/>
        <a:ext cx="3149226" cy="472986"/>
      </dsp:txXfrm>
    </dsp:sp>
    <dsp:sp modelId="{00F128D7-F5C8-4A7A-B36A-59BC541A4DC3}">
      <dsp:nvSpPr>
        <dsp:cNvPr id="0" name=""/>
        <dsp:cNvSpPr/>
      </dsp:nvSpPr>
      <dsp:spPr>
        <a:xfrm>
          <a:off x="0" y="3448485"/>
          <a:ext cx="3200400" cy="7389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1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a:solidFill>
                <a:schemeClr val="tx1"/>
              </a:solidFill>
            </a:rPr>
            <a:t>Contains GUI controls</a:t>
          </a:r>
          <a:endParaRPr lang="en-US" sz="2000" kern="1200">
            <a:solidFill>
              <a:schemeClr val="tx1"/>
            </a:solidFill>
          </a:endParaRPr>
        </a:p>
        <a:p>
          <a:pPr marL="228600" lvl="1" indent="-228600" algn="l" defTabSz="889000">
            <a:lnSpc>
              <a:spcPct val="90000"/>
            </a:lnSpc>
            <a:spcBef>
              <a:spcPct val="0"/>
            </a:spcBef>
            <a:spcAft>
              <a:spcPct val="20000"/>
            </a:spcAft>
            <a:buChar char="•"/>
          </a:pPr>
          <a:r>
            <a:rPr lang="en-US" sz="2000" kern="1200" baseline="0">
              <a:solidFill>
                <a:schemeClr val="tx1"/>
              </a:solidFill>
            </a:rPr>
            <a:t>Drag &amp; Drop</a:t>
          </a:r>
          <a:endParaRPr lang="en-US" sz="2000" kern="1200">
            <a:solidFill>
              <a:schemeClr val="tx1"/>
            </a:solidFill>
          </a:endParaRPr>
        </a:p>
      </dsp:txBody>
      <dsp:txXfrm>
        <a:off x="0" y="3448485"/>
        <a:ext cx="3200400" cy="738990"/>
      </dsp:txXfrm>
    </dsp:sp>
    <dsp:sp modelId="{EE735F07-1E3D-41B3-A150-4C2ABA0F53E5}">
      <dsp:nvSpPr>
        <dsp:cNvPr id="0" name=""/>
        <dsp:cNvSpPr/>
      </dsp:nvSpPr>
      <dsp:spPr>
        <a:xfrm>
          <a:off x="0" y="4187475"/>
          <a:ext cx="3200400" cy="52416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a:solidFill>
                <a:schemeClr val="tx1"/>
              </a:solidFill>
            </a:rPr>
            <a:t>Properties</a:t>
          </a:r>
          <a:endParaRPr lang="en-US" sz="2000" b="1" kern="1200">
            <a:solidFill>
              <a:schemeClr val="tx1"/>
            </a:solidFill>
          </a:endParaRPr>
        </a:p>
      </dsp:txBody>
      <dsp:txXfrm>
        <a:off x="25587" y="4213062"/>
        <a:ext cx="3149226" cy="472986"/>
      </dsp:txXfrm>
    </dsp:sp>
    <dsp:sp modelId="{F87DACDB-5CE6-4B01-8BCD-1B6B1E82B892}">
      <dsp:nvSpPr>
        <dsp:cNvPr id="0" name=""/>
        <dsp:cNvSpPr/>
      </dsp:nvSpPr>
      <dsp:spPr>
        <a:xfrm>
          <a:off x="0" y="4711635"/>
          <a:ext cx="3200400" cy="7389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1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a:solidFill>
                <a:schemeClr val="tx1"/>
              </a:solidFill>
            </a:rPr>
            <a:t>Edit GUI controls</a:t>
          </a:r>
          <a:endParaRPr lang="en-US" sz="2000" kern="1200">
            <a:solidFill>
              <a:schemeClr val="tx1"/>
            </a:solidFill>
          </a:endParaRPr>
        </a:p>
        <a:p>
          <a:pPr marL="228600" lvl="1" indent="-228600" algn="l" defTabSz="889000">
            <a:lnSpc>
              <a:spcPct val="90000"/>
            </a:lnSpc>
            <a:spcBef>
              <a:spcPct val="0"/>
            </a:spcBef>
            <a:spcAft>
              <a:spcPct val="20000"/>
            </a:spcAft>
            <a:buChar char="•"/>
          </a:pPr>
          <a:r>
            <a:rPr lang="en-US" sz="2000" kern="1200">
              <a:solidFill>
                <a:schemeClr val="tx1"/>
              </a:solidFill>
            </a:rPr>
            <a:t>Changes XAML code</a:t>
          </a:r>
        </a:p>
      </dsp:txBody>
      <dsp:txXfrm>
        <a:off x="0" y="4711635"/>
        <a:ext cx="3200400" cy="73899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6DB328-6CD0-44D9-912F-F591263A88F4}">
      <dsp:nvSpPr>
        <dsp:cNvPr id="0" name=""/>
        <dsp:cNvSpPr/>
      </dsp:nvSpPr>
      <dsp:spPr>
        <a:xfrm>
          <a:off x="0" y="35774"/>
          <a:ext cx="3200400" cy="524160"/>
        </a:xfrm>
        <a:prstGeom prst="roundRect">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a:solidFill>
                <a:schemeClr val="tx1"/>
              </a:solidFill>
            </a:rPr>
            <a:t>Solution Explorer</a:t>
          </a:r>
          <a:endParaRPr lang="en-US" sz="2000" b="1" kern="1200">
            <a:solidFill>
              <a:schemeClr val="tx1"/>
            </a:solidFill>
          </a:endParaRPr>
        </a:p>
      </dsp:txBody>
      <dsp:txXfrm>
        <a:off x="25587" y="61361"/>
        <a:ext cx="3149226" cy="472986"/>
      </dsp:txXfrm>
    </dsp:sp>
    <dsp:sp modelId="{FB478863-F975-4DFF-921B-3E2DB4A4B47E}">
      <dsp:nvSpPr>
        <dsp:cNvPr id="0" name=""/>
        <dsp:cNvSpPr/>
      </dsp:nvSpPr>
      <dsp:spPr>
        <a:xfrm>
          <a:off x="0" y="559934"/>
          <a:ext cx="3200400" cy="7389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1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a:solidFill>
                <a:schemeClr val="tx1"/>
              </a:solidFill>
            </a:rPr>
            <a:t>List of files in project</a:t>
          </a:r>
          <a:endParaRPr lang="en-US" sz="2000" kern="1200">
            <a:solidFill>
              <a:schemeClr val="tx1"/>
            </a:solidFill>
          </a:endParaRPr>
        </a:p>
        <a:p>
          <a:pPr marL="228600" lvl="1" indent="-228600" algn="l" defTabSz="889000">
            <a:lnSpc>
              <a:spcPct val="90000"/>
            </a:lnSpc>
            <a:spcBef>
              <a:spcPct val="0"/>
            </a:spcBef>
            <a:spcAft>
              <a:spcPct val="20000"/>
            </a:spcAft>
            <a:buChar char="•"/>
          </a:pPr>
          <a:r>
            <a:rPr lang="en-US" sz="2000" kern="1200" baseline="0">
              <a:solidFill>
                <a:schemeClr val="tx1"/>
              </a:solidFill>
            </a:rPr>
            <a:t>Use </a:t>
          </a:r>
          <a:r>
            <a:rPr lang="en-US" sz="2000" kern="1200" baseline="0" err="1">
              <a:solidFill>
                <a:schemeClr val="tx1"/>
              </a:solidFill>
            </a:rPr>
            <a:t>MainWindow.XAML</a:t>
          </a:r>
          <a:endParaRPr lang="en-US" sz="2000" kern="1200">
            <a:solidFill>
              <a:schemeClr val="tx1"/>
            </a:solidFill>
          </a:endParaRPr>
        </a:p>
      </dsp:txBody>
      <dsp:txXfrm>
        <a:off x="0" y="559934"/>
        <a:ext cx="3200400" cy="738990"/>
      </dsp:txXfrm>
    </dsp:sp>
    <dsp:sp modelId="{74A8333C-C720-4829-8CD1-70FC468921BD}">
      <dsp:nvSpPr>
        <dsp:cNvPr id="0" name=""/>
        <dsp:cNvSpPr/>
      </dsp:nvSpPr>
      <dsp:spPr>
        <a:xfrm>
          <a:off x="0" y="1298924"/>
          <a:ext cx="3200400" cy="52416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a:solidFill>
                <a:schemeClr val="tx1"/>
              </a:solidFill>
            </a:rPr>
            <a:t>Viewport</a:t>
          </a:r>
          <a:endParaRPr lang="en-US" sz="2000" b="1" kern="1200">
            <a:solidFill>
              <a:schemeClr val="tx1"/>
            </a:solidFill>
          </a:endParaRPr>
        </a:p>
      </dsp:txBody>
      <dsp:txXfrm>
        <a:off x="25587" y="1324511"/>
        <a:ext cx="3149226" cy="472986"/>
      </dsp:txXfrm>
    </dsp:sp>
    <dsp:sp modelId="{DBA4D9F1-2157-47DC-B693-8E7C9B17DBC0}">
      <dsp:nvSpPr>
        <dsp:cNvPr id="0" name=""/>
        <dsp:cNvSpPr/>
      </dsp:nvSpPr>
      <dsp:spPr>
        <a:xfrm>
          <a:off x="0" y="1823084"/>
          <a:ext cx="3200400" cy="1101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1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a:solidFill>
                <a:schemeClr val="tx1"/>
              </a:solidFill>
            </a:rPr>
            <a:t>Code editor</a:t>
          </a:r>
          <a:endParaRPr lang="en-US" sz="2000" kern="1200">
            <a:solidFill>
              <a:schemeClr val="tx1"/>
            </a:solidFill>
          </a:endParaRPr>
        </a:p>
        <a:p>
          <a:pPr marL="228600" lvl="1" indent="-228600" algn="l" defTabSz="889000">
            <a:lnSpc>
              <a:spcPct val="90000"/>
            </a:lnSpc>
            <a:spcBef>
              <a:spcPct val="0"/>
            </a:spcBef>
            <a:spcAft>
              <a:spcPct val="20000"/>
            </a:spcAft>
            <a:buChar char="•"/>
          </a:pPr>
          <a:r>
            <a:rPr lang="en-US" sz="2000" kern="1200" baseline="0">
              <a:solidFill>
                <a:schemeClr val="tx1"/>
              </a:solidFill>
            </a:rPr>
            <a:t>Visual GUI creator</a:t>
          </a:r>
          <a:endParaRPr lang="en-US" sz="2000" kern="1200">
            <a:solidFill>
              <a:schemeClr val="tx1"/>
            </a:solidFill>
          </a:endParaRPr>
        </a:p>
        <a:p>
          <a:pPr marL="228600" lvl="1" indent="-228600" algn="l" defTabSz="889000">
            <a:lnSpc>
              <a:spcPct val="90000"/>
            </a:lnSpc>
            <a:spcBef>
              <a:spcPct val="0"/>
            </a:spcBef>
            <a:spcAft>
              <a:spcPct val="20000"/>
            </a:spcAft>
            <a:buChar char="•"/>
          </a:pPr>
          <a:r>
            <a:rPr lang="en-US" sz="2000" kern="1200" baseline="0">
              <a:solidFill>
                <a:schemeClr val="tx1"/>
              </a:solidFill>
            </a:rPr>
            <a:t>Tabs for open files</a:t>
          </a:r>
          <a:endParaRPr lang="en-US" sz="2000" kern="1200">
            <a:solidFill>
              <a:schemeClr val="tx1"/>
            </a:solidFill>
          </a:endParaRPr>
        </a:p>
      </dsp:txBody>
      <dsp:txXfrm>
        <a:off x="0" y="1823084"/>
        <a:ext cx="3200400" cy="1101240"/>
      </dsp:txXfrm>
    </dsp:sp>
    <dsp:sp modelId="{EE9222F6-1065-4D85-82F2-5C38A7F30C3C}">
      <dsp:nvSpPr>
        <dsp:cNvPr id="0" name=""/>
        <dsp:cNvSpPr/>
      </dsp:nvSpPr>
      <dsp:spPr>
        <a:xfrm>
          <a:off x="0" y="2924325"/>
          <a:ext cx="3200400" cy="52416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a:solidFill>
                <a:schemeClr val="tx1"/>
              </a:solidFill>
            </a:rPr>
            <a:t>Toolbox</a:t>
          </a:r>
          <a:endParaRPr lang="en-US" sz="2000" b="1" kern="1200">
            <a:solidFill>
              <a:schemeClr val="tx1"/>
            </a:solidFill>
          </a:endParaRPr>
        </a:p>
      </dsp:txBody>
      <dsp:txXfrm>
        <a:off x="25587" y="2949912"/>
        <a:ext cx="3149226" cy="472986"/>
      </dsp:txXfrm>
    </dsp:sp>
    <dsp:sp modelId="{00F128D7-F5C8-4A7A-B36A-59BC541A4DC3}">
      <dsp:nvSpPr>
        <dsp:cNvPr id="0" name=""/>
        <dsp:cNvSpPr/>
      </dsp:nvSpPr>
      <dsp:spPr>
        <a:xfrm>
          <a:off x="0" y="3448485"/>
          <a:ext cx="3200400" cy="7389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1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a:solidFill>
                <a:schemeClr val="tx1"/>
              </a:solidFill>
            </a:rPr>
            <a:t>Contains GUI controls</a:t>
          </a:r>
          <a:endParaRPr lang="en-US" sz="2000" kern="1200">
            <a:solidFill>
              <a:schemeClr val="tx1"/>
            </a:solidFill>
          </a:endParaRPr>
        </a:p>
        <a:p>
          <a:pPr marL="228600" lvl="1" indent="-228600" algn="l" defTabSz="889000">
            <a:lnSpc>
              <a:spcPct val="90000"/>
            </a:lnSpc>
            <a:spcBef>
              <a:spcPct val="0"/>
            </a:spcBef>
            <a:spcAft>
              <a:spcPct val="20000"/>
            </a:spcAft>
            <a:buChar char="•"/>
          </a:pPr>
          <a:r>
            <a:rPr lang="en-US" sz="2000" kern="1200" baseline="0">
              <a:solidFill>
                <a:schemeClr val="tx1"/>
              </a:solidFill>
            </a:rPr>
            <a:t>Drag &amp; Drop</a:t>
          </a:r>
          <a:endParaRPr lang="en-US" sz="2000" kern="1200">
            <a:solidFill>
              <a:schemeClr val="tx1"/>
            </a:solidFill>
          </a:endParaRPr>
        </a:p>
      </dsp:txBody>
      <dsp:txXfrm>
        <a:off x="0" y="3448485"/>
        <a:ext cx="3200400" cy="738990"/>
      </dsp:txXfrm>
    </dsp:sp>
    <dsp:sp modelId="{EE735F07-1E3D-41B3-A150-4C2ABA0F53E5}">
      <dsp:nvSpPr>
        <dsp:cNvPr id="0" name=""/>
        <dsp:cNvSpPr/>
      </dsp:nvSpPr>
      <dsp:spPr>
        <a:xfrm>
          <a:off x="0" y="4187475"/>
          <a:ext cx="3200400" cy="52416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a:solidFill>
                <a:schemeClr val="tx1"/>
              </a:solidFill>
            </a:rPr>
            <a:t>Properties</a:t>
          </a:r>
          <a:endParaRPr lang="en-US" sz="2000" b="1" kern="1200">
            <a:solidFill>
              <a:schemeClr val="tx1"/>
            </a:solidFill>
          </a:endParaRPr>
        </a:p>
      </dsp:txBody>
      <dsp:txXfrm>
        <a:off x="25587" y="4213062"/>
        <a:ext cx="3149226" cy="472986"/>
      </dsp:txXfrm>
    </dsp:sp>
    <dsp:sp modelId="{F87DACDB-5CE6-4B01-8BCD-1B6B1E82B892}">
      <dsp:nvSpPr>
        <dsp:cNvPr id="0" name=""/>
        <dsp:cNvSpPr/>
      </dsp:nvSpPr>
      <dsp:spPr>
        <a:xfrm>
          <a:off x="0" y="4711635"/>
          <a:ext cx="3200400" cy="7389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1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a:solidFill>
                <a:schemeClr val="tx1"/>
              </a:solidFill>
            </a:rPr>
            <a:t>Edit GUI controls</a:t>
          </a:r>
          <a:endParaRPr lang="en-US" sz="2000" kern="1200">
            <a:solidFill>
              <a:schemeClr val="tx1"/>
            </a:solidFill>
          </a:endParaRPr>
        </a:p>
        <a:p>
          <a:pPr marL="228600" lvl="1" indent="-228600" algn="l" defTabSz="889000">
            <a:lnSpc>
              <a:spcPct val="90000"/>
            </a:lnSpc>
            <a:spcBef>
              <a:spcPct val="0"/>
            </a:spcBef>
            <a:spcAft>
              <a:spcPct val="20000"/>
            </a:spcAft>
            <a:buChar char="•"/>
          </a:pPr>
          <a:r>
            <a:rPr lang="en-US" sz="2000" kern="1200">
              <a:solidFill>
                <a:schemeClr val="tx1"/>
              </a:solidFill>
            </a:rPr>
            <a:t>Changes XAML code</a:t>
          </a:r>
        </a:p>
      </dsp:txBody>
      <dsp:txXfrm>
        <a:off x="0" y="4711635"/>
        <a:ext cx="3200400" cy="738990"/>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9/3/layout/RandomtoResultProcess">
  <dgm:title val=""/>
  <dgm:desc val=""/>
  <dgm:catLst>
    <dgm:cat type="process" pri="1275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clrData>
  <dgm:layoutNode name="Name0">
    <dgm:varLst>
      <dgm:dir/>
      <dgm:animOne val="branch"/>
      <dgm:animLvl val="lvl"/>
    </dgm:varLst>
    <dgm:choose name="Name1">
      <dgm:if name="Name2" func="var" arg="dir" op="equ" val="norm">
        <dgm:alg type="lin">
          <dgm:param type="fallback" val="2D"/>
          <dgm:param type="nodeVertAlign" val="t"/>
        </dgm:alg>
      </dgm:if>
      <dgm:else name="Name3">
        <dgm:alg type="lin">
          <dgm:param type="fallback" val="2D"/>
          <dgm:param type="nodeVertAlign" val="t"/>
          <dgm:param type="linDir" val="fromR"/>
        </dgm:alg>
      </dgm:else>
    </dgm:choose>
    <dgm:shape xmlns:r="http://schemas.openxmlformats.org/officeDocument/2006/relationships" r:blip="">
      <dgm:adjLst/>
    </dgm:shape>
    <dgm:constrLst>
      <dgm:constr type="userH" refType="h" fact="2"/>
      <dgm:constr type="w" for="ch" forName="chaos" refType="userH" fact="0.681"/>
      <dgm:constr type="h" for="ch" forName="chaos" refType="userH"/>
      <dgm:constr type="w" for="ch" forName="middle" refType="userH" fact="0.6"/>
      <dgm:constr type="h" for="ch" forName="middle" refType="userH"/>
      <dgm:constr type="w" for="ch" forName="last" refType="userH" fact="0.6"/>
      <dgm:constr type="h" for="ch" forName="last" refType="userH"/>
      <dgm:constr type="w" for="ch" forName="chevronComposite1" refType="userH" fact="0.22"/>
      <dgm:constr type="h" for="ch" forName="chevronComposite1" refType="userH" fact="0.52"/>
      <dgm:constr type="w" for="ch" forName="chevronComposite2" refType="userH" fact="0.22"/>
      <dgm:constr type="h" for="ch" forName="chevronComposite2" refType="userH" fact="0.52"/>
      <dgm:constr type="w" for="ch" forName="overlap" refType="userH" fact="-0.04"/>
      <dgm:constr type="h" for="ch" forName="overlap" refType="userH" fact="0.06"/>
      <dgm:constr type="primFontSz" for="des" forName="parTx1" op="equ" val="65"/>
      <dgm:constr type="primFontSz" for="des" forName="parTxMid" refType="primFontSz" refFor="des" refForName="parTx1" op="equ"/>
      <dgm:constr type="primFontSz" for="des" forName="circleTx" refType="primFontSz" refFor="des" refForName="parTx1" op="equ"/>
      <dgm:constr type="primFontSz" for="des" forName="desTx1" op="equ" val="65"/>
      <dgm:constr type="primFontSz" for="des" forName="desTxMid" refType="primFontSz" refFor="des" refForName="desTx1" op="equ"/>
      <dgm:constr type="primFontSz" for="des" forName="desTxN" refType="primFontSz" refFor="des" refForName="desTx1" op="equ"/>
    </dgm:constrLst>
    <dgm:forEach name="Name4" axis="ch" ptType="node">
      <dgm:choose name="Name5">
        <dgm:if name="Name6" axis="self" ptType="node" func="pos" op="equ" val="1">
          <dgm:layoutNode name="chaos">
            <dgm:alg type="composite"/>
            <dgm:shape xmlns:r="http://schemas.openxmlformats.org/officeDocument/2006/relationships" r:blip="">
              <dgm:adjLst/>
            </dgm:shape>
            <dgm:presOf/>
            <dgm:constrLst>
              <dgm:constr type="ctrX" for="ch" forName="parTx1" refType="w" fact="0.5"/>
              <dgm:constr type="t" for="ch" forName="parTx1" refType="w" fact="0.32"/>
              <dgm:constr type="w" for="ch" forName="parTx1" refType="w" fact="0.88"/>
              <dgm:constr type="h" for="ch" forName="parTx1" refType="w" fact="0.29"/>
              <dgm:constr type="ctrX" for="ch" forName="desTx1" refType="w" fact="0.5"/>
              <dgm:constr type="b" for="ch" forName="desTx1" refType="h"/>
              <dgm:constr type="w" for="ch" forName="desTx1" refType="w" fact="0.88"/>
              <dgm:constr type="h" for="ch" forName="desTx1" refType="h" fact="0.37"/>
              <dgm:constr type="l" for="ch" forName="c1" refType="w" fact="0.05"/>
              <dgm:constr type="t" for="ch" forName="c1" refType="w" fact="0.23"/>
              <dgm:constr type="w" for="ch" forName="c1" refType="w" fact="0.07"/>
              <dgm:constr type="h" for="ch" forName="c1" refType="w" refFor="ch" refForName="c1"/>
              <dgm:constr type="l" for="ch" forName="c2" refType="w" fact="0.1"/>
              <dgm:constr type="t" for="ch" forName="c2" refType="w" fact="0.13"/>
              <dgm:constr type="w" for="ch" forName="c2" refType="w" fact="0.07"/>
              <dgm:constr type="h" for="ch" forName="c2" refType="w" refFor="ch" refForName="c2"/>
              <dgm:constr type="l" for="ch" forName="c3" refType="w" fact="0.22"/>
              <dgm:constr type="t" for="ch" forName="c3" refType="w" fact="0.15"/>
              <dgm:constr type="w" for="ch" forName="c3" refType="w" fact="0.11"/>
              <dgm:constr type="h" for="ch" forName="c3" refType="w" refFor="ch" refForName="c3"/>
              <dgm:constr type="l" for="ch" forName="c4" refType="w" fact="0.32"/>
              <dgm:constr type="t" for="ch" forName="c4" refType="w" fact="0.04"/>
              <dgm:constr type="w" for="ch" forName="c4" refType="w" fact="0.07"/>
              <dgm:constr type="h" for="ch" forName="c4" refType="w" refFor="ch" refForName="c4"/>
              <dgm:constr type="l" for="ch" forName="c5" refType="w" fact="0.45"/>
              <dgm:constr type="t" for="ch" forName="c5" refType="w" fact="0"/>
              <dgm:constr type="w" for="ch" forName="c5" refType="w" fact="0.07"/>
              <dgm:constr type="h" for="ch" forName="c5" refType="w" refFor="ch" refForName="c5"/>
              <dgm:constr type="l" for="ch" forName="c6" refType="w" fact="0.61"/>
              <dgm:constr type="t" for="ch" forName="c6" refType="w" fact="0.07"/>
              <dgm:constr type="w" for="ch" forName="c6" refType="w" fact="0.07"/>
              <dgm:constr type="h" for="ch" forName="c6" refType="w" refFor="ch" refForName="c6"/>
              <dgm:constr type="l" for="ch" forName="c7" refType="w" fact="0.71"/>
              <dgm:constr type="t" for="ch" forName="c7" refType="w" fact="0.12"/>
              <dgm:constr type="w" for="ch" forName="c7" refType="w" fact="0.11"/>
              <dgm:constr type="h" for="ch" forName="c7" refType="w" refFor="ch" refForName="c7"/>
              <dgm:constr type="l" for="ch" forName="c8" refType="w" fact="0.85"/>
              <dgm:constr type="t" for="ch" forName="c8" refType="w" fact="0.23"/>
              <dgm:constr type="w" for="ch" forName="c8" refType="w" fact="0.07"/>
              <dgm:constr type="h" for="ch" forName="c8" refType="w" refFor="ch" refForName="c8"/>
              <dgm:constr type="l" for="ch" forName="c9" refType="w" fact="0.91"/>
              <dgm:constr type="t" for="ch" forName="c9" refType="w" fact="0.34"/>
              <dgm:constr type="w" for="ch" forName="c9" refType="w" fact="0.07"/>
              <dgm:constr type="h" for="ch" forName="c9" refType="w" refFor="ch" refForName="c9"/>
              <dgm:constr type="l" for="ch" forName="c10" refType="w" fact="0.39"/>
              <dgm:constr type="t" for="ch" forName="c10" refType="w" fact="0.13"/>
              <dgm:constr type="w" for="ch" forName="c10" refType="w" fact="0.18"/>
              <dgm:constr type="h" for="ch" forName="c10" refType="w" refFor="ch" refForName="c10"/>
              <dgm:constr type="l" for="ch" forName="c11" refType="w" fact="0"/>
              <dgm:constr type="t" for="ch" forName="c11" refType="w" fact="0.51"/>
              <dgm:constr type="w" for="ch" forName="c11" refType="w" fact="0.07"/>
              <dgm:constr type="h" for="ch" forName="c11" refType="w" refFor="ch" refForName="c11"/>
              <dgm:constr type="l" for="ch" forName="c12" refType="w" fact="0.06"/>
              <dgm:constr type="t" for="ch" forName="c12" refType="w" fact="0.6"/>
              <dgm:constr type="w" for="ch" forName="c12" refType="w" fact="0.11"/>
              <dgm:constr type="h" for="ch" forName="c12" refType="w" refFor="ch" refForName="c12"/>
              <dgm:constr type="l" for="ch" forName="c13" refType="w" fact="0.21"/>
              <dgm:constr type="t" for="ch" forName="c13" refType="w" fact="0.68"/>
              <dgm:constr type="w" for="ch" forName="c13" refType="w" fact="0.16"/>
              <dgm:constr type="h" for="ch" forName="c13" refType="w" refFor="ch" refForName="c13"/>
              <dgm:constr type="l" for="ch" forName="c14" refType="w" fact="0.42"/>
              <dgm:constr type="t" for="ch" forName="c14" refType="w" fact="0.81"/>
              <dgm:constr type="w" for="ch" forName="c14" refType="w" fact="0.07"/>
              <dgm:constr type="h" for="ch" forName="c14" refType="w" refFor="ch" refForName="c14"/>
              <dgm:constr type="l" for="ch" forName="c15" refType="w" fact="0.46"/>
              <dgm:constr type="t" for="ch" forName="c15" refType="w" fact="0.68"/>
              <dgm:constr type="w" for="ch" forName="c15" refType="w" fact="0.11"/>
              <dgm:constr type="h" for="ch" forName="c15" refType="w" refFor="ch" refForName="c15"/>
              <dgm:constr type="l" for="ch" forName="c16" refType="w" fact="0.56"/>
              <dgm:constr type="t" for="ch" forName="c16" refType="w" fact="0.82"/>
              <dgm:constr type="w" for="ch" forName="c16" refType="w" fact="0.07"/>
              <dgm:constr type="h" for="ch" forName="c16" refType="w" refFor="ch" refForName="c16"/>
              <dgm:constr type="l" for="ch" forName="c17" refType="w" fact="0.65"/>
              <dgm:constr type="t" for="ch" forName="c17" refType="w" fact="0.66"/>
              <dgm:constr type="w" for="ch" forName="c17" refType="w" fact="0.16"/>
              <dgm:constr type="h" for="ch" forName="c17" refType="w" refFor="ch" refForName="c17"/>
              <dgm:constr type="l" for="ch" forName="c18" refType="w" fact="0.87"/>
              <dgm:constr type="t" for="ch" forName="c18" refType="w" fact="0.62"/>
              <dgm:constr type="w" for="ch" forName="c18" refType="w" fact="0.11"/>
              <dgm:constr type="h" for="ch" forName="c18" refType="w" refFor="ch" refForName="c18"/>
            </dgm:constrLst>
            <dgm:layoutNode name="parTx1"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7">
              <dgm:if name="Name8" axis="ch" ptType="node" func="cnt" op="gte" val="1">
                <dgm:layoutNode name="desTx1" styleLbl="revTx">
                  <dgm:varLst>
                    <dgm:bulletEnabled val="1"/>
                  </dgm:varLst>
                  <dgm:choose name="Name9">
                    <dgm:if name="Name10" axis="ch" ptType="node" func="cnt" op="equ" val="1">
                      <dgm:alg type="tx">
                        <dgm:param type="shpTxLTRAlignCh" val="l"/>
                      </dgm:alg>
                    </dgm:if>
                    <dgm:else name="Name11">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2"/>
            </dgm:choose>
            <dgm:layoutNode name="c1" styleLbl="node1">
              <dgm:alg type="sp"/>
              <dgm:shape xmlns:r="http://schemas.openxmlformats.org/officeDocument/2006/relationships" type="ellipse" r:blip="">
                <dgm:adjLst/>
              </dgm:shape>
              <dgm:presOf/>
            </dgm:layoutNode>
            <dgm:layoutNode name="c2" styleLbl="node1">
              <dgm:alg type="sp"/>
              <dgm:shape xmlns:r="http://schemas.openxmlformats.org/officeDocument/2006/relationships" type="ellipse" r:blip="">
                <dgm:adjLst/>
              </dgm:shape>
              <dgm:presOf/>
            </dgm:layoutNode>
            <dgm:layoutNode name="c3" styleLbl="node1">
              <dgm:alg type="sp"/>
              <dgm:shape xmlns:r="http://schemas.openxmlformats.org/officeDocument/2006/relationships" type="ellipse" r:blip="">
                <dgm:adjLst/>
              </dgm:shape>
              <dgm:presOf/>
            </dgm:layoutNode>
            <dgm:layoutNode name="c4" styleLbl="node1">
              <dgm:alg type="sp"/>
              <dgm:shape xmlns:r="http://schemas.openxmlformats.org/officeDocument/2006/relationships" type="ellipse" r:blip="">
                <dgm:adjLst/>
              </dgm:shape>
              <dgm:presOf/>
            </dgm:layoutNode>
            <dgm:layoutNode name="c5" styleLbl="node1">
              <dgm:alg type="sp"/>
              <dgm:shape xmlns:r="http://schemas.openxmlformats.org/officeDocument/2006/relationships" type="ellipse" r:blip="">
                <dgm:adjLst/>
              </dgm:shape>
              <dgm:presOf/>
            </dgm:layoutNode>
            <dgm:layoutNode name="c6" styleLbl="node1">
              <dgm:alg type="sp"/>
              <dgm:shape xmlns:r="http://schemas.openxmlformats.org/officeDocument/2006/relationships" type="ellipse" r:blip="">
                <dgm:adjLst/>
              </dgm:shape>
              <dgm:presOf/>
            </dgm:layoutNode>
            <dgm:layoutNode name="c7" styleLbl="node1">
              <dgm:alg type="sp"/>
              <dgm:shape xmlns:r="http://schemas.openxmlformats.org/officeDocument/2006/relationships" type="ellipse" r:blip="">
                <dgm:adjLst/>
              </dgm:shape>
              <dgm:presOf/>
            </dgm:layoutNode>
            <dgm:layoutNode name="c8" styleLbl="node1">
              <dgm:alg type="sp"/>
              <dgm:shape xmlns:r="http://schemas.openxmlformats.org/officeDocument/2006/relationships" type="ellipse" r:blip="">
                <dgm:adjLst/>
              </dgm:shape>
              <dgm:presOf/>
            </dgm:layoutNode>
            <dgm:layoutNode name="c9" styleLbl="node1">
              <dgm:alg type="sp"/>
              <dgm:shape xmlns:r="http://schemas.openxmlformats.org/officeDocument/2006/relationships" type="ellipse" r:blip="">
                <dgm:adjLst/>
              </dgm:shape>
              <dgm:presOf/>
            </dgm:layoutNode>
            <dgm:layoutNode name="c10" styleLbl="node1">
              <dgm:alg type="sp"/>
              <dgm:shape xmlns:r="http://schemas.openxmlformats.org/officeDocument/2006/relationships" type="ellipse" r:blip="">
                <dgm:adjLst/>
              </dgm:shape>
              <dgm:presOf/>
            </dgm:layoutNode>
            <dgm:layoutNode name="c11" styleLbl="node1">
              <dgm:alg type="sp"/>
              <dgm:shape xmlns:r="http://schemas.openxmlformats.org/officeDocument/2006/relationships" type="ellipse" r:blip="">
                <dgm:adjLst/>
              </dgm:shape>
              <dgm:presOf/>
            </dgm:layoutNode>
            <dgm:layoutNode name="c12" styleLbl="node1">
              <dgm:alg type="sp"/>
              <dgm:shape xmlns:r="http://schemas.openxmlformats.org/officeDocument/2006/relationships" type="ellipse" r:blip="">
                <dgm:adjLst/>
              </dgm:shape>
              <dgm:presOf/>
            </dgm:layoutNode>
            <dgm:layoutNode name="c13" styleLbl="node1">
              <dgm:alg type="sp"/>
              <dgm:shape xmlns:r="http://schemas.openxmlformats.org/officeDocument/2006/relationships" type="ellipse" r:blip="">
                <dgm:adjLst/>
              </dgm:shape>
              <dgm:presOf/>
            </dgm:layoutNode>
            <dgm:layoutNode name="c14" styleLbl="node1">
              <dgm:alg type="sp"/>
              <dgm:shape xmlns:r="http://schemas.openxmlformats.org/officeDocument/2006/relationships" type="ellipse" r:blip="">
                <dgm:adjLst/>
              </dgm:shape>
              <dgm:presOf/>
            </dgm:layoutNode>
            <dgm:layoutNode name="c15" styleLbl="node1">
              <dgm:alg type="sp"/>
              <dgm:shape xmlns:r="http://schemas.openxmlformats.org/officeDocument/2006/relationships" type="ellipse" r:blip="">
                <dgm:adjLst/>
              </dgm:shape>
              <dgm:presOf/>
            </dgm:layoutNode>
            <dgm:layoutNode name="c16" styleLbl="node1">
              <dgm:alg type="sp"/>
              <dgm:shape xmlns:r="http://schemas.openxmlformats.org/officeDocument/2006/relationships" type="ellipse" r:blip="">
                <dgm:adjLst/>
              </dgm:shape>
              <dgm:presOf/>
            </dgm:layoutNode>
            <dgm:layoutNode name="c17" styleLbl="node1">
              <dgm:alg type="sp"/>
              <dgm:shape xmlns:r="http://schemas.openxmlformats.org/officeDocument/2006/relationships" type="ellipse" r:blip="">
                <dgm:adjLst/>
              </dgm:shape>
              <dgm:presOf/>
            </dgm:layoutNode>
            <dgm:layoutNode name="c18" styleLbl="node1">
              <dgm:alg type="sp"/>
              <dgm:shape xmlns:r="http://schemas.openxmlformats.org/officeDocument/2006/relationships" type="ellipse" r:blip="">
                <dgm:adjLst/>
              </dgm:shape>
              <dgm:presOf/>
            </dgm:layoutNode>
          </dgm:layoutNode>
        </dgm:if>
        <dgm:if name="Name13" axis="self" ptType="node" func="revPos" op="equ" val="1">
          <dgm:layoutNode name="last">
            <dgm:alg type="composite"/>
            <dgm:shape xmlns:r="http://schemas.openxmlformats.org/officeDocument/2006/relationships" r:blip="">
              <dgm:adjLst/>
            </dgm:shape>
            <dgm:presOf/>
            <dgm:constrLst>
              <dgm:constr type="ctrX" for="ch" forName="circleTx" refType="w" fact="0.5"/>
              <dgm:constr type="t" for="ch" forName="circleTx" refType="w" fact="0.117"/>
              <dgm:constr type="w" for="ch" forName="circleTx" refType="h" refFor="ch" refForName="circleTx"/>
              <dgm:constr type="h" for="ch" forName="circleTx" refType="w" fact="0.85"/>
              <dgm:constr type="l" for="ch" forName="desTxN"/>
              <dgm:constr type="b" for="ch" forName="desTxN" refType="h"/>
              <dgm:constr type="w" for="ch" forName="desTxN" refType="w"/>
              <dgm:constr type="h" for="ch" forName="desTxN" refType="h" fact="0.37"/>
              <dgm:constr type="ctrX" for="ch" forName="spN" refType="w" fact="0.5"/>
              <dgm:constr type="t" for="ch" forName="spN"/>
              <dgm:constr type="w" for="ch" forName="spN" refType="w" fact="0.93"/>
              <dgm:constr type="h" for="ch" forName="spN" refType="h" fact="0.01"/>
            </dgm:constrLst>
            <dgm:layoutNode name="circleTx" styleLbl="node1">
              <dgm:alg type="tx"/>
              <dgm:shape xmlns:r="http://schemas.openxmlformats.org/officeDocument/2006/relationships" type="ellipse" r:blip="">
                <dgm:adjLst/>
              </dgm:shape>
              <dgm:presOf axis="self" ptType="node"/>
              <dgm:constrLst>
                <dgm:constr type="lMarg"/>
                <dgm:constr type="rMarg"/>
                <dgm:constr type="tMarg"/>
                <dgm:constr type="bMarg"/>
              </dgm:constrLst>
              <dgm:ruleLst>
                <dgm:rule type="primFontSz" val="5" fact="NaN" max="NaN"/>
              </dgm:ruleLst>
            </dgm:layoutNode>
            <dgm:choose name="Name14">
              <dgm:if name="Name15" axis="ch" ptType="node" func="cnt" op="gte" val="1">
                <dgm:layoutNode name="desTxN" styleLbl="revTx">
                  <dgm:varLst>
                    <dgm:bulletEnabled val="1"/>
                  </dgm:varLst>
                  <dgm:choose name="Name16">
                    <dgm:if name="Name17" axis="ch" ptType="node" func="cnt" op="equ" val="1">
                      <dgm:alg type="tx">
                        <dgm:param type="shpTxLTRAlignCh" val="l"/>
                      </dgm:alg>
                    </dgm:if>
                    <dgm:else name="Name18">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9"/>
            </dgm:choose>
            <dgm:layoutNode name="spN">
              <dgm:alg type="sp"/>
              <dgm:shape xmlns:r="http://schemas.openxmlformats.org/officeDocument/2006/relationships" r:blip="">
                <dgm:adjLst/>
              </dgm:shape>
              <dgm:presOf/>
            </dgm:layoutNode>
          </dgm:layoutNode>
        </dgm:if>
        <dgm:else name="Name20">
          <dgm:layoutNode name="middle">
            <dgm:alg type="composite"/>
            <dgm:shape xmlns:r="http://schemas.openxmlformats.org/officeDocument/2006/relationships" r:blip="">
              <dgm:adjLst/>
            </dgm:shape>
            <dgm:presOf/>
            <dgm:constrLst>
              <dgm:constr type="l" for="ch" forName="parTxMid"/>
              <dgm:constr type="t" for="ch" forName="parTxMid" refType="w" fact="0.167"/>
              <dgm:constr type="w" for="ch" forName="parTxMid" refType="w"/>
              <dgm:constr type="h" for="ch" forName="parTxMid" refType="w" fact="0.7"/>
              <dgm:constr type="l" for="ch" forName="desTxMid"/>
              <dgm:constr type="b" for="ch" forName="desTxMid" refType="h"/>
              <dgm:constr type="w" for="ch" forName="desTxMid" refType="w"/>
              <dgm:constr type="h" for="ch" forName="desTxMid" refType="h" fact="0.37"/>
              <dgm:constr type="ctrX" for="ch" forName="spMid" refType="w" fact="0.5"/>
              <dgm:constr type="t" for="ch" forName="spMid"/>
              <dgm:constr type="w" for="ch" forName="spMid" refType="w" fact="0.01"/>
              <dgm:constr type="h" for="ch" forName="spMid" refType="h" fact="0.01"/>
            </dgm:constrLst>
            <dgm:layoutNode name="parTxMid"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1">
              <dgm:if name="Name22" axis="ch" ptType="node" func="cnt" op="gte" val="1">
                <dgm:layoutNode name="desTxMid" styleLbl="revTx">
                  <dgm:varLst>
                    <dgm:bulletEnabled val="1"/>
                  </dgm:varLst>
                  <dgm:choose name="Name23">
                    <dgm:if name="Name24" axis="ch" ptType="node" func="cnt" op="equ" val="1">
                      <dgm:alg type="tx">
                        <dgm:param type="shpTxLTRAlignCh" val="l"/>
                      </dgm:alg>
                    </dgm:if>
                    <dgm:else name="Name25">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26"/>
            </dgm:choose>
            <dgm:layoutNode name="spMid">
              <dgm:alg type="sp"/>
              <dgm:shape xmlns:r="http://schemas.openxmlformats.org/officeDocument/2006/relationships" r:blip="">
                <dgm:adjLst/>
              </dgm:shape>
              <dgm:presOf/>
            </dgm:layoutNode>
          </dgm:layoutNode>
        </dgm:else>
      </dgm:choose>
      <dgm:forEach name="Name27" axis="followSib" ptType="sibTrans" cnt="1">
        <dgm:layoutNode name="chevronComposite1" styleLbl="alignImgPlace1">
          <dgm:alg type="composite"/>
          <dgm:shape xmlns:r="http://schemas.openxmlformats.org/officeDocument/2006/relationships" r:blip="">
            <dgm:adjLst/>
          </dgm:shape>
          <dgm:presOf/>
          <dgm:constrLst>
            <dgm:constr type="l" for="ch" forName="chevron1"/>
            <dgm:constr type="t" for="ch" forName="chevron1" refType="h" fact="0.1923"/>
            <dgm:constr type="w" for="ch" forName="chevron1" refType="w"/>
            <dgm:constr type="b" for="ch" forName="chevron1" refType="h"/>
            <dgm:constr type="l" for="ch" forName="spChevron1"/>
            <dgm:constr type="t" for="ch" forName="spChevron1"/>
            <dgm:constr type="w" for="ch" forName="spChevron1" refType="w" fact="0.01"/>
            <dgm:constr type="h" for="ch" forName="spChevron1" refType="h" fact="0.01"/>
          </dgm:constrLst>
          <dgm:layoutNode name="chevron1">
            <dgm:alg type="sp"/>
            <dgm:choose name="Name28">
              <dgm:if name="Name29" func="var" arg="dir" op="equ" val="norm">
                <dgm:shape xmlns:r="http://schemas.openxmlformats.org/officeDocument/2006/relationships" type="chevron" r:blip="">
                  <dgm:adjLst>
                    <dgm:adj idx="1" val="0.6231"/>
                  </dgm:adjLst>
                </dgm:shape>
              </dgm:if>
              <dgm:else name="Name30">
                <dgm:shape xmlns:r="http://schemas.openxmlformats.org/officeDocument/2006/relationships" rot="180" type="chevron" r:blip="">
                  <dgm:adjLst>
                    <dgm:adj idx="1" val="0.6231"/>
                  </dgm:adjLst>
                </dgm:shape>
              </dgm:else>
            </dgm:choose>
            <dgm:presOf/>
          </dgm:layoutNode>
          <dgm:layoutNode name="spChevron1">
            <dgm:alg type="sp"/>
            <dgm:shape xmlns:r="http://schemas.openxmlformats.org/officeDocument/2006/relationships" r:blip="">
              <dgm:adjLst/>
            </dgm:shape>
            <dgm:presOf/>
          </dgm:layoutNode>
        </dgm:layoutNode>
        <dgm:choose name="Name31">
          <dgm:if name="Name32" axis="root ch" ptType="all node" func="cnt" op="equ" val="2">
            <dgm:layoutNode name="overlap">
              <dgm:alg type="sp"/>
              <dgm:shape xmlns:r="http://schemas.openxmlformats.org/officeDocument/2006/relationships" r:blip="">
                <dgm:adjLst/>
              </dgm:shape>
              <dgm:presOf/>
            </dgm:layoutNode>
            <dgm:layoutNode name="chevronComposite2" styleLbl="alignImgPlace1">
              <dgm:alg type="composite"/>
              <dgm:shape xmlns:r="http://schemas.openxmlformats.org/officeDocument/2006/relationships" r:blip="">
                <dgm:adjLst/>
              </dgm:shape>
              <dgm:presOf/>
              <dgm:constrLst>
                <dgm:constr type="l" for="ch" forName="chevron2"/>
                <dgm:constr type="t" for="ch" forName="chevron2" refType="h" fact="0.1923"/>
                <dgm:constr type="w" for="ch" forName="chevron2" refType="w"/>
                <dgm:constr type="b" for="ch" forName="chevron2" refType="h"/>
                <dgm:constr type="l" for="ch" forName="spChevron2"/>
                <dgm:constr type="t" for="ch" forName="spChevron2"/>
                <dgm:constr type="w" for="ch" forName="spChevron2" refType="w" fact="0.01"/>
                <dgm:constr type="h" for="ch" forName="spChevron2" refType="h" fact="0.01"/>
              </dgm:constrLst>
              <dgm:layoutNode name="chevron2">
                <dgm:alg type="sp"/>
                <dgm:choose name="Name33">
                  <dgm:if name="Name34" func="var" arg="dir" op="equ" val="norm">
                    <dgm:shape xmlns:r="http://schemas.openxmlformats.org/officeDocument/2006/relationships" type="chevron" r:blip="">
                      <dgm:adjLst>
                        <dgm:adj idx="1" val="0.6231"/>
                      </dgm:adjLst>
                    </dgm:shape>
                  </dgm:if>
                  <dgm:else name="Name35">
                    <dgm:shape xmlns:r="http://schemas.openxmlformats.org/officeDocument/2006/relationships" rot="180" type="chevron" r:blip="">
                      <dgm:adjLst>
                        <dgm:adj idx="1" val="0.6231"/>
                      </dgm:adjLst>
                    </dgm:shape>
                  </dgm:else>
                </dgm:choose>
                <dgm:presOf/>
              </dgm:layoutNode>
              <dgm:layoutNode name="spChevron2">
                <dgm:alg type="sp"/>
                <dgm:shape xmlns:r="http://schemas.openxmlformats.org/officeDocument/2006/relationships" r:blip="">
                  <dgm:adjLst/>
                </dgm:shape>
                <dgm:presOf/>
              </dgm:layoutNode>
            </dgm:layoutNode>
          </dgm:if>
          <dgm:else name="Name36"/>
        </dgm:choose>
      </dgm:forEach>
    </dgm:forEach>
  </dgm:layoutNode>
</dgm:layoutDef>
</file>

<file path=ppt/diagrams/layout1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7.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1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9.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3.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A2EBC4-566C-48A5-A09F-3DB1107D1E9D}" type="datetimeFigureOut">
              <a:rPr lang="en-US"/>
              <a:t>12/1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FB7961-EFF4-4174-9371-6B916B0FC5FF}" type="slidenum">
              <a:rPr lang="en-US"/>
              <a:t>‹#›</a:t>
            </a:fld>
            <a:endParaRPr lang="en-US"/>
          </a:p>
        </p:txBody>
      </p:sp>
    </p:spTree>
    <p:extLst>
      <p:ext uri="{BB962C8B-B14F-4D97-AF65-F5344CB8AC3E}">
        <p14:creationId xmlns:p14="http://schemas.microsoft.com/office/powerpoint/2010/main" val="38320626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8" Type="http://schemas.openxmlformats.org/officeDocument/2006/relationships/hyperlink" Target="https://www.componentone.com/Studio/Platform/UWP" TargetMode="External"/><Relationship Id="rId3" Type="http://schemas.openxmlformats.org/officeDocument/2006/relationships/hyperlink" Target="https://www.microsoft.com/en-us/p/xaml-controls-gallery/9msvh128x2zt" TargetMode="External"/><Relationship Id="rId7" Type="http://schemas.openxmlformats.org/officeDocument/2006/relationships/hyperlink" Target="https://www.infragistics.com/products/universal-windows-platform"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www.devexpress.com/Products/NET/Controls/Win10Apps/" TargetMode="External"/><Relationship Id="rId5" Type="http://schemas.openxmlformats.org/officeDocument/2006/relationships/hyperlink" Target="https://www.syncfusion.com/uwp-ui-controls" TargetMode="External"/><Relationship Id="rId4" Type="http://schemas.openxmlformats.org/officeDocument/2006/relationships/hyperlink" Target="https://www.telerik.com/" TargetMode="External"/><Relationship Id="rId9" Type="http://schemas.openxmlformats.org/officeDocument/2006/relationships/hyperlink" Target="https://www.actiprosoftware.com/products/controls/universal"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learn.microsoft.com/en-us/dotnet/api/system.windows.controls.textbox?view=windowsdesktop-7.0"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learn.microsoft.com/en-us/dotnet/api/system.windows.controls.textbox?view=windowsdesktop-7.0"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en.wikipedia.org/wiki/Typography" TargetMode="External"/><Relationship Id="rId3" Type="http://schemas.openxmlformats.org/officeDocument/2006/relationships/hyperlink" Target="https://en.wikipedia.org/wiki/Extensible_Application_Markup_Language" TargetMode="External"/><Relationship Id="rId7" Type="http://schemas.openxmlformats.org/officeDocument/2006/relationships/hyperlink" Target="https://en.wikipedia.org/wiki/Document_file_format" TargetMode="External"/><Relationship Id="rId12" Type="http://schemas.openxmlformats.org/officeDocument/2006/relationships/hyperlink" Target="https://en.wikipedia.org/wiki/Windows_Presentation_Foundation#cite_note-3"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en.wikipedia.org/wiki/User_interface" TargetMode="External"/><Relationship Id="rId11" Type="http://schemas.openxmlformats.org/officeDocument/2006/relationships/hyperlink" Target="https://en.wikipedia.org/wiki/Data_binding" TargetMode="External"/><Relationship Id="rId5" Type="http://schemas.openxmlformats.org/officeDocument/2006/relationships/hyperlink" Target="https://en.wikipedia.org/wiki/Windows_Presentation_Foundation#cite_note-2" TargetMode="External"/><Relationship Id="rId10" Type="http://schemas.openxmlformats.org/officeDocument/2006/relationships/hyperlink" Target="https://en.wikipedia.org/wiki/Animation" TargetMode="External"/><Relationship Id="rId4" Type="http://schemas.openxmlformats.org/officeDocument/2006/relationships/hyperlink" Target="https://en.wikipedia.org/wiki/XML" TargetMode="External"/><Relationship Id="rId9" Type="http://schemas.openxmlformats.org/officeDocument/2006/relationships/hyperlink" Target="https://en.wikipedia.org/wiki/Vector_graphics"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fld id="{8AC84295-5BF3-4C0D-B900-059CC5DD0EBB}" type="datetime1">
              <a:rPr lang="en-US"/>
              <a:t>12/12/2022</a:t>
            </a:fld>
            <a:endParaRPr lang="en-US"/>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r>
              <a:rPr lang="en-US"/>
              <a:t>Version: 12/12/2019 17:20:43</a:t>
            </a:r>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262225703"/>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10</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1649736263"/>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a:solidFill>
                  <a:schemeClr val="tx1"/>
                </a:solidFill>
                <a:effectLst/>
                <a:latin typeface="Segoe UI Light" pitchFamily="34" charset="0"/>
                <a:ea typeface="+mn-ea"/>
                <a:cs typeface="+mn-cs"/>
              </a:rPr>
              <a:t>Create a new WPF Application project in Visual Basic or Visual C# named </a:t>
            </a:r>
            <a:r>
              <a:rPr lang="en-US" sz="882" b="0" i="0" kern="1200" err="1">
                <a:solidFill>
                  <a:schemeClr val="tx1"/>
                </a:solidFill>
                <a:effectLst/>
                <a:latin typeface="Segoe UI Light" pitchFamily="34" charset="0"/>
                <a:ea typeface="+mn-ea"/>
                <a:cs typeface="+mn-cs"/>
              </a:rPr>
              <a:t>ExpenseIt</a:t>
            </a:r>
            <a:r>
              <a:rPr lang="en-US" sz="882" b="0" i="0" kern="1200">
                <a:solidFill>
                  <a:schemeClr val="tx1"/>
                </a:solidFill>
                <a:effectLst/>
                <a:latin typeface="Segoe UI Light" pitchFamily="34" charset="0"/>
                <a:ea typeface="+mn-ea"/>
                <a:cs typeface="+mn-cs"/>
              </a:rPr>
              <a:t>:</a:t>
            </a:r>
          </a:p>
          <a:p>
            <a:r>
              <a:rPr lang="en-US" sz="882" b="0" i="0" kern="1200">
                <a:solidFill>
                  <a:schemeClr val="tx1"/>
                </a:solidFill>
                <a:effectLst/>
                <a:latin typeface="Segoe UI Light" pitchFamily="34" charset="0"/>
                <a:ea typeface="+mn-ea"/>
                <a:cs typeface="+mn-cs"/>
              </a:rPr>
              <a:t>Open Visual Studio and select Create a new project under the Get started menu.</a:t>
            </a:r>
          </a:p>
          <a:p>
            <a:r>
              <a:rPr lang="en-US" sz="882" b="0" i="0" kern="1200">
                <a:solidFill>
                  <a:schemeClr val="tx1"/>
                </a:solidFill>
                <a:effectLst/>
                <a:latin typeface="Segoe UI Light" pitchFamily="34" charset="0"/>
                <a:ea typeface="+mn-ea"/>
                <a:cs typeface="+mn-cs"/>
              </a:rPr>
              <a:t>The Create a new project dialog opens.</a:t>
            </a:r>
          </a:p>
          <a:p>
            <a:r>
              <a:rPr lang="en-US" sz="882" b="0" i="0" kern="1200">
                <a:solidFill>
                  <a:schemeClr val="tx1"/>
                </a:solidFill>
                <a:effectLst/>
                <a:latin typeface="Segoe UI Light" pitchFamily="34" charset="0"/>
                <a:ea typeface="+mn-ea"/>
                <a:cs typeface="+mn-cs"/>
              </a:rPr>
              <a:t>In the Language dropdown, select either C# or Visual Basic.</a:t>
            </a:r>
          </a:p>
          <a:p>
            <a:r>
              <a:rPr lang="en-US" sz="882" b="0" i="0" kern="1200">
                <a:solidFill>
                  <a:schemeClr val="tx1"/>
                </a:solidFill>
                <a:effectLst/>
                <a:latin typeface="Segoe UI Light" pitchFamily="34" charset="0"/>
                <a:ea typeface="+mn-ea"/>
                <a:cs typeface="+mn-cs"/>
              </a:rPr>
              <a:t>Select the WPF App (.NET Framework) template and then select Next.</a:t>
            </a:r>
          </a:p>
          <a:p>
            <a:r>
              <a:rPr lang="en-US" sz="882" b="0" i="0" kern="1200">
                <a:solidFill>
                  <a:schemeClr val="tx1"/>
                </a:solidFill>
                <a:effectLst/>
                <a:latin typeface="Segoe UI Light" pitchFamily="34" charset="0"/>
                <a:ea typeface="+mn-ea"/>
                <a:cs typeface="+mn-cs"/>
              </a:rPr>
              <a:t>The Configure your new project dialog opens.</a:t>
            </a:r>
          </a:p>
          <a:p>
            <a:r>
              <a:rPr lang="en-US" sz="882" b="0" i="0" kern="1200">
                <a:solidFill>
                  <a:schemeClr val="tx1"/>
                </a:solidFill>
                <a:effectLst/>
                <a:latin typeface="Segoe UI Light" pitchFamily="34" charset="0"/>
                <a:ea typeface="+mn-ea"/>
                <a:cs typeface="+mn-cs"/>
              </a:rPr>
              <a:t>Enter the project name </a:t>
            </a:r>
            <a:r>
              <a:rPr lang="en-US" sz="882" b="0" i="0" kern="1200" err="1">
                <a:solidFill>
                  <a:schemeClr val="tx1"/>
                </a:solidFill>
                <a:effectLst/>
                <a:latin typeface="Segoe UI Light" pitchFamily="34" charset="0"/>
                <a:ea typeface="+mn-ea"/>
                <a:cs typeface="+mn-cs"/>
              </a:rPr>
              <a:t>ExpenseIt</a:t>
            </a:r>
            <a:r>
              <a:rPr lang="en-US" sz="882" b="0" i="0" kern="1200">
                <a:solidFill>
                  <a:schemeClr val="tx1"/>
                </a:solidFill>
                <a:effectLst/>
                <a:latin typeface="Segoe UI Light" pitchFamily="34" charset="0"/>
                <a:ea typeface="+mn-ea"/>
                <a:cs typeface="+mn-cs"/>
              </a:rPr>
              <a:t> and then select Create.</a:t>
            </a:r>
          </a:p>
          <a:p>
            <a:r>
              <a:rPr lang="en-US" sz="882" b="0" i="0" kern="1200">
                <a:solidFill>
                  <a:schemeClr val="tx1"/>
                </a:solidFill>
                <a:effectLst/>
                <a:latin typeface="Segoe UI Light" pitchFamily="34" charset="0"/>
                <a:ea typeface="+mn-ea"/>
                <a:cs typeface="+mn-cs"/>
              </a:rPr>
              <a:t>Configure a new project dialog</a:t>
            </a:r>
          </a:p>
          <a:p>
            <a:r>
              <a:rPr lang="en-US" sz="882" b="0" i="0" kern="1200">
                <a:solidFill>
                  <a:schemeClr val="tx1"/>
                </a:solidFill>
                <a:effectLst/>
                <a:latin typeface="Segoe UI Light" pitchFamily="34" charset="0"/>
                <a:ea typeface="+mn-ea"/>
                <a:cs typeface="+mn-cs"/>
              </a:rPr>
              <a:t>Visual Studio creates the project and opens the designer for the default application window named </a:t>
            </a:r>
            <a:r>
              <a:rPr lang="en-US" sz="882" b="0" i="0" kern="1200" err="1">
                <a:solidFill>
                  <a:schemeClr val="tx1"/>
                </a:solidFill>
                <a:effectLst/>
                <a:latin typeface="Segoe UI Light" pitchFamily="34" charset="0"/>
                <a:ea typeface="+mn-ea"/>
                <a:cs typeface="+mn-cs"/>
              </a:rPr>
              <a:t>MainWindow.xaml</a:t>
            </a:r>
            <a:r>
              <a:rPr lang="en-US" sz="882" b="0" i="0" kern="1200">
                <a:solidFill>
                  <a:schemeClr val="tx1"/>
                </a:solidFill>
                <a:effectLst/>
                <a:latin typeface="Segoe UI Light" pitchFamily="34" charset="0"/>
                <a:ea typeface="+mn-ea"/>
                <a:cs typeface="+mn-cs"/>
              </a:rPr>
              <a:t>.</a:t>
            </a:r>
          </a:p>
        </p:txBody>
      </p:sp>
      <p:sp>
        <p:nvSpPr>
          <p:cNvPr id="4" name="Slide Number Placeholder 3"/>
          <p:cNvSpPr>
            <a:spLocks noGrp="1"/>
          </p:cNvSpPr>
          <p:nvPr>
            <p:ph type="sldNum" sz="quarter" idx="5"/>
          </p:nvPr>
        </p:nvSpPr>
        <p:spPr/>
        <p:txBody>
          <a:bodyPr/>
          <a:lstStyle/>
          <a:p>
            <a:fld id="{B4008EB6-D09E-4580-8CD6-DDB14511944F}" type="slidenum">
              <a:rPr lang="en-US"/>
              <a:pPr/>
              <a:t>11</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2006921369"/>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12</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2738253077"/>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14</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3963515886"/>
      </p:ext>
    </p:extLst>
  </p:cSld>
  <p:clrMapOvr>
    <a:masterClrMapping/>
  </p:clrMapOvr>
</p:notes>
</file>

<file path=ppt/notesSlides/notesSlide1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5</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12/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974437943"/>
      </p:ext>
    </p:extLst>
  </p:cSld>
  <p:clrMapOvr>
    <a:masterClrMapping/>
  </p:clrMapOvr>
</p:notes>
</file>

<file path=ppt/notesSlides/notesSlide1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6</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12/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832381245"/>
      </p:ext>
    </p:extLst>
  </p:cSld>
  <p:clrMapOvr>
    <a:masterClrMapping/>
  </p:clrMapOvr>
</p:notes>
</file>

<file path=ppt/notesSlides/notesSlide1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7</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12/12/2022</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031103035"/>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200"/>
              <a:t>Free app to try controls and view code samples</a:t>
            </a:r>
          </a:p>
          <a:p>
            <a:pPr lvl="1"/>
            <a:r>
              <a:rPr lang="en-US" sz="2200">
                <a:hlinkClick r:id="rId3"/>
              </a:rPr>
              <a:t>https://www.microsoft.com/en-us/p/xaml-controls-gallery/9msvh128x2zt</a:t>
            </a:r>
            <a:endParaRPr lang="en-US"/>
          </a:p>
          <a:p>
            <a:endParaRPr lang="en-US"/>
          </a:p>
          <a:p>
            <a:r>
              <a:rPr lang="en-US"/>
              <a:t>Additional controls available via </a:t>
            </a:r>
            <a:r>
              <a:rPr lang="en-US" err="1"/>
              <a:t>Nuget</a:t>
            </a:r>
            <a:r>
              <a:rPr lang="en-US"/>
              <a:t>:</a:t>
            </a:r>
          </a:p>
          <a:p>
            <a:pPr lvl="1"/>
            <a:r>
              <a:rPr lang="en-US" err="1"/>
              <a:t>Microsoft.UI.Xaml.Controls</a:t>
            </a:r>
            <a:endParaRPr lang="en-US"/>
          </a:p>
          <a:p>
            <a:endParaRPr lang="en-US"/>
          </a:p>
          <a:p>
            <a:r>
              <a:rPr lang="en-US" sz="882" b="0" i="0" kern="1200">
                <a:solidFill>
                  <a:schemeClr val="tx1"/>
                </a:solidFill>
                <a:effectLst/>
                <a:latin typeface="Segoe UI Light" pitchFamily="34" charset="0"/>
                <a:ea typeface="+mn-ea"/>
                <a:cs typeface="+mn-cs"/>
              </a:rPr>
              <a:t>Additional controls for UWP development are available from companies such as </a:t>
            </a:r>
            <a:r>
              <a:rPr lang="en-US" sz="882" b="0" i="0" u="sng" kern="1200">
                <a:solidFill>
                  <a:schemeClr val="tx1"/>
                </a:solidFill>
                <a:effectLst/>
                <a:latin typeface="Segoe UI Light" pitchFamily="34" charset="0"/>
                <a:ea typeface="+mn-ea"/>
                <a:cs typeface="+mn-cs"/>
                <a:hlinkClick r:id="rId4"/>
              </a:rPr>
              <a:t>Telerik</a:t>
            </a:r>
            <a:r>
              <a:rPr lang="en-US" sz="882" b="0" i="0" kern="1200">
                <a:solidFill>
                  <a:schemeClr val="tx1"/>
                </a:solidFill>
                <a:effectLst/>
                <a:latin typeface="Segoe UI Light" pitchFamily="34" charset="0"/>
                <a:ea typeface="+mn-ea"/>
                <a:cs typeface="+mn-cs"/>
              </a:rPr>
              <a:t>, </a:t>
            </a:r>
            <a:r>
              <a:rPr lang="en-US" sz="882" b="0" i="0" u="sng" kern="1200" err="1">
                <a:solidFill>
                  <a:schemeClr val="tx1"/>
                </a:solidFill>
                <a:effectLst/>
                <a:latin typeface="Segoe UI Light" pitchFamily="34" charset="0"/>
                <a:ea typeface="+mn-ea"/>
                <a:cs typeface="+mn-cs"/>
                <a:hlinkClick r:id="rId5"/>
              </a:rPr>
              <a:t>SyncFusion</a:t>
            </a:r>
            <a:r>
              <a:rPr lang="en-US" sz="882" b="0" i="0" kern="1200">
                <a:solidFill>
                  <a:schemeClr val="tx1"/>
                </a:solidFill>
                <a:effectLst/>
                <a:latin typeface="Segoe UI Light" pitchFamily="34" charset="0"/>
                <a:ea typeface="+mn-ea"/>
                <a:cs typeface="+mn-cs"/>
              </a:rPr>
              <a:t>, </a:t>
            </a:r>
            <a:r>
              <a:rPr lang="en-US" sz="882" b="0" i="0" u="sng" kern="1200">
                <a:solidFill>
                  <a:schemeClr val="tx1"/>
                </a:solidFill>
                <a:effectLst/>
                <a:latin typeface="Segoe UI Light" pitchFamily="34" charset="0"/>
                <a:ea typeface="+mn-ea"/>
                <a:cs typeface="+mn-cs"/>
                <a:hlinkClick r:id="rId6"/>
              </a:rPr>
              <a:t>DevExpress</a:t>
            </a:r>
            <a:r>
              <a:rPr lang="en-US" sz="882" b="0" i="0" kern="1200">
                <a:solidFill>
                  <a:schemeClr val="tx1"/>
                </a:solidFill>
                <a:effectLst/>
                <a:latin typeface="Segoe UI Light" pitchFamily="34" charset="0"/>
                <a:ea typeface="+mn-ea"/>
                <a:cs typeface="+mn-cs"/>
              </a:rPr>
              <a:t>, </a:t>
            </a:r>
            <a:r>
              <a:rPr lang="en-US" sz="882" b="0" i="0" u="sng" kern="1200">
                <a:solidFill>
                  <a:schemeClr val="tx1"/>
                </a:solidFill>
                <a:effectLst/>
                <a:latin typeface="Segoe UI Light" pitchFamily="34" charset="0"/>
                <a:ea typeface="+mn-ea"/>
                <a:cs typeface="+mn-cs"/>
                <a:hlinkClick r:id="rId7"/>
              </a:rPr>
              <a:t>Infragistics</a:t>
            </a:r>
            <a:r>
              <a:rPr lang="en-US" sz="882" b="0" i="0" kern="1200">
                <a:solidFill>
                  <a:schemeClr val="tx1"/>
                </a:solidFill>
                <a:effectLst/>
                <a:latin typeface="Segoe UI Light" pitchFamily="34" charset="0"/>
                <a:ea typeface="+mn-ea"/>
                <a:cs typeface="+mn-cs"/>
              </a:rPr>
              <a:t>, </a:t>
            </a:r>
            <a:r>
              <a:rPr lang="en-US" sz="882" b="0" i="0" u="sng" kern="1200" err="1">
                <a:solidFill>
                  <a:schemeClr val="tx1"/>
                </a:solidFill>
                <a:effectLst/>
                <a:latin typeface="Segoe UI Light" pitchFamily="34" charset="0"/>
                <a:ea typeface="+mn-ea"/>
                <a:cs typeface="+mn-cs"/>
                <a:hlinkClick r:id="rId8"/>
              </a:rPr>
              <a:t>ComponentOne</a:t>
            </a:r>
            <a:r>
              <a:rPr lang="en-US" sz="882" b="0" i="0" kern="1200">
                <a:solidFill>
                  <a:schemeClr val="tx1"/>
                </a:solidFill>
                <a:effectLst/>
                <a:latin typeface="Segoe UI Light" pitchFamily="34" charset="0"/>
                <a:ea typeface="+mn-ea"/>
                <a:cs typeface="+mn-cs"/>
              </a:rPr>
              <a:t>, and </a:t>
            </a:r>
            <a:r>
              <a:rPr lang="en-US" sz="882" b="0" i="0" u="sng" kern="1200" err="1">
                <a:solidFill>
                  <a:schemeClr val="tx1"/>
                </a:solidFill>
                <a:effectLst/>
                <a:latin typeface="Segoe UI Light" pitchFamily="34" charset="0"/>
                <a:ea typeface="+mn-ea"/>
                <a:cs typeface="+mn-cs"/>
                <a:hlinkClick r:id="rId9"/>
              </a:rPr>
              <a:t>ActiPro</a:t>
            </a:r>
            <a:r>
              <a:rPr lang="en-US" sz="882" b="0" i="0" kern="1200">
                <a:solidFill>
                  <a:schemeClr val="tx1"/>
                </a:solidFill>
                <a:effectLst/>
                <a:latin typeface="Segoe UI Light" pitchFamily="34" charset="0"/>
                <a:ea typeface="+mn-ea"/>
                <a:cs typeface="+mn-cs"/>
              </a:rPr>
              <a:t>.</a:t>
            </a:r>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18</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3270370517"/>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kern="1200">
                <a:solidFill>
                  <a:schemeClr val="tx1"/>
                </a:solidFill>
                <a:latin typeface="Segoe UI Light" pitchFamily="34" charset="0"/>
                <a:ea typeface="+mn-ea"/>
                <a:cs typeface="+mn-cs"/>
              </a:rPr>
              <a:t>A good site to learn the controls and how they work</a:t>
            </a:r>
          </a:p>
          <a:p>
            <a:r>
              <a:rPr lang="en-US" sz="1200" kern="1200">
                <a:solidFill>
                  <a:schemeClr val="tx1"/>
                </a:solidFill>
                <a:latin typeface="Segoe UI Light" pitchFamily="34" charset="0"/>
                <a:ea typeface="+mn-ea"/>
                <a:cs typeface="+mn-cs"/>
              </a:rPr>
              <a:t>https://www.</a:t>
            </a:r>
            <a:r>
              <a:rPr lang="en-US" sz="1200" b="0" kern="1200">
                <a:solidFill>
                  <a:schemeClr val="tx1"/>
                </a:solidFill>
                <a:latin typeface="Segoe UI Light" pitchFamily="34" charset="0"/>
                <a:ea typeface="+mn-ea"/>
                <a:cs typeface="+mn-cs"/>
              </a:rPr>
              <a:t>wpf-tutorial.com</a:t>
            </a:r>
            <a:r>
              <a:rPr lang="en-US" sz="1200" kern="1200">
                <a:solidFill>
                  <a:schemeClr val="tx1"/>
                </a:solidFill>
                <a:latin typeface="Segoe UI Light" pitchFamily="34" charset="0"/>
                <a:ea typeface="+mn-ea"/>
                <a:cs typeface="+mn-cs"/>
              </a:rPr>
              <a:t>/ </a:t>
            </a:r>
          </a:p>
          <a:p>
            <a:endParaRPr lang="en-US"/>
          </a:p>
          <a:p>
            <a:endParaRPr lang="en-US"/>
          </a:p>
          <a:p>
            <a:endParaRPr lang="en-US"/>
          </a:p>
          <a:p>
            <a:r>
              <a:rPr lang="en-US"/>
              <a:t>####### XAML CODE ######</a:t>
            </a:r>
          </a:p>
          <a:p>
            <a:endParaRPr lang="en-US"/>
          </a:p>
          <a:p>
            <a:r>
              <a:rPr lang="en-US" sz="1800">
                <a:solidFill>
                  <a:srgbClr val="0000FF"/>
                </a:solidFill>
                <a:latin typeface="Cascadia Mono" panose="020B0609020000020004" pitchFamily="49" charset="0"/>
              </a:rPr>
              <a:t>&lt;</a:t>
            </a:r>
            <a:r>
              <a:rPr lang="en-US" sz="1800">
                <a:solidFill>
                  <a:srgbClr val="A31515"/>
                </a:solidFill>
                <a:latin typeface="Cascadia Mono" panose="020B0609020000020004" pitchFamily="49" charset="0"/>
              </a:rPr>
              <a:t>Window</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xmlns</a:t>
            </a:r>
            <a:r>
              <a:rPr lang="en-US" sz="1800">
                <a:solidFill>
                  <a:srgbClr val="0000FF"/>
                </a:solidFill>
                <a:latin typeface="Cascadia Mono" panose="020B0609020000020004" pitchFamily="49" charset="0"/>
              </a:rPr>
              <a:t>="http://schemas.microsoft.com/</a:t>
            </a:r>
            <a:r>
              <a:rPr lang="en-US" sz="1800" err="1">
                <a:solidFill>
                  <a:srgbClr val="0000FF"/>
                </a:solidFill>
                <a:latin typeface="Cascadia Mono" panose="020B0609020000020004" pitchFamily="49" charset="0"/>
              </a:rPr>
              <a:t>winfx</a:t>
            </a:r>
            <a:r>
              <a:rPr lang="en-US" sz="1800">
                <a:solidFill>
                  <a:srgbClr val="0000FF"/>
                </a:solidFill>
                <a:latin typeface="Cascadia Mono" panose="020B0609020000020004" pitchFamily="49" charset="0"/>
              </a:rPr>
              <a:t>/2006/</a:t>
            </a:r>
            <a:r>
              <a:rPr lang="en-US" sz="1800" err="1">
                <a:solidFill>
                  <a:srgbClr val="0000FF"/>
                </a:solidFill>
                <a:latin typeface="Cascadia Mono" panose="020B0609020000020004" pitchFamily="49" charset="0"/>
              </a:rPr>
              <a:t>xaml</a:t>
            </a:r>
            <a:r>
              <a:rPr lang="en-US" sz="1800">
                <a:solidFill>
                  <a:srgbClr val="0000FF"/>
                </a:solidFill>
                <a:latin typeface="Cascadia Mono" panose="020B0609020000020004" pitchFamily="49" charset="0"/>
              </a:rPr>
              <a:t>/presentation"</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xmlns</a:t>
            </a:r>
            <a:r>
              <a:rPr lang="en-US" sz="1800" err="1">
                <a:solidFill>
                  <a:srgbClr val="0000FF"/>
                </a:solidFill>
                <a:latin typeface="Cascadia Mono" panose="020B0609020000020004" pitchFamily="49" charset="0"/>
              </a:rPr>
              <a:t>:</a:t>
            </a:r>
            <a:r>
              <a:rPr lang="en-US" sz="1800" err="1">
                <a:solidFill>
                  <a:srgbClr val="FF0000"/>
                </a:solidFill>
                <a:latin typeface="Cascadia Mono" panose="020B0609020000020004" pitchFamily="49" charset="0"/>
              </a:rPr>
              <a:t>x</a:t>
            </a:r>
            <a:r>
              <a:rPr lang="en-US" sz="1800">
                <a:solidFill>
                  <a:srgbClr val="0000FF"/>
                </a:solidFill>
                <a:latin typeface="Cascadia Mono" panose="020B0609020000020004" pitchFamily="49" charset="0"/>
              </a:rPr>
              <a:t>="http://schemas.microsoft.com/</a:t>
            </a:r>
            <a:r>
              <a:rPr lang="en-US" sz="1800" err="1">
                <a:solidFill>
                  <a:srgbClr val="0000FF"/>
                </a:solidFill>
                <a:latin typeface="Cascadia Mono" panose="020B0609020000020004" pitchFamily="49" charset="0"/>
              </a:rPr>
              <a:t>winfx</a:t>
            </a:r>
            <a:r>
              <a:rPr lang="en-US" sz="1800">
                <a:solidFill>
                  <a:srgbClr val="0000FF"/>
                </a:solidFill>
                <a:latin typeface="Cascadia Mono" panose="020B0609020000020004" pitchFamily="49" charset="0"/>
              </a:rPr>
              <a:t>/2006/</a:t>
            </a:r>
            <a:r>
              <a:rPr lang="en-US" sz="1800" err="1">
                <a:solidFill>
                  <a:srgbClr val="0000FF"/>
                </a:solidFill>
                <a:latin typeface="Cascadia Mono" panose="020B0609020000020004" pitchFamily="49" charset="0"/>
              </a:rPr>
              <a:t>xaml</a:t>
            </a:r>
            <a:r>
              <a:rPr lang="en-US" sz="1800">
                <a:solidFill>
                  <a:srgbClr val="0000FF"/>
                </a:solidFill>
                <a:latin typeface="Cascadia Mono" panose="020B0609020000020004" pitchFamily="49" charset="0"/>
              </a:rPr>
              <a: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xmlns</a:t>
            </a:r>
            <a:r>
              <a:rPr lang="en-US" sz="1800" err="1">
                <a:solidFill>
                  <a:srgbClr val="0000FF"/>
                </a:solidFill>
                <a:latin typeface="Cascadia Mono" panose="020B0609020000020004" pitchFamily="49" charset="0"/>
              </a:rPr>
              <a:t>:</a:t>
            </a:r>
            <a:r>
              <a:rPr lang="en-US" sz="1800" err="1">
                <a:solidFill>
                  <a:srgbClr val="FF0000"/>
                </a:solidFill>
                <a:latin typeface="Cascadia Mono" panose="020B0609020000020004" pitchFamily="49" charset="0"/>
              </a:rPr>
              <a:t>d</a:t>
            </a:r>
            <a:r>
              <a:rPr lang="en-US" sz="1800">
                <a:solidFill>
                  <a:srgbClr val="0000FF"/>
                </a:solidFill>
                <a:latin typeface="Cascadia Mono" panose="020B0609020000020004" pitchFamily="49" charset="0"/>
              </a:rPr>
              <a:t>="http://schemas.microsoft.com/expression/blend/2008"</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xmlns</a:t>
            </a:r>
            <a:r>
              <a:rPr lang="en-US" sz="1800" err="1">
                <a:solidFill>
                  <a:srgbClr val="0000FF"/>
                </a:solidFill>
                <a:latin typeface="Cascadia Mono" panose="020B0609020000020004" pitchFamily="49" charset="0"/>
              </a:rPr>
              <a:t>:</a:t>
            </a:r>
            <a:r>
              <a:rPr lang="en-US" sz="1800" err="1">
                <a:solidFill>
                  <a:srgbClr val="FF0000"/>
                </a:solidFill>
                <a:latin typeface="Cascadia Mono" panose="020B0609020000020004" pitchFamily="49" charset="0"/>
              </a:rPr>
              <a:t>mc</a:t>
            </a:r>
            <a:r>
              <a:rPr lang="en-US" sz="1800">
                <a:solidFill>
                  <a:srgbClr val="0000FF"/>
                </a:solidFill>
                <a:latin typeface="Cascadia Mono" panose="020B0609020000020004" pitchFamily="49" charset="0"/>
              </a:rPr>
              <a:t>="http://schemas.openxmlformats.org/markup-compatibility/2006"</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xmlns</a:t>
            </a:r>
            <a:r>
              <a:rPr lang="en-US" sz="1800" err="1">
                <a:solidFill>
                  <a:srgbClr val="0000FF"/>
                </a:solidFill>
                <a:latin typeface="Cascadia Mono" panose="020B0609020000020004" pitchFamily="49" charset="0"/>
              </a:rPr>
              <a:t>:</a:t>
            </a:r>
            <a:r>
              <a:rPr lang="en-US" sz="1800" err="1">
                <a:solidFill>
                  <a:srgbClr val="FF0000"/>
                </a:solidFill>
                <a:latin typeface="Cascadia Mono" panose="020B0609020000020004" pitchFamily="49" charset="0"/>
              </a:rPr>
              <a:t>local</a:t>
            </a:r>
            <a:r>
              <a:rPr lang="en-US" sz="1800">
                <a:solidFill>
                  <a:srgbClr val="0000FF"/>
                </a:solidFill>
                <a:latin typeface="Cascadia Mono" panose="020B0609020000020004" pitchFamily="49" charset="0"/>
              </a:rPr>
              <a:t>="clr-namespace:WpfApp2"</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xmlns</a:t>
            </a:r>
            <a:r>
              <a:rPr lang="en-US" sz="1800" err="1">
                <a:solidFill>
                  <a:srgbClr val="0000FF"/>
                </a:solidFill>
                <a:latin typeface="Cascadia Mono" panose="020B0609020000020004" pitchFamily="49" charset="0"/>
              </a:rPr>
              <a:t>:</a:t>
            </a:r>
            <a:r>
              <a:rPr lang="en-US" sz="1800" err="1">
                <a:solidFill>
                  <a:srgbClr val="FF0000"/>
                </a:solidFill>
                <a:latin typeface="Cascadia Mono" panose="020B0609020000020004" pitchFamily="49" charset="0"/>
              </a:rPr>
              <a:t>System</a:t>
            </a:r>
            <a:r>
              <a:rPr lang="en-US" sz="1800">
                <a:solidFill>
                  <a:srgbClr val="0000FF"/>
                </a:solidFill>
                <a:latin typeface="Cascadia Mono" panose="020B0609020000020004" pitchFamily="49" charset="0"/>
              </a:rPr>
              <a:t>="</a:t>
            </a:r>
            <a:r>
              <a:rPr lang="en-US" sz="1800" err="1">
                <a:solidFill>
                  <a:srgbClr val="0000FF"/>
                </a:solidFill>
                <a:latin typeface="Cascadia Mono" panose="020B0609020000020004" pitchFamily="49" charset="0"/>
              </a:rPr>
              <a:t>clr-namespace:System;assembly</a:t>
            </a:r>
            <a:r>
              <a:rPr lang="en-US" sz="1800">
                <a:solidFill>
                  <a:srgbClr val="0000FF"/>
                </a:solidFill>
                <a:latin typeface="Cascadia Mono" panose="020B0609020000020004" pitchFamily="49" charset="0"/>
              </a:rPr>
              <a:t>=</a:t>
            </a:r>
            <a:r>
              <a:rPr lang="en-US" sz="1800" err="1">
                <a:solidFill>
                  <a:srgbClr val="0000FF"/>
                </a:solidFill>
                <a:latin typeface="Cascadia Mono" panose="020B0609020000020004" pitchFamily="49" charset="0"/>
              </a:rPr>
              <a:t>mscorlib</a:t>
            </a:r>
            <a:r>
              <a:rPr lang="en-US" sz="1800">
                <a:solidFill>
                  <a:srgbClr val="0000FF"/>
                </a:solidFill>
                <a:latin typeface="Cascadia Mono" panose="020B0609020000020004" pitchFamily="49" charset="0"/>
              </a:rPr>
              <a:t>"</a:t>
            </a:r>
            <a:r>
              <a:rPr lang="en-US" sz="1800">
                <a:solidFill>
                  <a:srgbClr val="FF0000"/>
                </a:solidFill>
                <a:latin typeface="Cascadia Mono" panose="020B0609020000020004" pitchFamily="49" charset="0"/>
              </a:rPr>
              <a:t> x</a:t>
            </a:r>
            <a:r>
              <a:rPr lang="en-US" sz="1800">
                <a:solidFill>
                  <a:srgbClr val="0000FF"/>
                </a:solidFill>
                <a:latin typeface="Cascadia Mono" panose="020B0609020000020004" pitchFamily="49" charset="0"/>
              </a:rPr>
              <a:t>:</a:t>
            </a:r>
            <a:r>
              <a:rPr lang="en-US" sz="1800">
                <a:solidFill>
                  <a:srgbClr val="FF0000"/>
                </a:solidFill>
                <a:latin typeface="Cascadia Mono" panose="020B0609020000020004" pitchFamily="49" charset="0"/>
              </a:rPr>
              <a:t>Class</a:t>
            </a:r>
            <a:r>
              <a:rPr lang="en-US" sz="1800">
                <a:solidFill>
                  <a:srgbClr val="0000FF"/>
                </a:solidFill>
                <a:latin typeface="Cascadia Mono" panose="020B0609020000020004" pitchFamily="49" charset="0"/>
              </a:rPr>
              <a:t>="WpfApp2.MainWindow"</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mc</a:t>
            </a:r>
            <a:r>
              <a:rPr lang="en-US" sz="1800" err="1">
                <a:solidFill>
                  <a:srgbClr val="0000FF"/>
                </a:solidFill>
                <a:latin typeface="Cascadia Mono" panose="020B0609020000020004" pitchFamily="49" charset="0"/>
              </a:rPr>
              <a:t>:</a:t>
            </a:r>
            <a:r>
              <a:rPr lang="en-US" sz="1800" err="1">
                <a:solidFill>
                  <a:srgbClr val="FF0000"/>
                </a:solidFill>
                <a:latin typeface="Cascadia Mono" panose="020B0609020000020004" pitchFamily="49" charset="0"/>
              </a:rPr>
              <a:t>Ignorable</a:t>
            </a:r>
            <a:r>
              <a:rPr lang="en-US" sz="1800">
                <a:solidFill>
                  <a:srgbClr val="0000FF"/>
                </a:solidFill>
                <a:latin typeface="Cascadia Mono" panose="020B0609020000020004" pitchFamily="49" charset="0"/>
              </a:rPr>
              <a:t>="d"</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FF0000"/>
                </a:solidFill>
                <a:latin typeface="Cascadia Mono" panose="020B0609020000020004" pitchFamily="49" charset="0"/>
              </a:rPr>
              <a:t> Title</a:t>
            </a:r>
            <a:r>
              <a:rPr lang="en-US" sz="1800">
                <a:solidFill>
                  <a:srgbClr val="0000FF"/>
                </a:solidFill>
                <a:latin typeface="Cascadia Mono" panose="020B0609020000020004" pitchFamily="49" charset="0"/>
              </a:rPr>
              <a:t>="</a:t>
            </a:r>
            <a:r>
              <a:rPr lang="en-US" sz="1800" err="1">
                <a:solidFill>
                  <a:srgbClr val="0000FF"/>
                </a:solidFill>
                <a:latin typeface="Cascadia Mono" panose="020B0609020000020004" pitchFamily="49" charset="0"/>
              </a:rPr>
              <a:t>MainWindow</a:t>
            </a:r>
            <a:r>
              <a:rPr lang="en-US" sz="1800">
                <a:solidFill>
                  <a:srgbClr val="0000FF"/>
                </a:solidFill>
                <a:latin typeface="Cascadia Mono" panose="020B0609020000020004" pitchFamily="49" charset="0"/>
              </a:rPr>
              <a:t>"</a:t>
            </a:r>
            <a:r>
              <a:rPr lang="en-US" sz="1800">
                <a:solidFill>
                  <a:srgbClr val="FF0000"/>
                </a:solidFill>
                <a:latin typeface="Cascadia Mono" panose="020B0609020000020004" pitchFamily="49" charset="0"/>
              </a:rPr>
              <a:t> Height</a:t>
            </a:r>
            <a:r>
              <a:rPr lang="en-US" sz="1800">
                <a:solidFill>
                  <a:srgbClr val="0000FF"/>
                </a:solidFill>
                <a:latin typeface="Cascadia Mono" panose="020B0609020000020004" pitchFamily="49" charset="0"/>
              </a:rPr>
              <a:t>="480"</a:t>
            </a:r>
            <a:r>
              <a:rPr lang="en-US" sz="1800">
                <a:solidFill>
                  <a:srgbClr val="FF0000"/>
                </a:solidFill>
                <a:latin typeface="Cascadia Mono" panose="020B0609020000020004" pitchFamily="49" charset="0"/>
              </a:rPr>
              <a:t> Width</a:t>
            </a:r>
            <a:r>
              <a:rPr lang="en-US" sz="1800">
                <a:solidFill>
                  <a:srgbClr val="0000FF"/>
                </a:solidFill>
                <a:latin typeface="Cascadia Mono" panose="020B0609020000020004" pitchFamily="49" charset="0"/>
              </a:rPr>
              <a:t>="750"&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a:solidFill>
                  <a:srgbClr val="A31515"/>
                </a:solidFill>
                <a:latin typeface="Cascadia Mono" panose="020B0609020000020004" pitchFamily="49" charset="0"/>
              </a:rPr>
              <a:t>Grid</a:t>
            </a:r>
            <a:r>
              <a:rPr lang="en-US" sz="1800">
                <a:solidFill>
                  <a:srgbClr val="0000FF"/>
                </a:solidFill>
                <a:latin typeface="Cascadia Mono" panose="020B0609020000020004" pitchFamily="49" charset="0"/>
              </a:rPr>
              <a:t>&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a:solidFill>
                  <a:srgbClr val="A31515"/>
                </a:solidFill>
                <a:latin typeface="Cascadia Mono" panose="020B0609020000020004" pitchFamily="49" charset="0"/>
              </a:rPr>
              <a:t>Button</a:t>
            </a:r>
            <a:r>
              <a:rPr lang="en-US" sz="1800">
                <a:solidFill>
                  <a:srgbClr val="FF0000"/>
                </a:solidFill>
                <a:latin typeface="Cascadia Mono" panose="020B0609020000020004" pitchFamily="49" charset="0"/>
              </a:rPr>
              <a:t> Content</a:t>
            </a:r>
            <a:r>
              <a:rPr lang="en-US" sz="1800">
                <a:solidFill>
                  <a:srgbClr val="0000FF"/>
                </a:solidFill>
                <a:latin typeface="Cascadia Mono" panose="020B0609020000020004" pitchFamily="49" charset="0"/>
              </a:rPr>
              <a:t>="Button"</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HorizontalAlignment</a:t>
            </a:r>
            <a:r>
              <a:rPr lang="en-US" sz="1800">
                <a:solidFill>
                  <a:srgbClr val="0000FF"/>
                </a:solidFill>
                <a:latin typeface="Cascadia Mono" panose="020B0609020000020004" pitchFamily="49" charset="0"/>
              </a:rPr>
              <a:t>="Left"</a:t>
            </a:r>
            <a:r>
              <a:rPr lang="en-US" sz="1800">
                <a:solidFill>
                  <a:srgbClr val="FF0000"/>
                </a:solidFill>
                <a:latin typeface="Cascadia Mono" panose="020B0609020000020004" pitchFamily="49" charset="0"/>
              </a:rPr>
              <a:t> Margin</a:t>
            </a:r>
            <a:r>
              <a:rPr lang="en-US" sz="1800">
                <a:solidFill>
                  <a:srgbClr val="0000FF"/>
                </a:solidFill>
                <a:latin typeface="Cascadia Mono" panose="020B0609020000020004" pitchFamily="49" charset="0"/>
              </a:rPr>
              <a:t>="56,193,0,0"</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VerticalAlignment</a:t>
            </a:r>
            <a:r>
              <a:rPr lang="en-US" sz="1800">
                <a:solidFill>
                  <a:srgbClr val="0000FF"/>
                </a:solidFill>
                <a:latin typeface="Cascadia Mono" panose="020B0609020000020004" pitchFamily="49" charset="0"/>
              </a:rPr>
              <a:t>="Top"</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FontSize</a:t>
            </a:r>
            <a:r>
              <a:rPr lang="en-US" sz="1800">
                <a:solidFill>
                  <a:srgbClr val="0000FF"/>
                </a:solidFill>
                <a:latin typeface="Cascadia Mono" panose="020B0609020000020004" pitchFamily="49" charset="0"/>
              </a:rPr>
              <a:t>="20"/&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TextBox</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HorizontalAlignment</a:t>
            </a:r>
            <a:r>
              <a:rPr lang="en-US" sz="1800">
                <a:solidFill>
                  <a:srgbClr val="0000FF"/>
                </a:solidFill>
                <a:latin typeface="Cascadia Mono" panose="020B0609020000020004" pitchFamily="49" charset="0"/>
              </a:rPr>
              <a:t>="Left"</a:t>
            </a:r>
            <a:r>
              <a:rPr lang="en-US" sz="1800">
                <a:solidFill>
                  <a:srgbClr val="FF0000"/>
                </a:solidFill>
                <a:latin typeface="Cascadia Mono" panose="020B0609020000020004" pitchFamily="49" charset="0"/>
              </a:rPr>
              <a:t> Margin</a:t>
            </a:r>
            <a:r>
              <a:rPr lang="en-US" sz="1800">
                <a:solidFill>
                  <a:srgbClr val="0000FF"/>
                </a:solidFill>
                <a:latin typeface="Cascadia Mono" panose="020B0609020000020004" pitchFamily="49" charset="0"/>
              </a:rPr>
              <a:t>="56,75,0,0"</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TextWrapping</a:t>
            </a:r>
            <a:r>
              <a:rPr lang="en-US" sz="1800">
                <a:solidFill>
                  <a:srgbClr val="0000FF"/>
                </a:solidFill>
                <a:latin typeface="Cascadia Mono" panose="020B0609020000020004" pitchFamily="49" charset="0"/>
              </a:rPr>
              <a:t>="Wrap"</a:t>
            </a:r>
            <a:r>
              <a:rPr lang="en-US" sz="1800">
                <a:solidFill>
                  <a:srgbClr val="FF0000"/>
                </a:solidFill>
                <a:latin typeface="Cascadia Mono" panose="020B0609020000020004" pitchFamily="49" charset="0"/>
              </a:rPr>
              <a:t> Text</a:t>
            </a:r>
            <a:r>
              <a:rPr lang="en-US" sz="1800">
                <a:solidFill>
                  <a:srgbClr val="0000FF"/>
                </a:solidFill>
                <a:latin typeface="Cascadia Mono" panose="020B0609020000020004" pitchFamily="49" charset="0"/>
              </a:rPr>
              <a:t>="</a:t>
            </a:r>
            <a:r>
              <a:rPr lang="en-US" sz="1800" err="1">
                <a:solidFill>
                  <a:srgbClr val="0000FF"/>
                </a:solidFill>
                <a:latin typeface="Cascadia Mono" panose="020B0609020000020004" pitchFamily="49" charset="0"/>
              </a:rPr>
              <a:t>TextBox</a:t>
            </a:r>
            <a:r>
              <a:rPr lang="en-US" sz="1800">
                <a:solidFill>
                  <a:srgbClr val="0000FF"/>
                </a:solidFill>
                <a:latin typeface="Cascadia Mono" panose="020B0609020000020004" pitchFamily="49" charset="0"/>
              </a:rPr>
              <a:t>"</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VerticalAlignment</a:t>
            </a:r>
            <a:r>
              <a:rPr lang="en-US" sz="1800">
                <a:solidFill>
                  <a:srgbClr val="0000FF"/>
                </a:solidFill>
                <a:latin typeface="Cascadia Mono" panose="020B0609020000020004" pitchFamily="49" charset="0"/>
              </a:rPr>
              <a:t>="Top"</a:t>
            </a:r>
            <a:r>
              <a:rPr lang="en-US" sz="1800">
                <a:solidFill>
                  <a:srgbClr val="FF0000"/>
                </a:solidFill>
                <a:latin typeface="Cascadia Mono" panose="020B0609020000020004" pitchFamily="49" charset="0"/>
              </a:rPr>
              <a:t> Width</a:t>
            </a:r>
            <a:r>
              <a:rPr lang="en-US" sz="1800">
                <a:solidFill>
                  <a:srgbClr val="0000FF"/>
                </a:solidFill>
                <a:latin typeface="Cascadia Mono" panose="020B0609020000020004" pitchFamily="49" charset="0"/>
              </a:rPr>
              <a:t>="120"</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FontSize</a:t>
            </a:r>
            <a:r>
              <a:rPr lang="en-US" sz="1800">
                <a:solidFill>
                  <a:srgbClr val="0000FF"/>
                </a:solidFill>
                <a:latin typeface="Cascadia Mono" panose="020B0609020000020004" pitchFamily="49" charset="0"/>
              </a:rPr>
              <a:t>="20"/&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CheckBox</a:t>
            </a:r>
            <a:r>
              <a:rPr lang="en-US" sz="1800">
                <a:solidFill>
                  <a:srgbClr val="FF0000"/>
                </a:solidFill>
                <a:latin typeface="Cascadia Mono" panose="020B0609020000020004" pitchFamily="49" charset="0"/>
              </a:rPr>
              <a:t> Content</a:t>
            </a:r>
            <a:r>
              <a:rPr lang="en-US" sz="1800">
                <a:solidFill>
                  <a:srgbClr val="0000FF"/>
                </a:solidFill>
                <a:latin typeface="Cascadia Mono" panose="020B0609020000020004" pitchFamily="49" charset="0"/>
              </a:rPr>
              <a:t>="</a:t>
            </a:r>
            <a:r>
              <a:rPr lang="en-US" sz="1800" err="1">
                <a:solidFill>
                  <a:srgbClr val="0000FF"/>
                </a:solidFill>
                <a:latin typeface="Cascadia Mono" panose="020B0609020000020004" pitchFamily="49" charset="0"/>
              </a:rPr>
              <a:t>CheckBox</a:t>
            </a:r>
            <a:r>
              <a:rPr lang="en-US" sz="1800">
                <a:solidFill>
                  <a:srgbClr val="0000FF"/>
                </a:solidFill>
                <a:latin typeface="Cascadia Mono" panose="020B0609020000020004" pitchFamily="49" charset="0"/>
              </a:rPr>
              <a:t>"</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HorizontalAlignment</a:t>
            </a:r>
            <a:r>
              <a:rPr lang="en-US" sz="1800">
                <a:solidFill>
                  <a:srgbClr val="0000FF"/>
                </a:solidFill>
                <a:latin typeface="Cascadia Mono" panose="020B0609020000020004" pitchFamily="49" charset="0"/>
              </a:rPr>
              <a:t>="Left"</a:t>
            </a:r>
            <a:r>
              <a:rPr lang="en-US" sz="1800">
                <a:solidFill>
                  <a:srgbClr val="FF0000"/>
                </a:solidFill>
                <a:latin typeface="Cascadia Mono" panose="020B0609020000020004" pitchFamily="49" charset="0"/>
              </a:rPr>
              <a:t> Margin</a:t>
            </a:r>
            <a:r>
              <a:rPr lang="en-US" sz="1800">
                <a:solidFill>
                  <a:srgbClr val="0000FF"/>
                </a:solidFill>
                <a:latin typeface="Cascadia Mono" panose="020B0609020000020004" pitchFamily="49" charset="0"/>
              </a:rPr>
              <a:t>="56,303,0,0"</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VerticalAlignment</a:t>
            </a:r>
            <a:r>
              <a:rPr lang="en-US" sz="1800">
                <a:solidFill>
                  <a:srgbClr val="0000FF"/>
                </a:solidFill>
                <a:latin typeface="Cascadia Mono" panose="020B0609020000020004" pitchFamily="49" charset="0"/>
              </a:rPr>
              <a:t>="Top"</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FontSize</a:t>
            </a:r>
            <a:r>
              <a:rPr lang="en-US" sz="1800">
                <a:solidFill>
                  <a:srgbClr val="0000FF"/>
                </a:solidFill>
                <a:latin typeface="Cascadia Mono" panose="020B0609020000020004" pitchFamily="49" charset="0"/>
              </a:rPr>
              <a:t>="20"/&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RadioButton</a:t>
            </a:r>
            <a:r>
              <a:rPr lang="en-US" sz="1800">
                <a:solidFill>
                  <a:srgbClr val="FF0000"/>
                </a:solidFill>
                <a:latin typeface="Cascadia Mono" panose="020B0609020000020004" pitchFamily="49" charset="0"/>
              </a:rPr>
              <a:t> Content</a:t>
            </a:r>
            <a:r>
              <a:rPr lang="en-US" sz="1800">
                <a:solidFill>
                  <a:srgbClr val="0000FF"/>
                </a:solidFill>
                <a:latin typeface="Cascadia Mono" panose="020B0609020000020004" pitchFamily="49" charset="0"/>
              </a:rPr>
              <a:t>="</a:t>
            </a:r>
            <a:r>
              <a:rPr lang="en-US" sz="1800" err="1">
                <a:solidFill>
                  <a:srgbClr val="0000FF"/>
                </a:solidFill>
                <a:latin typeface="Cascadia Mono" panose="020B0609020000020004" pitchFamily="49" charset="0"/>
              </a:rPr>
              <a:t>RadioButton</a:t>
            </a:r>
            <a:r>
              <a:rPr lang="en-US" sz="1800">
                <a:solidFill>
                  <a:srgbClr val="0000FF"/>
                </a:solidFill>
                <a:latin typeface="Cascadia Mono" panose="020B0609020000020004" pitchFamily="49" charset="0"/>
              </a:rPr>
              <a:t>"</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HorizontalAlignment</a:t>
            </a:r>
            <a:r>
              <a:rPr lang="en-US" sz="1800">
                <a:solidFill>
                  <a:srgbClr val="0000FF"/>
                </a:solidFill>
                <a:latin typeface="Cascadia Mono" panose="020B0609020000020004" pitchFamily="49" charset="0"/>
              </a:rPr>
              <a:t>="Left"</a:t>
            </a:r>
            <a:r>
              <a:rPr lang="en-US" sz="1800">
                <a:solidFill>
                  <a:srgbClr val="FF0000"/>
                </a:solidFill>
                <a:latin typeface="Cascadia Mono" panose="020B0609020000020004" pitchFamily="49" charset="0"/>
              </a:rPr>
              <a:t> Margin</a:t>
            </a:r>
            <a:r>
              <a:rPr lang="en-US" sz="1800">
                <a:solidFill>
                  <a:srgbClr val="0000FF"/>
                </a:solidFill>
                <a:latin typeface="Cascadia Mono" panose="020B0609020000020004" pitchFamily="49" charset="0"/>
              </a:rPr>
              <a:t>="56,250,0,0"</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VerticalAlignment</a:t>
            </a:r>
            <a:r>
              <a:rPr lang="en-US" sz="1800">
                <a:solidFill>
                  <a:srgbClr val="0000FF"/>
                </a:solidFill>
                <a:latin typeface="Cascadia Mono" panose="020B0609020000020004" pitchFamily="49" charset="0"/>
              </a:rPr>
              <a:t>="Top"</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FontSize</a:t>
            </a:r>
            <a:r>
              <a:rPr lang="en-US" sz="1800">
                <a:solidFill>
                  <a:srgbClr val="0000FF"/>
                </a:solidFill>
                <a:latin typeface="Cascadia Mono" panose="020B0609020000020004" pitchFamily="49" charset="0"/>
              </a:rPr>
              <a:t>="20"/&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ComboBox</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HorizontalAlignment</a:t>
            </a:r>
            <a:r>
              <a:rPr lang="en-US" sz="1800">
                <a:solidFill>
                  <a:srgbClr val="0000FF"/>
                </a:solidFill>
                <a:latin typeface="Cascadia Mono" panose="020B0609020000020004" pitchFamily="49" charset="0"/>
              </a:rPr>
              <a:t>="Left"</a:t>
            </a:r>
            <a:r>
              <a:rPr lang="en-US" sz="1800">
                <a:solidFill>
                  <a:srgbClr val="FF0000"/>
                </a:solidFill>
                <a:latin typeface="Cascadia Mono" panose="020B0609020000020004" pitchFamily="49" charset="0"/>
              </a:rPr>
              <a:t> Margin</a:t>
            </a:r>
            <a:r>
              <a:rPr lang="en-US" sz="1800">
                <a:solidFill>
                  <a:srgbClr val="0000FF"/>
                </a:solidFill>
                <a:latin typeface="Cascadia Mono" panose="020B0609020000020004" pitchFamily="49" charset="0"/>
              </a:rPr>
              <a:t>="260,298,0,0"</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VerticalAlignment</a:t>
            </a:r>
            <a:r>
              <a:rPr lang="en-US" sz="1800">
                <a:solidFill>
                  <a:srgbClr val="0000FF"/>
                </a:solidFill>
                <a:latin typeface="Cascadia Mono" panose="020B0609020000020004" pitchFamily="49" charset="0"/>
              </a:rPr>
              <a:t>="Top"</a:t>
            </a:r>
            <a:r>
              <a:rPr lang="en-US" sz="1800">
                <a:solidFill>
                  <a:srgbClr val="FF0000"/>
                </a:solidFill>
                <a:latin typeface="Cascadia Mono" panose="020B0609020000020004" pitchFamily="49" charset="0"/>
              </a:rPr>
              <a:t> Width</a:t>
            </a:r>
            <a:r>
              <a:rPr lang="en-US" sz="1800">
                <a:solidFill>
                  <a:srgbClr val="0000FF"/>
                </a:solidFill>
                <a:latin typeface="Cascadia Mono" panose="020B0609020000020004" pitchFamily="49" charset="0"/>
              </a:rPr>
              <a:t>="140"</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FontSize</a:t>
            </a:r>
            <a:r>
              <a:rPr lang="en-US" sz="1800">
                <a:solidFill>
                  <a:srgbClr val="0000FF"/>
                </a:solidFill>
                <a:latin typeface="Cascadia Mono" panose="020B0609020000020004" pitchFamily="49" charset="0"/>
              </a:rPr>
              <a:t>="20"</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SelectedIndex</a:t>
            </a:r>
            <a:r>
              <a:rPr lang="en-US" sz="1800">
                <a:solidFill>
                  <a:srgbClr val="0000FF"/>
                </a:solidFill>
                <a:latin typeface="Cascadia Mono" panose="020B0609020000020004" pitchFamily="49" charset="0"/>
              </a:rPr>
              <a:t>="1"</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IsDropDownOpen</a:t>
            </a:r>
            <a:r>
              <a:rPr lang="en-US" sz="1800">
                <a:solidFill>
                  <a:srgbClr val="0000FF"/>
                </a:solidFill>
                <a:latin typeface="Cascadia Mono" panose="020B0609020000020004" pitchFamily="49" charset="0"/>
              </a:rPr>
              <a:t>="True"&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ComboBoxItem</a:t>
            </a:r>
            <a:r>
              <a:rPr lang="en-US" sz="1800">
                <a:solidFill>
                  <a:srgbClr val="FF0000"/>
                </a:solidFill>
                <a:latin typeface="Cascadia Mono" panose="020B0609020000020004" pitchFamily="49" charset="0"/>
              </a:rPr>
              <a:t> Content</a:t>
            </a:r>
            <a:r>
              <a:rPr lang="en-US" sz="1800">
                <a:solidFill>
                  <a:srgbClr val="0000FF"/>
                </a:solidFill>
                <a:latin typeface="Cascadia Mono" panose="020B0609020000020004" pitchFamily="49" charset="0"/>
              </a:rPr>
              <a:t>="ComboBox1"</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IsSelected</a:t>
            </a:r>
            <a:r>
              <a:rPr lang="en-US" sz="1800">
                <a:solidFill>
                  <a:srgbClr val="0000FF"/>
                </a:solidFill>
                <a:latin typeface="Cascadia Mono" panose="020B0609020000020004" pitchFamily="49" charset="0"/>
              </a:rPr>
              <a:t>="True"/&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ComboBoxItem</a:t>
            </a:r>
            <a:r>
              <a:rPr lang="en-US" sz="1800">
                <a:solidFill>
                  <a:srgbClr val="FF0000"/>
                </a:solidFill>
                <a:latin typeface="Cascadia Mono" panose="020B0609020000020004" pitchFamily="49" charset="0"/>
              </a:rPr>
              <a:t> Content</a:t>
            </a:r>
            <a:r>
              <a:rPr lang="en-US" sz="1800">
                <a:solidFill>
                  <a:srgbClr val="0000FF"/>
                </a:solidFill>
                <a:latin typeface="Cascadia Mono" panose="020B0609020000020004" pitchFamily="49" charset="0"/>
              </a:rPr>
              <a:t>="ComboBox2"/&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ComboBoxItem</a:t>
            </a:r>
            <a:r>
              <a:rPr lang="en-US" sz="1800">
                <a:solidFill>
                  <a:srgbClr val="FF0000"/>
                </a:solidFill>
                <a:latin typeface="Cascadia Mono" panose="020B0609020000020004" pitchFamily="49" charset="0"/>
              </a:rPr>
              <a:t> Content</a:t>
            </a:r>
            <a:r>
              <a:rPr lang="en-US" sz="1800">
                <a:solidFill>
                  <a:srgbClr val="0000FF"/>
                </a:solidFill>
                <a:latin typeface="Cascadia Mono" panose="020B0609020000020004" pitchFamily="49" charset="0"/>
              </a:rPr>
              <a:t>="ComboBox3"/&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ComboBox</a:t>
            </a:r>
            <a:r>
              <a:rPr lang="en-US" sz="1800">
                <a:solidFill>
                  <a:srgbClr val="0000FF"/>
                </a:solidFill>
                <a:latin typeface="Cascadia Mono" panose="020B0609020000020004" pitchFamily="49" charset="0"/>
              </a:rPr>
              <a:t>&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DatePicker</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HorizontalAlignment</a:t>
            </a:r>
            <a:r>
              <a:rPr lang="en-US" sz="1800">
                <a:solidFill>
                  <a:srgbClr val="0000FF"/>
                </a:solidFill>
                <a:latin typeface="Cascadia Mono" panose="020B0609020000020004" pitchFamily="49" charset="0"/>
              </a:rPr>
              <a:t>="Left"</a:t>
            </a:r>
            <a:r>
              <a:rPr lang="en-US" sz="1800">
                <a:solidFill>
                  <a:srgbClr val="FF0000"/>
                </a:solidFill>
                <a:latin typeface="Cascadia Mono" panose="020B0609020000020004" pitchFamily="49" charset="0"/>
              </a:rPr>
              <a:t> Margin</a:t>
            </a:r>
            <a:r>
              <a:rPr lang="en-US" sz="1800">
                <a:solidFill>
                  <a:srgbClr val="0000FF"/>
                </a:solidFill>
                <a:latin typeface="Cascadia Mono" panose="020B0609020000020004" pitchFamily="49" charset="0"/>
              </a:rPr>
              <a:t>="460,25,0,0"</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VerticalAlignment</a:t>
            </a:r>
            <a:r>
              <a:rPr lang="en-US" sz="1800">
                <a:solidFill>
                  <a:srgbClr val="0000FF"/>
                </a:solidFill>
                <a:latin typeface="Cascadia Mono" panose="020B0609020000020004" pitchFamily="49" charset="0"/>
              </a:rPr>
              <a:t>="Top"</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FontSize</a:t>
            </a:r>
            <a:r>
              <a:rPr lang="en-US" sz="1800">
                <a:solidFill>
                  <a:srgbClr val="0000FF"/>
                </a:solidFill>
                <a:latin typeface="Cascadia Mono" panose="020B0609020000020004" pitchFamily="49" charset="0"/>
              </a:rPr>
              <a:t>="20"</a:t>
            </a:r>
            <a:r>
              <a:rPr lang="en-US" sz="1800">
                <a:solidFill>
                  <a:srgbClr val="FF0000"/>
                </a:solidFill>
                <a:latin typeface="Cascadia Mono" panose="020B0609020000020004" pitchFamily="49" charset="0"/>
              </a:rPr>
              <a:t> Width</a:t>
            </a:r>
            <a:r>
              <a:rPr lang="en-US" sz="1800">
                <a:solidFill>
                  <a:srgbClr val="0000FF"/>
                </a:solidFill>
                <a:latin typeface="Cascadia Mono" panose="020B0609020000020004" pitchFamily="49" charset="0"/>
              </a:rPr>
              <a:t>="180"/&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PasswordBox</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HorizontalAlignment</a:t>
            </a:r>
            <a:r>
              <a:rPr lang="en-US" sz="1800">
                <a:solidFill>
                  <a:srgbClr val="0000FF"/>
                </a:solidFill>
                <a:latin typeface="Cascadia Mono" panose="020B0609020000020004" pitchFamily="49" charset="0"/>
              </a:rPr>
              <a:t>="Left"</a:t>
            </a:r>
            <a:r>
              <a:rPr lang="en-US" sz="1800">
                <a:solidFill>
                  <a:srgbClr val="FF0000"/>
                </a:solidFill>
                <a:latin typeface="Cascadia Mono" panose="020B0609020000020004" pitchFamily="49" charset="0"/>
              </a:rPr>
              <a:t> Margin</a:t>
            </a:r>
            <a:r>
              <a:rPr lang="en-US" sz="1800">
                <a:solidFill>
                  <a:srgbClr val="0000FF"/>
                </a:solidFill>
                <a:latin typeface="Cascadia Mono" panose="020B0609020000020004" pitchFamily="49" charset="0"/>
              </a:rPr>
              <a:t>="56,158,0,0"</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VerticalAlignment</a:t>
            </a:r>
            <a:r>
              <a:rPr lang="en-US" sz="1800">
                <a:solidFill>
                  <a:srgbClr val="0000FF"/>
                </a:solidFill>
                <a:latin typeface="Cascadia Mono" panose="020B0609020000020004" pitchFamily="49" charset="0"/>
              </a:rPr>
              <a:t>="Top"</a:t>
            </a:r>
            <a:r>
              <a:rPr lang="en-US" sz="1800">
                <a:solidFill>
                  <a:srgbClr val="FF0000"/>
                </a:solidFill>
                <a:latin typeface="Cascadia Mono" panose="020B0609020000020004" pitchFamily="49" charset="0"/>
              </a:rPr>
              <a:t> Width</a:t>
            </a:r>
            <a:r>
              <a:rPr lang="en-US" sz="1800">
                <a:solidFill>
                  <a:srgbClr val="0000FF"/>
                </a:solidFill>
                <a:latin typeface="Cascadia Mono" panose="020B0609020000020004" pitchFamily="49" charset="0"/>
              </a:rPr>
              <a:t>="120"</a:t>
            </a:r>
            <a:r>
              <a:rPr lang="en-US" sz="1800">
                <a:solidFill>
                  <a:srgbClr val="FF0000"/>
                </a:solidFill>
                <a:latin typeface="Cascadia Mono" panose="020B0609020000020004" pitchFamily="49" charset="0"/>
              </a:rPr>
              <a:t> Password</a:t>
            </a:r>
            <a:r>
              <a:rPr lang="en-US" sz="1800">
                <a:solidFill>
                  <a:srgbClr val="0000FF"/>
                </a:solidFill>
                <a:latin typeface="Cascadia Mono" panose="020B0609020000020004" pitchFamily="49" charset="0"/>
              </a:rPr>
              <a:t>="</a:t>
            </a:r>
            <a:r>
              <a:rPr lang="en-US" sz="1800" err="1">
                <a:solidFill>
                  <a:srgbClr val="0000FF"/>
                </a:solidFill>
                <a:latin typeface="Cascadia Mono" panose="020B0609020000020004" pitchFamily="49" charset="0"/>
              </a:rPr>
              <a:t>asdfasdf</a:t>
            </a:r>
            <a:r>
              <a:rPr lang="en-US" sz="1800">
                <a:solidFill>
                  <a:srgbClr val="0000FF"/>
                </a:solidFill>
                <a:latin typeface="Cascadia Mono" panose="020B0609020000020004" pitchFamily="49" charset="0"/>
              </a:rPr>
              <a:t>"/&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ListBox</a:t>
            </a:r>
            <a:r>
              <a:rPr lang="en-US" sz="1800">
                <a:solidFill>
                  <a:srgbClr val="FF0000"/>
                </a:solidFill>
                <a:latin typeface="Cascadia Mono" panose="020B0609020000020004" pitchFamily="49" charset="0"/>
              </a:rPr>
              <a:t> Margin</a:t>
            </a:r>
            <a:r>
              <a:rPr lang="en-US" sz="1800">
                <a:solidFill>
                  <a:srgbClr val="0000FF"/>
                </a:solidFill>
                <a:latin typeface="Cascadia Mono" panose="020B0609020000020004" pitchFamily="49" charset="0"/>
              </a:rPr>
              <a:t>="260,167,0,0"</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HorizontalAlignment</a:t>
            </a:r>
            <a:r>
              <a:rPr lang="en-US" sz="1800">
                <a:solidFill>
                  <a:srgbClr val="0000FF"/>
                </a:solidFill>
                <a:latin typeface="Cascadia Mono" panose="020B0609020000020004" pitchFamily="49" charset="0"/>
              </a:rPr>
              <a:t>="Left"</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VerticalAlignment</a:t>
            </a:r>
            <a:r>
              <a:rPr lang="en-US" sz="1800">
                <a:solidFill>
                  <a:srgbClr val="0000FF"/>
                </a:solidFill>
                <a:latin typeface="Cascadia Mono" panose="020B0609020000020004" pitchFamily="49" charset="0"/>
              </a:rPr>
              <a:t>="Top"</a:t>
            </a:r>
            <a:r>
              <a:rPr lang="en-US" sz="1800">
                <a:solidFill>
                  <a:srgbClr val="FF0000"/>
                </a:solidFill>
                <a:latin typeface="Cascadia Mono" panose="020B0609020000020004" pitchFamily="49" charset="0"/>
              </a:rPr>
              <a:t> Width</a:t>
            </a:r>
            <a:r>
              <a:rPr lang="en-US" sz="1800">
                <a:solidFill>
                  <a:srgbClr val="0000FF"/>
                </a:solidFill>
                <a:latin typeface="Cascadia Mono" panose="020B0609020000020004" pitchFamily="49" charset="0"/>
              </a:rPr>
              <a:t>="140"&gt;</a:t>
            </a:r>
            <a:endParaRPr lang="en-US" sz="1800">
              <a:solidFill>
                <a:srgbClr val="000000"/>
              </a:solidFill>
              <a:latin typeface="Cascadia Mono" panose="020B0609020000020004" pitchFamily="49" charset="0"/>
            </a:endParaRPr>
          </a:p>
          <a:p>
            <a:r>
              <a:rPr lang="pt-BR" sz="1800">
                <a:solidFill>
                  <a:srgbClr val="000000"/>
                </a:solidFill>
                <a:latin typeface="Cascadia Mono" panose="020B0609020000020004" pitchFamily="49" charset="0"/>
              </a:rPr>
              <a:t>            </a:t>
            </a:r>
            <a:r>
              <a:rPr lang="pt-BR" sz="1800">
                <a:solidFill>
                  <a:srgbClr val="0000FF"/>
                </a:solidFill>
                <a:latin typeface="Cascadia Mono" panose="020B0609020000020004" pitchFamily="49" charset="0"/>
              </a:rPr>
              <a:t>&lt;</a:t>
            </a:r>
            <a:r>
              <a:rPr lang="pt-BR" sz="1800">
                <a:solidFill>
                  <a:srgbClr val="A31515"/>
                </a:solidFill>
                <a:latin typeface="Cascadia Mono" panose="020B0609020000020004" pitchFamily="49" charset="0"/>
              </a:rPr>
              <a:t>ListBoxItem</a:t>
            </a:r>
            <a:r>
              <a:rPr lang="pt-BR" sz="1800">
                <a:solidFill>
                  <a:srgbClr val="FF0000"/>
                </a:solidFill>
                <a:latin typeface="Cascadia Mono" panose="020B0609020000020004" pitchFamily="49" charset="0"/>
              </a:rPr>
              <a:t> Content</a:t>
            </a:r>
            <a:r>
              <a:rPr lang="pt-BR" sz="1800">
                <a:solidFill>
                  <a:srgbClr val="0000FF"/>
                </a:solidFill>
                <a:latin typeface="Cascadia Mono" panose="020B0609020000020004" pitchFamily="49" charset="0"/>
              </a:rPr>
              <a:t>="ListBoxItem1"</a:t>
            </a:r>
            <a:r>
              <a:rPr lang="pt-BR" sz="1800">
                <a:solidFill>
                  <a:srgbClr val="FF0000"/>
                </a:solidFill>
                <a:latin typeface="Cascadia Mono" panose="020B0609020000020004" pitchFamily="49" charset="0"/>
              </a:rPr>
              <a:t> FontSize</a:t>
            </a:r>
            <a:r>
              <a:rPr lang="pt-BR" sz="1800">
                <a:solidFill>
                  <a:srgbClr val="0000FF"/>
                </a:solidFill>
                <a:latin typeface="Cascadia Mono" panose="020B0609020000020004" pitchFamily="49" charset="0"/>
              </a:rPr>
              <a:t>="18"/&gt;</a:t>
            </a:r>
            <a:endParaRPr lang="pt-BR" sz="1800">
              <a:solidFill>
                <a:srgbClr val="000000"/>
              </a:solidFill>
              <a:latin typeface="Cascadia Mono" panose="020B0609020000020004" pitchFamily="49" charset="0"/>
            </a:endParaRPr>
          </a:p>
          <a:p>
            <a:r>
              <a:rPr lang="pt-BR" sz="1800">
                <a:solidFill>
                  <a:srgbClr val="000000"/>
                </a:solidFill>
                <a:latin typeface="Cascadia Mono" panose="020B0609020000020004" pitchFamily="49" charset="0"/>
              </a:rPr>
              <a:t>            </a:t>
            </a:r>
            <a:r>
              <a:rPr lang="pt-BR" sz="1800">
                <a:solidFill>
                  <a:srgbClr val="0000FF"/>
                </a:solidFill>
                <a:latin typeface="Cascadia Mono" panose="020B0609020000020004" pitchFamily="49" charset="0"/>
              </a:rPr>
              <a:t>&lt;</a:t>
            </a:r>
            <a:r>
              <a:rPr lang="pt-BR" sz="1800">
                <a:solidFill>
                  <a:srgbClr val="A31515"/>
                </a:solidFill>
                <a:latin typeface="Cascadia Mono" panose="020B0609020000020004" pitchFamily="49" charset="0"/>
              </a:rPr>
              <a:t>ListBoxItem</a:t>
            </a:r>
            <a:r>
              <a:rPr lang="pt-BR" sz="1800">
                <a:solidFill>
                  <a:srgbClr val="FF0000"/>
                </a:solidFill>
                <a:latin typeface="Cascadia Mono" panose="020B0609020000020004" pitchFamily="49" charset="0"/>
              </a:rPr>
              <a:t> Content</a:t>
            </a:r>
            <a:r>
              <a:rPr lang="pt-BR" sz="1800">
                <a:solidFill>
                  <a:srgbClr val="0000FF"/>
                </a:solidFill>
                <a:latin typeface="Cascadia Mono" panose="020B0609020000020004" pitchFamily="49" charset="0"/>
              </a:rPr>
              <a:t>="ListBoxItem2"</a:t>
            </a:r>
            <a:r>
              <a:rPr lang="pt-BR" sz="1800">
                <a:solidFill>
                  <a:srgbClr val="FF0000"/>
                </a:solidFill>
                <a:latin typeface="Cascadia Mono" panose="020B0609020000020004" pitchFamily="49" charset="0"/>
              </a:rPr>
              <a:t> FontSize</a:t>
            </a:r>
            <a:r>
              <a:rPr lang="pt-BR" sz="1800">
                <a:solidFill>
                  <a:srgbClr val="0000FF"/>
                </a:solidFill>
                <a:latin typeface="Cascadia Mono" panose="020B0609020000020004" pitchFamily="49" charset="0"/>
              </a:rPr>
              <a:t>="18"/&gt;</a:t>
            </a:r>
            <a:endParaRPr lang="pt-BR" sz="1800">
              <a:solidFill>
                <a:srgbClr val="000000"/>
              </a:solidFill>
              <a:latin typeface="Cascadia Mono" panose="020B0609020000020004" pitchFamily="49" charset="0"/>
            </a:endParaRPr>
          </a:p>
          <a:p>
            <a:r>
              <a:rPr lang="pt-BR" sz="1800">
                <a:solidFill>
                  <a:srgbClr val="000000"/>
                </a:solidFill>
                <a:latin typeface="Cascadia Mono" panose="020B0609020000020004" pitchFamily="49" charset="0"/>
              </a:rPr>
              <a:t>            </a:t>
            </a:r>
            <a:r>
              <a:rPr lang="pt-BR" sz="1800">
                <a:solidFill>
                  <a:srgbClr val="0000FF"/>
                </a:solidFill>
                <a:latin typeface="Cascadia Mono" panose="020B0609020000020004" pitchFamily="49" charset="0"/>
              </a:rPr>
              <a:t>&lt;</a:t>
            </a:r>
            <a:r>
              <a:rPr lang="pt-BR" sz="1800">
                <a:solidFill>
                  <a:srgbClr val="A31515"/>
                </a:solidFill>
                <a:latin typeface="Cascadia Mono" panose="020B0609020000020004" pitchFamily="49" charset="0"/>
              </a:rPr>
              <a:t>ListBoxItem</a:t>
            </a:r>
            <a:r>
              <a:rPr lang="pt-BR" sz="1800">
                <a:solidFill>
                  <a:srgbClr val="FF0000"/>
                </a:solidFill>
                <a:latin typeface="Cascadia Mono" panose="020B0609020000020004" pitchFamily="49" charset="0"/>
              </a:rPr>
              <a:t> Content</a:t>
            </a:r>
            <a:r>
              <a:rPr lang="pt-BR" sz="1800">
                <a:solidFill>
                  <a:srgbClr val="0000FF"/>
                </a:solidFill>
                <a:latin typeface="Cascadia Mono" panose="020B0609020000020004" pitchFamily="49" charset="0"/>
              </a:rPr>
              <a:t>="ListBoxItem3"</a:t>
            </a:r>
            <a:r>
              <a:rPr lang="pt-BR" sz="1800">
                <a:solidFill>
                  <a:srgbClr val="FF0000"/>
                </a:solidFill>
                <a:latin typeface="Cascadia Mono" panose="020B0609020000020004" pitchFamily="49" charset="0"/>
              </a:rPr>
              <a:t> FontSize</a:t>
            </a:r>
            <a:r>
              <a:rPr lang="pt-BR" sz="1800">
                <a:solidFill>
                  <a:srgbClr val="0000FF"/>
                </a:solidFill>
                <a:latin typeface="Cascadia Mono" panose="020B0609020000020004" pitchFamily="49" charset="0"/>
              </a:rPr>
              <a:t>="18"/&gt;</a:t>
            </a:r>
            <a:endParaRPr lang="pt-BR"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ListBox</a:t>
            </a:r>
            <a:r>
              <a:rPr lang="en-US" sz="1800">
                <a:solidFill>
                  <a:srgbClr val="0000FF"/>
                </a:solidFill>
                <a:latin typeface="Cascadia Mono" panose="020B0609020000020004" pitchFamily="49" charset="0"/>
              </a:rPr>
              <a:t>&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a:solidFill>
                  <a:srgbClr val="A31515"/>
                </a:solidFill>
                <a:latin typeface="Cascadia Mono" panose="020B0609020000020004" pitchFamily="49" charset="0"/>
              </a:rPr>
              <a:t>Slider</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HorizontalAlignment</a:t>
            </a:r>
            <a:r>
              <a:rPr lang="en-US" sz="1800">
                <a:solidFill>
                  <a:srgbClr val="0000FF"/>
                </a:solidFill>
                <a:latin typeface="Cascadia Mono" panose="020B0609020000020004" pitchFamily="49" charset="0"/>
              </a:rPr>
              <a:t>="Left"</a:t>
            </a:r>
            <a:r>
              <a:rPr lang="en-US" sz="1800">
                <a:solidFill>
                  <a:srgbClr val="FF0000"/>
                </a:solidFill>
                <a:latin typeface="Cascadia Mono" panose="020B0609020000020004" pitchFamily="49" charset="0"/>
              </a:rPr>
              <a:t> Margin</a:t>
            </a:r>
            <a:r>
              <a:rPr lang="en-US" sz="1800">
                <a:solidFill>
                  <a:srgbClr val="0000FF"/>
                </a:solidFill>
                <a:latin typeface="Cascadia Mono" panose="020B0609020000020004" pitchFamily="49" charset="0"/>
              </a:rPr>
              <a:t>="49,346,0,0"</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VerticalAlignment</a:t>
            </a:r>
            <a:r>
              <a:rPr lang="en-US" sz="1800">
                <a:solidFill>
                  <a:srgbClr val="0000FF"/>
                </a:solidFill>
                <a:latin typeface="Cascadia Mono" panose="020B0609020000020004" pitchFamily="49" charset="0"/>
              </a:rPr>
              <a:t>="Top"</a:t>
            </a:r>
            <a:r>
              <a:rPr lang="en-US" sz="1800">
                <a:solidFill>
                  <a:srgbClr val="FF0000"/>
                </a:solidFill>
                <a:latin typeface="Cascadia Mono" panose="020B0609020000020004" pitchFamily="49" charset="0"/>
              </a:rPr>
              <a:t> Width</a:t>
            </a:r>
            <a:r>
              <a:rPr lang="en-US" sz="1800">
                <a:solidFill>
                  <a:srgbClr val="0000FF"/>
                </a:solidFill>
                <a:latin typeface="Cascadia Mono" panose="020B0609020000020004" pitchFamily="49" charset="0"/>
              </a:rPr>
              <a:t>="120"</a:t>
            </a:r>
            <a:r>
              <a:rPr lang="en-US" sz="1800">
                <a:solidFill>
                  <a:srgbClr val="FF0000"/>
                </a:solidFill>
                <a:latin typeface="Cascadia Mono" panose="020B0609020000020004" pitchFamily="49" charset="0"/>
              </a:rPr>
              <a:t> Value</a:t>
            </a:r>
            <a:r>
              <a:rPr lang="en-US" sz="1800">
                <a:solidFill>
                  <a:srgbClr val="0000FF"/>
                </a:solidFill>
                <a:latin typeface="Cascadia Mono" panose="020B0609020000020004" pitchFamily="49" charset="0"/>
              </a:rPr>
              <a:t>="4"/&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TextBlock</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HorizontalAlignment</a:t>
            </a:r>
            <a:r>
              <a:rPr lang="en-US" sz="1800">
                <a:solidFill>
                  <a:srgbClr val="0000FF"/>
                </a:solidFill>
                <a:latin typeface="Cascadia Mono" panose="020B0609020000020004" pitchFamily="49" charset="0"/>
              </a:rPr>
              <a:t>="Left"</a:t>
            </a:r>
            <a:r>
              <a:rPr lang="en-US" sz="1800">
                <a:solidFill>
                  <a:srgbClr val="FF0000"/>
                </a:solidFill>
                <a:latin typeface="Cascadia Mono" panose="020B0609020000020004" pitchFamily="49" charset="0"/>
              </a:rPr>
              <a:t> Margin</a:t>
            </a:r>
            <a:r>
              <a:rPr lang="en-US" sz="1800">
                <a:solidFill>
                  <a:srgbClr val="0000FF"/>
                </a:solidFill>
                <a:latin typeface="Cascadia Mono" panose="020B0609020000020004" pitchFamily="49" charset="0"/>
              </a:rPr>
              <a:t>="56,118,0,0"</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TextWrapping</a:t>
            </a:r>
            <a:r>
              <a:rPr lang="en-US" sz="1800">
                <a:solidFill>
                  <a:srgbClr val="0000FF"/>
                </a:solidFill>
                <a:latin typeface="Cascadia Mono" panose="020B0609020000020004" pitchFamily="49" charset="0"/>
              </a:rPr>
              <a:t>="Wrap"</a:t>
            </a:r>
            <a:r>
              <a:rPr lang="en-US" sz="1800">
                <a:solidFill>
                  <a:srgbClr val="FF0000"/>
                </a:solidFill>
                <a:latin typeface="Cascadia Mono" panose="020B0609020000020004" pitchFamily="49" charset="0"/>
              </a:rPr>
              <a:t> Text</a:t>
            </a:r>
            <a:r>
              <a:rPr lang="en-US" sz="1800">
                <a:solidFill>
                  <a:srgbClr val="0000FF"/>
                </a:solidFill>
                <a:latin typeface="Cascadia Mono" panose="020B0609020000020004" pitchFamily="49" charset="0"/>
              </a:rPr>
              <a:t>="</a:t>
            </a:r>
            <a:r>
              <a:rPr lang="en-US" sz="1800" err="1">
                <a:solidFill>
                  <a:srgbClr val="0000FF"/>
                </a:solidFill>
                <a:latin typeface="Cascadia Mono" panose="020B0609020000020004" pitchFamily="49" charset="0"/>
              </a:rPr>
              <a:t>TextBlock</a:t>
            </a:r>
            <a:r>
              <a:rPr lang="en-US" sz="1800">
                <a:solidFill>
                  <a:srgbClr val="0000FF"/>
                </a:solidFill>
                <a:latin typeface="Cascadia Mono" panose="020B0609020000020004" pitchFamily="49" charset="0"/>
              </a:rPr>
              <a:t>"</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VerticalAlignment</a:t>
            </a:r>
            <a:r>
              <a:rPr lang="en-US" sz="1800">
                <a:solidFill>
                  <a:srgbClr val="0000FF"/>
                </a:solidFill>
                <a:latin typeface="Cascadia Mono" panose="020B0609020000020004" pitchFamily="49" charset="0"/>
              </a:rPr>
              <a:t>="Top"</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FontSize</a:t>
            </a:r>
            <a:r>
              <a:rPr lang="en-US" sz="1800">
                <a:solidFill>
                  <a:srgbClr val="0000FF"/>
                </a:solidFill>
                <a:latin typeface="Cascadia Mono" panose="020B0609020000020004" pitchFamily="49" charset="0"/>
              </a:rPr>
              <a:t>="20"/&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a:solidFill>
                  <a:srgbClr val="A31515"/>
                </a:solidFill>
                <a:latin typeface="Cascadia Mono" panose="020B0609020000020004" pitchFamily="49" charset="0"/>
              </a:rPr>
              <a:t>Label</a:t>
            </a:r>
            <a:r>
              <a:rPr lang="en-US" sz="1800">
                <a:solidFill>
                  <a:srgbClr val="FF0000"/>
                </a:solidFill>
                <a:latin typeface="Cascadia Mono" panose="020B0609020000020004" pitchFamily="49" charset="0"/>
              </a:rPr>
              <a:t> Content</a:t>
            </a:r>
            <a:r>
              <a:rPr lang="en-US" sz="1800">
                <a:solidFill>
                  <a:srgbClr val="0000FF"/>
                </a:solidFill>
                <a:latin typeface="Cascadia Mono" panose="020B0609020000020004" pitchFamily="49" charset="0"/>
              </a:rPr>
              <a:t>="Label"</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HorizontalAlignment</a:t>
            </a:r>
            <a:r>
              <a:rPr lang="en-US" sz="1800">
                <a:solidFill>
                  <a:srgbClr val="0000FF"/>
                </a:solidFill>
                <a:latin typeface="Cascadia Mono" panose="020B0609020000020004" pitchFamily="49" charset="0"/>
              </a:rPr>
              <a:t>="Left"</a:t>
            </a:r>
            <a:r>
              <a:rPr lang="en-US" sz="1800">
                <a:solidFill>
                  <a:srgbClr val="FF0000"/>
                </a:solidFill>
                <a:latin typeface="Cascadia Mono" panose="020B0609020000020004" pitchFamily="49" charset="0"/>
              </a:rPr>
              <a:t> Margin</a:t>
            </a:r>
            <a:r>
              <a:rPr lang="en-US" sz="1800">
                <a:solidFill>
                  <a:srgbClr val="0000FF"/>
                </a:solidFill>
                <a:latin typeface="Cascadia Mono" panose="020B0609020000020004" pitchFamily="49" charset="0"/>
              </a:rPr>
              <a:t>="56,25,0,0"</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VerticalAlignment</a:t>
            </a:r>
            <a:r>
              <a:rPr lang="en-US" sz="1800">
                <a:solidFill>
                  <a:srgbClr val="0000FF"/>
                </a:solidFill>
                <a:latin typeface="Cascadia Mono" panose="020B0609020000020004" pitchFamily="49" charset="0"/>
              </a:rPr>
              <a:t>="Top"</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FontSize</a:t>
            </a:r>
            <a:r>
              <a:rPr lang="en-US" sz="1800">
                <a:solidFill>
                  <a:srgbClr val="0000FF"/>
                </a:solidFill>
                <a:latin typeface="Cascadia Mono" panose="020B0609020000020004" pitchFamily="49" charset="0"/>
              </a:rPr>
              <a:t>="20"/&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ProgressBar</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HorizontalAlignment</a:t>
            </a:r>
            <a:r>
              <a:rPr lang="en-US" sz="1800">
                <a:solidFill>
                  <a:srgbClr val="0000FF"/>
                </a:solidFill>
                <a:latin typeface="Cascadia Mono" panose="020B0609020000020004" pitchFamily="49" charset="0"/>
              </a:rPr>
              <a:t>="Left"</a:t>
            </a:r>
            <a:r>
              <a:rPr lang="en-US" sz="1800">
                <a:solidFill>
                  <a:srgbClr val="FF0000"/>
                </a:solidFill>
                <a:latin typeface="Cascadia Mono" panose="020B0609020000020004" pitchFamily="49" charset="0"/>
              </a:rPr>
              <a:t> Height</a:t>
            </a:r>
            <a:r>
              <a:rPr lang="en-US" sz="1800">
                <a:solidFill>
                  <a:srgbClr val="0000FF"/>
                </a:solidFill>
                <a:latin typeface="Cascadia Mono" panose="020B0609020000020004" pitchFamily="49" charset="0"/>
              </a:rPr>
              <a:t>="10"</a:t>
            </a:r>
            <a:r>
              <a:rPr lang="en-US" sz="1800">
                <a:solidFill>
                  <a:srgbClr val="FF0000"/>
                </a:solidFill>
                <a:latin typeface="Cascadia Mono" panose="020B0609020000020004" pitchFamily="49" charset="0"/>
              </a:rPr>
              <a:t> Margin</a:t>
            </a:r>
            <a:r>
              <a:rPr lang="en-US" sz="1800">
                <a:solidFill>
                  <a:srgbClr val="0000FF"/>
                </a:solidFill>
                <a:latin typeface="Cascadia Mono" panose="020B0609020000020004" pitchFamily="49" charset="0"/>
              </a:rPr>
              <a:t>="56,390,0,0"</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VerticalAlignment</a:t>
            </a:r>
            <a:r>
              <a:rPr lang="en-US" sz="1800">
                <a:solidFill>
                  <a:srgbClr val="0000FF"/>
                </a:solidFill>
                <a:latin typeface="Cascadia Mono" panose="020B0609020000020004" pitchFamily="49" charset="0"/>
              </a:rPr>
              <a:t>="Top"</a:t>
            </a:r>
            <a:r>
              <a:rPr lang="en-US" sz="1800">
                <a:solidFill>
                  <a:srgbClr val="FF0000"/>
                </a:solidFill>
                <a:latin typeface="Cascadia Mono" panose="020B0609020000020004" pitchFamily="49" charset="0"/>
              </a:rPr>
              <a:t> Width</a:t>
            </a:r>
            <a:r>
              <a:rPr lang="en-US" sz="1800">
                <a:solidFill>
                  <a:srgbClr val="0000FF"/>
                </a:solidFill>
                <a:latin typeface="Cascadia Mono" panose="020B0609020000020004" pitchFamily="49" charset="0"/>
              </a:rPr>
              <a:t>="100"</a:t>
            </a:r>
            <a:r>
              <a:rPr lang="en-US" sz="1800">
                <a:solidFill>
                  <a:srgbClr val="FF0000"/>
                </a:solidFill>
                <a:latin typeface="Cascadia Mono" panose="020B0609020000020004" pitchFamily="49" charset="0"/>
              </a:rPr>
              <a:t> Value</a:t>
            </a:r>
            <a:r>
              <a:rPr lang="en-US" sz="1800">
                <a:solidFill>
                  <a:srgbClr val="0000FF"/>
                </a:solidFill>
                <a:latin typeface="Cascadia Mono" panose="020B0609020000020004" pitchFamily="49" charset="0"/>
              </a:rPr>
              <a:t>="40"/&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a:solidFill>
                  <a:srgbClr val="A31515"/>
                </a:solidFill>
                <a:latin typeface="Cascadia Mono" panose="020B0609020000020004" pitchFamily="49" charset="0"/>
              </a:rPr>
              <a:t>Image</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HorizontalAlignment</a:t>
            </a:r>
            <a:r>
              <a:rPr lang="en-US" sz="1800">
                <a:solidFill>
                  <a:srgbClr val="0000FF"/>
                </a:solidFill>
                <a:latin typeface="Cascadia Mono" panose="020B0609020000020004" pitchFamily="49" charset="0"/>
              </a:rPr>
              <a:t>="Left"</a:t>
            </a:r>
            <a:r>
              <a:rPr lang="en-US" sz="1800">
                <a:solidFill>
                  <a:srgbClr val="FF0000"/>
                </a:solidFill>
                <a:latin typeface="Cascadia Mono" panose="020B0609020000020004" pitchFamily="49" charset="0"/>
              </a:rPr>
              <a:t> Height</a:t>
            </a:r>
            <a:r>
              <a:rPr lang="en-US" sz="1800">
                <a:solidFill>
                  <a:srgbClr val="0000FF"/>
                </a:solidFill>
                <a:latin typeface="Cascadia Mono" panose="020B0609020000020004" pitchFamily="49" charset="0"/>
              </a:rPr>
              <a:t>="107"</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VerticalAlignment</a:t>
            </a:r>
            <a:r>
              <a:rPr lang="en-US" sz="1800">
                <a:solidFill>
                  <a:srgbClr val="0000FF"/>
                </a:solidFill>
                <a:latin typeface="Cascadia Mono" panose="020B0609020000020004" pitchFamily="49" charset="0"/>
              </a:rPr>
              <a:t>="Top"</a:t>
            </a:r>
            <a:r>
              <a:rPr lang="en-US" sz="1800">
                <a:solidFill>
                  <a:srgbClr val="FF0000"/>
                </a:solidFill>
                <a:latin typeface="Cascadia Mono" panose="020B0609020000020004" pitchFamily="49" charset="0"/>
              </a:rPr>
              <a:t> Width</a:t>
            </a:r>
            <a:r>
              <a:rPr lang="en-US" sz="1800">
                <a:solidFill>
                  <a:srgbClr val="0000FF"/>
                </a:solidFill>
                <a:latin typeface="Cascadia Mono" panose="020B0609020000020004" pitchFamily="49" charset="0"/>
              </a:rPr>
              <a:t>="164"</a:t>
            </a:r>
            <a:r>
              <a:rPr lang="en-US" sz="1800">
                <a:solidFill>
                  <a:srgbClr val="FF0000"/>
                </a:solidFill>
                <a:latin typeface="Cascadia Mono" panose="020B0609020000020004" pitchFamily="49" charset="0"/>
              </a:rPr>
              <a:t> Source</a:t>
            </a:r>
            <a:r>
              <a:rPr lang="en-US" sz="1800">
                <a:solidFill>
                  <a:srgbClr val="0000FF"/>
                </a:solidFill>
                <a:latin typeface="Cascadia Mono" panose="020B0609020000020004" pitchFamily="49" charset="0"/>
              </a:rPr>
              <a:t>="C:\ps1\Gui\WpfApp2\VS.png"</a:t>
            </a:r>
            <a:r>
              <a:rPr lang="en-US" sz="1800">
                <a:solidFill>
                  <a:srgbClr val="FF0000"/>
                </a:solidFill>
                <a:latin typeface="Cascadia Mono" panose="020B0609020000020004" pitchFamily="49" charset="0"/>
              </a:rPr>
              <a:t> Margin</a:t>
            </a:r>
            <a:r>
              <a:rPr lang="en-US" sz="1800">
                <a:solidFill>
                  <a:srgbClr val="0000FF"/>
                </a:solidFill>
                <a:latin typeface="Cascadia Mono" panose="020B0609020000020004" pitchFamily="49" charset="0"/>
              </a:rPr>
              <a:t>="238,25,0,0"/&gt;</a:t>
            </a:r>
            <a:endParaRPr lang="en-US" sz="1800">
              <a:solidFill>
                <a:srgbClr val="000000"/>
              </a:solidFill>
              <a:latin typeface="Cascadia Mono" panose="020B0609020000020004" pitchFamily="49" charset="0"/>
            </a:endParaRPr>
          </a:p>
          <a:p>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TreeView</a:t>
            </a:r>
            <a:r>
              <a:rPr lang="en-US" sz="1800">
                <a:solidFill>
                  <a:srgbClr val="FF0000"/>
                </a:solidFill>
                <a:latin typeface="Cascadia Mono" panose="020B0609020000020004" pitchFamily="49" charset="0"/>
              </a:rPr>
              <a:t> Margin</a:t>
            </a:r>
            <a:r>
              <a:rPr lang="en-US" sz="1800">
                <a:solidFill>
                  <a:srgbClr val="0000FF"/>
                </a:solidFill>
                <a:latin typeface="Cascadia Mono" panose="020B0609020000020004" pitchFamily="49" charset="0"/>
              </a:rPr>
              <a:t>="460,249,0,0"</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HorizontalAlignment</a:t>
            </a:r>
            <a:r>
              <a:rPr lang="en-US" sz="1800">
                <a:solidFill>
                  <a:srgbClr val="0000FF"/>
                </a:solidFill>
                <a:latin typeface="Cascadia Mono" panose="020B0609020000020004" pitchFamily="49" charset="0"/>
              </a:rPr>
              <a:t>="Left"</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VerticalAlignment</a:t>
            </a:r>
            <a:r>
              <a:rPr lang="en-US" sz="1800">
                <a:solidFill>
                  <a:srgbClr val="0000FF"/>
                </a:solidFill>
                <a:latin typeface="Cascadia Mono" panose="020B0609020000020004" pitchFamily="49" charset="0"/>
              </a:rPr>
              <a:t>="Top"</a:t>
            </a:r>
            <a:r>
              <a:rPr lang="en-US" sz="1800">
                <a:solidFill>
                  <a:srgbClr val="FF0000"/>
                </a:solidFill>
                <a:latin typeface="Cascadia Mono" panose="020B0609020000020004" pitchFamily="49" charset="0"/>
              </a:rPr>
              <a:t> Width</a:t>
            </a:r>
            <a:r>
              <a:rPr lang="en-US" sz="1800">
                <a:solidFill>
                  <a:srgbClr val="0000FF"/>
                </a:solidFill>
                <a:latin typeface="Cascadia Mono" panose="020B0609020000020004" pitchFamily="49" charset="0"/>
              </a:rPr>
              <a:t>="234"</a:t>
            </a:r>
            <a:r>
              <a:rPr lang="en-US" sz="1800">
                <a:solidFill>
                  <a:srgbClr val="FF0000"/>
                </a:solidFill>
                <a:latin typeface="Cascadia Mono" panose="020B0609020000020004" pitchFamily="49" charset="0"/>
              </a:rPr>
              <a:t> Height</a:t>
            </a:r>
            <a:r>
              <a:rPr lang="en-US" sz="1800">
                <a:solidFill>
                  <a:srgbClr val="0000FF"/>
                </a:solidFill>
                <a:latin typeface="Cascadia Mono" panose="020B0609020000020004" pitchFamily="49" charset="0"/>
              </a:rPr>
              <a:t>="191" &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TreeViewItem</a:t>
            </a:r>
            <a:r>
              <a:rPr lang="en-US" sz="1800">
                <a:solidFill>
                  <a:srgbClr val="FF0000"/>
                </a:solidFill>
                <a:latin typeface="Cascadia Mono" panose="020B0609020000020004" pitchFamily="49" charset="0"/>
              </a:rPr>
              <a:t> Header</a:t>
            </a:r>
            <a:r>
              <a:rPr lang="en-US" sz="1800">
                <a:solidFill>
                  <a:srgbClr val="0000FF"/>
                </a:solidFill>
                <a:latin typeface="Cascadia Mono" panose="020B0609020000020004" pitchFamily="49" charset="0"/>
              </a:rPr>
              <a:t>="Tree View 1"</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IsExpanded</a:t>
            </a:r>
            <a:r>
              <a:rPr lang="en-US" sz="1800">
                <a:solidFill>
                  <a:srgbClr val="0000FF"/>
                </a:solidFill>
                <a:latin typeface="Cascadia Mono" panose="020B0609020000020004" pitchFamily="49" charset="0"/>
              </a:rPr>
              <a:t>="True"</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FontSize</a:t>
            </a:r>
            <a:r>
              <a:rPr lang="en-US" sz="1800">
                <a:solidFill>
                  <a:srgbClr val="0000FF"/>
                </a:solidFill>
                <a:latin typeface="Cascadia Mono" panose="020B0609020000020004" pitchFamily="49" charset="0"/>
              </a:rPr>
              <a:t>="18"&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TreeViewItem</a:t>
            </a:r>
            <a:r>
              <a:rPr lang="en-US" sz="1800">
                <a:solidFill>
                  <a:srgbClr val="FF0000"/>
                </a:solidFill>
                <a:latin typeface="Cascadia Mono" panose="020B0609020000020004" pitchFamily="49" charset="0"/>
              </a:rPr>
              <a:t> Header</a:t>
            </a:r>
            <a:r>
              <a:rPr lang="en-US" sz="1800">
                <a:solidFill>
                  <a:srgbClr val="0000FF"/>
                </a:solidFill>
                <a:latin typeface="Cascadia Mono" panose="020B0609020000020004" pitchFamily="49" charset="0"/>
              </a:rPr>
              <a:t>="Tree View 2"</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IsExpanded</a:t>
            </a:r>
            <a:r>
              <a:rPr lang="en-US" sz="1800">
                <a:solidFill>
                  <a:srgbClr val="0000FF"/>
                </a:solidFill>
                <a:latin typeface="Cascadia Mono" panose="020B0609020000020004" pitchFamily="49" charset="0"/>
              </a:rPr>
              <a:t>="True"</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FontSize</a:t>
            </a:r>
            <a:r>
              <a:rPr lang="en-US" sz="1800">
                <a:solidFill>
                  <a:srgbClr val="0000FF"/>
                </a:solidFill>
                <a:latin typeface="Cascadia Mono" panose="020B0609020000020004" pitchFamily="49" charset="0"/>
              </a:rPr>
              <a:t>="18"&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TreeViewItem</a:t>
            </a:r>
            <a:r>
              <a:rPr lang="en-US" sz="1800">
                <a:solidFill>
                  <a:srgbClr val="FF0000"/>
                </a:solidFill>
                <a:latin typeface="Cascadia Mono" panose="020B0609020000020004" pitchFamily="49" charset="0"/>
              </a:rPr>
              <a:t> Header</a:t>
            </a:r>
            <a:r>
              <a:rPr lang="en-US" sz="1800">
                <a:solidFill>
                  <a:srgbClr val="0000FF"/>
                </a:solidFill>
                <a:latin typeface="Cascadia Mono" panose="020B0609020000020004" pitchFamily="49" charset="0"/>
              </a:rPr>
              <a:t>="Tree View 3"</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FontSize</a:t>
            </a:r>
            <a:r>
              <a:rPr lang="en-US" sz="1800">
                <a:solidFill>
                  <a:srgbClr val="0000FF"/>
                </a:solidFill>
                <a:latin typeface="Cascadia Mono" panose="020B0609020000020004" pitchFamily="49" charset="0"/>
              </a:rPr>
              <a:t>="18"/&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TreeViewItem</a:t>
            </a:r>
            <a:r>
              <a:rPr lang="en-US" sz="1800">
                <a:solidFill>
                  <a:srgbClr val="FF0000"/>
                </a:solidFill>
                <a:latin typeface="Cascadia Mono" panose="020B0609020000020004" pitchFamily="49" charset="0"/>
              </a:rPr>
              <a:t> Header</a:t>
            </a:r>
            <a:r>
              <a:rPr lang="en-US" sz="1800">
                <a:solidFill>
                  <a:srgbClr val="0000FF"/>
                </a:solidFill>
                <a:latin typeface="Cascadia Mono" panose="020B0609020000020004" pitchFamily="49" charset="0"/>
              </a:rPr>
              <a:t>="Tree View 3"</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FontSize</a:t>
            </a:r>
            <a:r>
              <a:rPr lang="en-US" sz="1800">
                <a:solidFill>
                  <a:srgbClr val="0000FF"/>
                </a:solidFill>
                <a:latin typeface="Cascadia Mono" panose="020B0609020000020004" pitchFamily="49" charset="0"/>
              </a:rPr>
              <a:t>="18"/&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TreeViewItem</a:t>
            </a:r>
            <a:r>
              <a:rPr lang="en-US" sz="1800">
                <a:solidFill>
                  <a:srgbClr val="FF0000"/>
                </a:solidFill>
                <a:latin typeface="Cascadia Mono" panose="020B0609020000020004" pitchFamily="49" charset="0"/>
              </a:rPr>
              <a:t> Header</a:t>
            </a:r>
            <a:r>
              <a:rPr lang="en-US" sz="1800">
                <a:solidFill>
                  <a:srgbClr val="0000FF"/>
                </a:solidFill>
                <a:latin typeface="Cascadia Mono" panose="020B0609020000020004" pitchFamily="49" charset="0"/>
              </a:rPr>
              <a:t>="Tree View 3"</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FontSize</a:t>
            </a:r>
            <a:r>
              <a:rPr lang="en-US" sz="1800">
                <a:solidFill>
                  <a:srgbClr val="0000FF"/>
                </a:solidFill>
                <a:latin typeface="Cascadia Mono" panose="020B0609020000020004" pitchFamily="49" charset="0"/>
              </a:rPr>
              <a:t>="18"/&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TreeViewItem</a:t>
            </a:r>
            <a:r>
              <a:rPr lang="en-US" sz="1800">
                <a:solidFill>
                  <a:srgbClr val="0000FF"/>
                </a:solidFill>
                <a:latin typeface="Cascadia Mono" panose="020B0609020000020004" pitchFamily="49" charset="0"/>
              </a:rPr>
              <a:t>&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TreeViewItem</a:t>
            </a:r>
            <a:r>
              <a:rPr lang="en-US" sz="1800">
                <a:solidFill>
                  <a:srgbClr val="0000FF"/>
                </a:solidFill>
                <a:latin typeface="Cascadia Mono" panose="020B0609020000020004" pitchFamily="49" charset="0"/>
              </a:rPr>
              <a:t>&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TreeViewItem</a:t>
            </a:r>
            <a:r>
              <a:rPr lang="en-US" sz="1800">
                <a:solidFill>
                  <a:srgbClr val="FF0000"/>
                </a:solidFill>
                <a:latin typeface="Cascadia Mono" panose="020B0609020000020004" pitchFamily="49" charset="0"/>
              </a:rPr>
              <a:t> Header</a:t>
            </a:r>
            <a:r>
              <a:rPr lang="en-US" sz="1800">
                <a:solidFill>
                  <a:srgbClr val="0000FF"/>
                </a:solidFill>
                <a:latin typeface="Cascadia Mono" panose="020B0609020000020004" pitchFamily="49" charset="0"/>
              </a:rPr>
              <a:t>="Tree View 1"</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FontSize</a:t>
            </a:r>
            <a:r>
              <a:rPr lang="en-US" sz="1800">
                <a:solidFill>
                  <a:srgbClr val="0000FF"/>
                </a:solidFill>
                <a:latin typeface="Cascadia Mono" panose="020B0609020000020004" pitchFamily="49" charset="0"/>
              </a:rPr>
              <a:t>="18"/&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TreeViewItem</a:t>
            </a:r>
            <a:r>
              <a:rPr lang="en-US" sz="1800">
                <a:solidFill>
                  <a:srgbClr val="FF0000"/>
                </a:solidFill>
                <a:latin typeface="Cascadia Mono" panose="020B0609020000020004" pitchFamily="49" charset="0"/>
              </a:rPr>
              <a:t> Header</a:t>
            </a:r>
            <a:r>
              <a:rPr lang="en-US" sz="1800">
                <a:solidFill>
                  <a:srgbClr val="0000FF"/>
                </a:solidFill>
                <a:latin typeface="Cascadia Mono" panose="020B0609020000020004" pitchFamily="49" charset="0"/>
              </a:rPr>
              <a:t>="Tree View 1"</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FontSize</a:t>
            </a:r>
            <a:r>
              <a:rPr lang="en-US" sz="1800">
                <a:solidFill>
                  <a:srgbClr val="0000FF"/>
                </a:solidFill>
                <a:latin typeface="Cascadia Mono" panose="020B0609020000020004" pitchFamily="49" charset="0"/>
              </a:rPr>
              <a:t>="18"/&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err="1">
                <a:solidFill>
                  <a:srgbClr val="A31515"/>
                </a:solidFill>
                <a:latin typeface="Cascadia Mono" panose="020B0609020000020004" pitchFamily="49" charset="0"/>
              </a:rPr>
              <a:t>TreeView</a:t>
            </a:r>
            <a:r>
              <a:rPr lang="en-US" sz="1800">
                <a:solidFill>
                  <a:srgbClr val="0000FF"/>
                </a:solidFill>
                <a:latin typeface="Cascadia Mono" panose="020B0609020000020004" pitchFamily="49" charset="0"/>
              </a:rPr>
              <a:t>&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a:solidFill>
                  <a:srgbClr val="A31515"/>
                </a:solidFill>
                <a:latin typeface="Cascadia Mono" panose="020B0609020000020004" pitchFamily="49" charset="0"/>
              </a:rPr>
              <a:t>Calendar</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HorizontalAlignment</a:t>
            </a:r>
            <a:r>
              <a:rPr lang="en-US" sz="1800">
                <a:solidFill>
                  <a:srgbClr val="0000FF"/>
                </a:solidFill>
                <a:latin typeface="Cascadia Mono" panose="020B0609020000020004" pitchFamily="49" charset="0"/>
              </a:rPr>
              <a:t>="Left"</a:t>
            </a:r>
            <a:r>
              <a:rPr lang="en-US" sz="1800">
                <a:solidFill>
                  <a:srgbClr val="FF0000"/>
                </a:solidFill>
                <a:latin typeface="Cascadia Mono" panose="020B0609020000020004" pitchFamily="49" charset="0"/>
              </a:rPr>
              <a:t> Margin</a:t>
            </a:r>
            <a:r>
              <a:rPr lang="en-US" sz="1800">
                <a:solidFill>
                  <a:srgbClr val="0000FF"/>
                </a:solidFill>
                <a:latin typeface="Cascadia Mono" panose="020B0609020000020004" pitchFamily="49" charset="0"/>
              </a:rPr>
              <a:t>="450,64,0,0"</a:t>
            </a:r>
            <a:r>
              <a:rPr lang="en-US" sz="1800">
                <a:solidFill>
                  <a:srgbClr val="FF0000"/>
                </a:solidFill>
                <a:latin typeface="Cascadia Mono" panose="020B0609020000020004" pitchFamily="49" charset="0"/>
              </a:rPr>
              <a:t> </a:t>
            </a:r>
            <a:r>
              <a:rPr lang="en-US" sz="1800" err="1">
                <a:solidFill>
                  <a:srgbClr val="FF0000"/>
                </a:solidFill>
                <a:latin typeface="Cascadia Mono" panose="020B0609020000020004" pitchFamily="49" charset="0"/>
              </a:rPr>
              <a:t>VerticalAlignment</a:t>
            </a:r>
            <a:r>
              <a:rPr lang="en-US" sz="1800">
                <a:solidFill>
                  <a:srgbClr val="0000FF"/>
                </a:solidFill>
                <a:latin typeface="Cascadia Mono" panose="020B0609020000020004" pitchFamily="49" charset="0"/>
              </a:rPr>
              <a:t>="Top"</a:t>
            </a:r>
            <a:r>
              <a:rPr lang="en-US" sz="1800">
                <a:solidFill>
                  <a:srgbClr val="FF0000"/>
                </a:solidFill>
                <a:latin typeface="Cascadia Mono" panose="020B0609020000020004" pitchFamily="49" charset="0"/>
              </a:rPr>
              <a:t> Height</a:t>
            </a:r>
            <a:r>
              <a:rPr lang="en-US" sz="1800">
                <a:solidFill>
                  <a:srgbClr val="0000FF"/>
                </a:solidFill>
                <a:latin typeface="Cascadia Mono" panose="020B0609020000020004" pitchFamily="49" charset="0"/>
              </a:rPr>
              <a:t>="200"</a:t>
            </a:r>
            <a:r>
              <a:rPr lang="en-US" sz="1800">
                <a:solidFill>
                  <a:srgbClr val="FF0000"/>
                </a:solidFill>
                <a:latin typeface="Cascadia Mono" panose="020B0609020000020004" pitchFamily="49" charset="0"/>
              </a:rPr>
              <a:t> Width</a:t>
            </a:r>
            <a:r>
              <a:rPr lang="en-US" sz="1800">
                <a:solidFill>
                  <a:srgbClr val="0000FF"/>
                </a:solidFill>
                <a:latin typeface="Cascadia Mono" panose="020B0609020000020004" pitchFamily="49" charset="0"/>
              </a:rPr>
              <a:t>="200"/&gt;</a:t>
            </a:r>
            <a:endParaRPr lang="en-US" sz="1800">
              <a:solidFill>
                <a:srgbClr val="000000"/>
              </a:solidFill>
              <a:latin typeface="Cascadia Mono" panose="020B0609020000020004" pitchFamily="49" charset="0"/>
            </a:endParaRPr>
          </a:p>
          <a:p>
            <a:r>
              <a:rPr lang="en-US" sz="1800">
                <a:solidFill>
                  <a:srgbClr val="000000"/>
                </a:solidFill>
                <a:latin typeface="Cascadia Mono" panose="020B0609020000020004" pitchFamily="49" charset="0"/>
              </a:rPr>
              <a:t>    </a:t>
            </a:r>
            <a:r>
              <a:rPr lang="en-US" sz="1800">
                <a:solidFill>
                  <a:srgbClr val="0000FF"/>
                </a:solidFill>
                <a:latin typeface="Cascadia Mono" panose="020B0609020000020004" pitchFamily="49" charset="0"/>
              </a:rPr>
              <a:t>&lt;/</a:t>
            </a:r>
            <a:r>
              <a:rPr lang="en-US" sz="1800">
                <a:solidFill>
                  <a:srgbClr val="A31515"/>
                </a:solidFill>
                <a:latin typeface="Cascadia Mono" panose="020B0609020000020004" pitchFamily="49" charset="0"/>
              </a:rPr>
              <a:t>Grid</a:t>
            </a:r>
            <a:r>
              <a:rPr lang="en-US" sz="1800">
                <a:solidFill>
                  <a:srgbClr val="0000FF"/>
                </a:solidFill>
                <a:latin typeface="Cascadia Mono" panose="020B0609020000020004" pitchFamily="49" charset="0"/>
              </a:rPr>
              <a:t>&gt;</a:t>
            </a:r>
            <a:endParaRPr lang="en-US" sz="1800">
              <a:solidFill>
                <a:srgbClr val="000000"/>
              </a:solidFill>
              <a:latin typeface="Cascadia Mono" panose="020B0609020000020004" pitchFamily="49" charset="0"/>
            </a:endParaRPr>
          </a:p>
          <a:p>
            <a:r>
              <a:rPr lang="en-US" sz="1800">
                <a:solidFill>
                  <a:srgbClr val="0000FF"/>
                </a:solidFill>
                <a:latin typeface="Cascadia Mono" panose="020B0609020000020004" pitchFamily="49" charset="0"/>
              </a:rPr>
              <a:t>&lt;/</a:t>
            </a:r>
            <a:r>
              <a:rPr lang="en-US" sz="1800">
                <a:solidFill>
                  <a:srgbClr val="A31515"/>
                </a:solidFill>
                <a:latin typeface="Cascadia Mono" panose="020B0609020000020004" pitchFamily="49" charset="0"/>
              </a:rPr>
              <a:t>Window</a:t>
            </a:r>
            <a:r>
              <a:rPr lang="en-US" sz="1800">
                <a:solidFill>
                  <a:srgbClr val="0000FF"/>
                </a:solidFill>
                <a:latin typeface="Cascadia Mono" panose="020B0609020000020004" pitchFamily="49" charset="0"/>
              </a:rPr>
              <a:t>&gt;</a:t>
            </a:r>
          </a:p>
          <a:p>
            <a:endParaRPr lang="en-US" sz="1800">
              <a:solidFill>
                <a:srgbClr val="0000FF"/>
              </a:solidFill>
              <a:latin typeface="Cascadia Mono" panose="020B0609020000020004" pitchFamily="49" charset="0"/>
            </a:endParaRPr>
          </a:p>
          <a:p>
            <a:r>
              <a:rPr lang="en-US" sz="1800">
                <a:solidFill>
                  <a:srgbClr val="0000FF"/>
                </a:solidFill>
                <a:latin typeface="Cascadia Mono" panose="020B0609020000020004" pitchFamily="49" charset="0"/>
              </a:rPr>
              <a:t>##### End XAML Code #####</a:t>
            </a:r>
            <a:endParaRPr lang="en-US"/>
          </a:p>
        </p:txBody>
      </p:sp>
      <p:sp>
        <p:nvSpPr>
          <p:cNvPr id="4" name="Fußzeilenplatzhalt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Foliennummernplatzhalter 4"/>
          <p:cNvSpPr>
            <a:spLocks noGrp="1"/>
          </p:cNvSpPr>
          <p:nvPr>
            <p:ph type="sldNum" sz="quarter" idx="5"/>
          </p:nvPr>
        </p:nvSpPr>
        <p:spPr/>
        <p:txBody>
          <a:bodyPr/>
          <a:lstStyle/>
          <a:p>
            <a:fld id="{2910A2D9-F064-48EF-99CB-A51108C1AB40}" type="slidenum">
              <a:rPr lang="en-US" noProof="0" smtClean="0"/>
              <a:t>19</a:t>
            </a:fld>
            <a:endParaRPr lang="en-US" noProof="0"/>
          </a:p>
        </p:txBody>
      </p:sp>
    </p:spTree>
    <p:extLst>
      <p:ext uri="{BB962C8B-B14F-4D97-AF65-F5344CB8AC3E}">
        <p14:creationId xmlns:p14="http://schemas.microsoft.com/office/powerpoint/2010/main" val="2411780180"/>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12/12/2022</a:t>
            </a:fld>
            <a:endParaRPr lang="en-US"/>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303785304"/>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sp>
      <p:sp>
        <p:nvSpPr>
          <p:cNvPr id="4" name="Fußzeilenplatzhalt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Foliennummernplatzhalter 4"/>
          <p:cNvSpPr>
            <a:spLocks noGrp="1"/>
          </p:cNvSpPr>
          <p:nvPr>
            <p:ph type="sldNum" sz="quarter" idx="5"/>
          </p:nvPr>
        </p:nvSpPr>
        <p:spPr/>
        <p:txBody>
          <a:bodyPr/>
          <a:lstStyle/>
          <a:p>
            <a:fld id="{2910A2D9-F064-48EF-99CB-A51108C1AB40}" type="slidenum">
              <a:rPr lang="en-US" noProof="0" smtClean="0"/>
              <a:t>20</a:t>
            </a:fld>
            <a:endParaRPr lang="en-US" noProof="0"/>
          </a:p>
        </p:txBody>
      </p:sp>
    </p:spTree>
    <p:extLst>
      <p:ext uri="{BB962C8B-B14F-4D97-AF65-F5344CB8AC3E}">
        <p14:creationId xmlns:p14="http://schemas.microsoft.com/office/powerpoint/2010/main" val="1909993259"/>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B4008EB6-D09E-4580-8CD6-DDB14511944F}" type="slidenum">
              <a:rPr lang="en-US"/>
              <a:pPr/>
              <a:t>22</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996109674"/>
      </p:ext>
    </p:extLst>
  </p:cSld>
  <p:clrMapOvr>
    <a:masterClrMapping/>
  </p:clrMapOvr>
</p:notes>
</file>

<file path=ppt/notesSlides/notesSlide2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3</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12/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033067490"/>
      </p:ext>
    </p:extLst>
  </p:cSld>
  <p:clrMapOvr>
    <a:masterClrMapping/>
  </p:clrMapOvr>
</p:notes>
</file>

<file path=ppt/notesSlides/notesSlide2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4</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12/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823759471"/>
      </p:ext>
    </p:extLst>
  </p:cSld>
  <p:clrMapOvr>
    <a:masterClrMapping/>
  </p:clrMapOvr>
</p:notes>
</file>

<file path=ppt/notesSlides/notesSlide2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5</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12/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817621913"/>
      </p:ext>
    </p:extLst>
  </p:cSld>
  <p:clrMapOvr>
    <a:masterClrMapping/>
  </p:clrMapOvr>
</p:notes>
</file>

<file path=ppt/notesSlides/notesSlide2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6</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12/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81980417"/>
      </p:ext>
    </p:extLst>
  </p:cSld>
  <p:clrMapOvr>
    <a:masterClrMapping/>
  </p:clrMapOvr>
</p:notes>
</file>

<file path=ppt/notesSlides/notesSlide2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7</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12/12/2022</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265385710"/>
      </p:ext>
    </p:extLst>
  </p:cSld>
  <p:clrMapOvr>
    <a:masterClrMapping/>
  </p:clrMapOvr>
</p:notes>
</file>

<file path=ppt/notesSlides/notesSlide2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Only XAML files are used from Visual Studio</a:t>
            </a:r>
          </a:p>
          <a:p>
            <a:pPr marL="171450" indent="-171450">
              <a:buFontTx/>
              <a:buChar char="-"/>
            </a:pPr>
            <a:r>
              <a:rPr lang="en-US"/>
              <a:t>Name controls in XAML to easily use in PowerShell</a:t>
            </a:r>
          </a:p>
          <a:p>
            <a:pPr marL="171450" indent="-171450">
              <a:buFontTx/>
              <a:buChar char="-"/>
            </a:pPr>
            <a:r>
              <a:rPr lang="en-US"/>
              <a:t>Plan the GUI layout prior to creating in Visual Studio</a:t>
            </a:r>
          </a:p>
          <a:p>
            <a:pPr marL="171450" indent="-171450">
              <a:buFontTx/>
              <a:buChar char="-"/>
            </a:pPr>
            <a:endParaRPr lang="en-US"/>
          </a:p>
          <a:p>
            <a:pPr marL="171450" indent="-171450">
              <a:buFontTx/>
              <a:buChar char="-"/>
            </a:pPr>
            <a:endParaRPr lang="en-US"/>
          </a:p>
          <a:p>
            <a:pPr marL="171450" indent="-171450">
              <a:buFontTx/>
              <a:buChar char="-"/>
            </a:pPr>
            <a:endParaRPr lang="en-US"/>
          </a:p>
          <a:p>
            <a:pPr marL="171450" indent="-171450">
              <a:buFontTx/>
              <a:buChar char="-"/>
            </a:pPr>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28</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2096811318"/>
      </p:ext>
    </p:extLst>
  </p:cSld>
  <p:clrMapOvr>
    <a:masterClrMapping/>
  </p:clrMapOvr>
</p:notes>
</file>

<file path=ppt/notesSlides/notesSlide2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Only XAML files are used from Visual Studio</a:t>
            </a:r>
          </a:p>
          <a:p>
            <a:pPr marL="171450" indent="-171450">
              <a:buFontTx/>
              <a:buChar char="-"/>
            </a:pPr>
            <a:r>
              <a:rPr lang="en-US"/>
              <a:t>Name controls in XAML to easily use in PowerShell</a:t>
            </a:r>
          </a:p>
          <a:p>
            <a:pPr marL="171450" indent="-171450">
              <a:buFontTx/>
              <a:buChar char="-"/>
            </a:pPr>
            <a:r>
              <a:rPr lang="en-US"/>
              <a:t>Plan the GUI layout prior to creating in Visual Studio</a:t>
            </a:r>
          </a:p>
          <a:p>
            <a:pPr marL="171450" indent="-171450">
              <a:buFontTx/>
              <a:buChar char="-"/>
            </a:pPr>
            <a:endParaRPr lang="en-US"/>
          </a:p>
          <a:p>
            <a:pPr marL="171450" indent="-171450">
              <a:buFontTx/>
              <a:buChar char="-"/>
            </a:pPr>
            <a:endParaRPr lang="en-US"/>
          </a:p>
          <a:p>
            <a:pPr marL="171450" indent="-171450">
              <a:buFontTx/>
              <a:buChar char="-"/>
            </a:pPr>
            <a:endParaRPr lang="en-US"/>
          </a:p>
          <a:p>
            <a:pPr marL="171450" indent="-171450">
              <a:buFontTx/>
              <a:buChar char="-"/>
            </a:pPr>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29</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3960340152"/>
      </p:ext>
    </p:extLst>
  </p:cSld>
  <p:clrMapOvr>
    <a:masterClrMapping/>
  </p:clrMapOvr>
</p:notes>
</file>

<file path=ppt/notesSlides/notesSlide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a:t>
            </a:fld>
            <a:endParaRPr lang="en-US"/>
          </a:p>
        </p:txBody>
      </p:sp>
      <p:sp>
        <p:nvSpPr>
          <p:cNvPr id="3" name="Date Placeholder 2">
            <a:extLst>
              <a:ext uri="{FF2B5EF4-FFF2-40B4-BE49-F238E27FC236}">
                <a16:creationId xmlns:a16="http://schemas.microsoft.com/office/drawing/2014/main" id="{CF6F6BE6-3C4D-4FD7-AB80-C43A68FDE6FB}"/>
              </a:ext>
            </a:extLst>
          </p:cNvPr>
          <p:cNvSpPr>
            <a:spLocks noGrp="1"/>
          </p:cNvSpPr>
          <p:nvPr>
            <p:ph type="dt" idx="12"/>
          </p:nvPr>
        </p:nvSpPr>
        <p:spPr/>
        <p:txBody>
          <a:bodyPr/>
          <a:lstStyle/>
          <a:p>
            <a:fld id="{6B04ED27-04CC-48BC-859C-3E4A3D15A6DF}" type="datetime1">
              <a:rPr lang="en-US"/>
              <a:t>12/12/2022</a:t>
            </a:fld>
            <a:endParaRPr lang="en-US"/>
          </a:p>
        </p:txBody>
      </p:sp>
      <p:sp>
        <p:nvSpPr>
          <p:cNvPr id="10" name="Slide Image Placeholder 9">
            <a:extLst>
              <a:ext uri="{FF2B5EF4-FFF2-40B4-BE49-F238E27FC236}">
                <a16:creationId xmlns:a16="http://schemas.microsoft.com/office/drawing/2014/main" id="{DCC766BB-84D2-43E9-9435-C97994397C5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C9491343-8D0A-49E1-9C41-9405EFB743E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A3E9B84D-630D-4FEE-91E9-0E1DDBEEFED7}"/>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850887922"/>
      </p:ext>
    </p:extLst>
  </p:cSld>
  <p:clrMapOvr>
    <a:masterClrMapping/>
  </p:clrMapOvr>
</p:notes>
</file>

<file path=ppt/notesSlides/notesSlide3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irst, we add the assemblies needed to the </a:t>
            </a:r>
            <a:r>
              <a:rPr lang="en-US" err="1"/>
              <a:t>runspace</a:t>
            </a:r>
            <a:r>
              <a:rPr lang="en-US"/>
              <a:t>:</a:t>
            </a:r>
            <a:endParaRPr lang="en-US" sz="900">
              <a:solidFill>
                <a:srgbClr val="98FB98"/>
              </a:solidFill>
              <a:latin typeface="Lucida Console" panose="020B0609040504020204" pitchFamily="49" charset="0"/>
            </a:endParaRPr>
          </a:p>
          <a:p>
            <a:pPr marL="0" indent="0">
              <a:buNone/>
            </a:pPr>
            <a:r>
              <a:rPr lang="en-US" sz="900" b="1">
                <a:solidFill>
                  <a:srgbClr val="E0FFFF"/>
                </a:solidFill>
                <a:latin typeface="Lucida Console" panose="020B0609040504020204" pitchFamily="49" charset="0"/>
              </a:rPr>
              <a:t>Add-Type</a:t>
            </a:r>
            <a:r>
              <a:rPr lang="en-US" sz="900" b="1">
                <a:solidFill>
                  <a:srgbClr val="F5F5F5"/>
                </a:solidFill>
                <a:latin typeface="Lucida Console" panose="020B0609040504020204" pitchFamily="49" charset="0"/>
              </a:rPr>
              <a:t> </a:t>
            </a:r>
            <a:r>
              <a:rPr lang="en-US" sz="900" b="1">
                <a:solidFill>
                  <a:srgbClr val="FFE4B5"/>
                </a:solidFill>
                <a:latin typeface="Lucida Console" panose="020B0609040504020204" pitchFamily="49" charset="0"/>
              </a:rPr>
              <a:t>-</a:t>
            </a:r>
            <a:r>
              <a:rPr lang="en-US" sz="900" b="1" err="1">
                <a:solidFill>
                  <a:srgbClr val="FFE4B5"/>
                </a:solidFill>
                <a:latin typeface="Lucida Console" panose="020B0609040504020204" pitchFamily="49" charset="0"/>
              </a:rPr>
              <a:t>AssemblyName</a:t>
            </a:r>
            <a:r>
              <a:rPr lang="en-US" sz="900" b="1">
                <a:solidFill>
                  <a:srgbClr val="F5F5F5"/>
                </a:solidFill>
                <a:latin typeface="Lucida Console" panose="020B0609040504020204" pitchFamily="49" charset="0"/>
              </a:rPr>
              <a:t> </a:t>
            </a:r>
            <a:r>
              <a:rPr lang="en-US" sz="900" b="1" err="1">
                <a:solidFill>
                  <a:srgbClr val="EE82EE"/>
                </a:solidFill>
                <a:latin typeface="Lucida Console" panose="020B0609040504020204" pitchFamily="49" charset="0"/>
              </a:rPr>
              <a:t>PresentationCore</a:t>
            </a:r>
            <a:r>
              <a:rPr lang="en-US" sz="900" b="1" err="1">
                <a:solidFill>
                  <a:srgbClr val="D3D3D3"/>
                </a:solidFill>
                <a:latin typeface="Lucida Console" panose="020B0609040504020204" pitchFamily="49" charset="0"/>
              </a:rPr>
              <a:t>,</a:t>
            </a:r>
            <a:r>
              <a:rPr lang="en-US" sz="900" b="1" err="1">
                <a:solidFill>
                  <a:srgbClr val="EE82EE"/>
                </a:solidFill>
                <a:latin typeface="Lucida Console" panose="020B0609040504020204" pitchFamily="49" charset="0"/>
              </a:rPr>
              <a:t>PresentationFramework</a:t>
            </a:r>
            <a:endParaRPr lang="en-US" sz="900" b="1">
              <a:solidFill>
                <a:srgbClr val="F5F5F5"/>
              </a:solidFill>
              <a:latin typeface="Lucida Console" panose="020B0609040504020204" pitchFamily="49" charset="0"/>
            </a:endParaRPr>
          </a:p>
          <a:p>
            <a:endParaRPr lang="en-US"/>
          </a:p>
          <a:p>
            <a:r>
              <a:rPr lang="en-US"/>
              <a:t>Next, we remove the unwanted headers:</a:t>
            </a:r>
          </a:p>
          <a:p>
            <a:pPr marL="0" indent="0">
              <a:buNone/>
            </a:pPr>
            <a:r>
              <a:rPr lang="en-US" sz="900" b="1">
                <a:solidFill>
                  <a:srgbClr val="FF4500"/>
                </a:solidFill>
                <a:latin typeface="Lucida Console" panose="020B0609040504020204" pitchFamily="49" charset="0"/>
              </a:rPr>
              <a:t>$XAML</a:t>
            </a:r>
            <a:r>
              <a:rPr lang="en-US" sz="900" b="1">
                <a:solidFill>
                  <a:srgbClr val="D3D3D3"/>
                </a:solidFill>
                <a:latin typeface="Lucida Console" panose="020B0609040504020204" pitchFamily="49" charset="0"/>
              </a:rPr>
              <a:t>=</a:t>
            </a:r>
            <a:r>
              <a:rPr lang="en-US" sz="900" b="1">
                <a:solidFill>
                  <a:srgbClr val="F5F5F5"/>
                </a:solidFill>
                <a:latin typeface="Lucida Console" panose="020B0609040504020204" pitchFamily="49" charset="0"/>
              </a:rPr>
              <a:t> </a:t>
            </a:r>
            <a:r>
              <a:rPr lang="en-US" sz="900" b="1">
                <a:solidFill>
                  <a:srgbClr val="D3D3D3"/>
                </a:solidFill>
                <a:latin typeface="Lucida Console" panose="020B0609040504020204" pitchFamily="49" charset="0"/>
              </a:rPr>
              <a:t>[</a:t>
            </a:r>
            <a:r>
              <a:rPr lang="en-US" sz="900" b="1">
                <a:solidFill>
                  <a:srgbClr val="8FBC8F"/>
                </a:solidFill>
                <a:latin typeface="Lucida Console" panose="020B0609040504020204" pitchFamily="49" charset="0"/>
              </a:rPr>
              <a:t>XML</a:t>
            </a:r>
            <a:r>
              <a:rPr lang="en-US" sz="900" b="1">
                <a:solidFill>
                  <a:srgbClr val="D3D3D3"/>
                </a:solidFill>
                <a:latin typeface="Lucida Console" panose="020B0609040504020204" pitchFamily="49" charset="0"/>
              </a:rPr>
              <a:t>]</a:t>
            </a:r>
            <a:r>
              <a:rPr lang="en-US" sz="900" b="1">
                <a:solidFill>
                  <a:srgbClr val="F5F5F5"/>
                </a:solidFill>
                <a:latin typeface="Lucida Console" panose="020B0609040504020204" pitchFamily="49" charset="0"/>
              </a:rPr>
              <a:t>(</a:t>
            </a:r>
            <a:r>
              <a:rPr lang="en-US" sz="900" b="1">
                <a:solidFill>
                  <a:srgbClr val="E0FFFF"/>
                </a:solidFill>
                <a:latin typeface="Lucida Console" panose="020B0609040504020204" pitchFamily="49" charset="0"/>
              </a:rPr>
              <a:t>Get-Content</a:t>
            </a:r>
            <a:r>
              <a:rPr lang="en-US" sz="900" b="1">
                <a:solidFill>
                  <a:srgbClr val="F5F5F5"/>
                </a:solidFill>
                <a:latin typeface="Lucida Console" panose="020B0609040504020204" pitchFamily="49" charset="0"/>
              </a:rPr>
              <a:t> </a:t>
            </a:r>
            <a:r>
              <a:rPr lang="en-US" sz="900" b="1">
                <a:solidFill>
                  <a:srgbClr val="FFE4B5"/>
                </a:solidFill>
                <a:latin typeface="Lucida Console" panose="020B0609040504020204" pitchFamily="49" charset="0"/>
              </a:rPr>
              <a:t>-Path</a:t>
            </a:r>
            <a:r>
              <a:rPr lang="en-US" sz="900" b="1">
                <a:solidFill>
                  <a:srgbClr val="F5F5F5"/>
                </a:solidFill>
                <a:latin typeface="Lucida Console" panose="020B0609040504020204" pitchFamily="49" charset="0"/>
              </a:rPr>
              <a:t> </a:t>
            </a:r>
            <a:r>
              <a:rPr lang="en-US" sz="900" b="1">
                <a:solidFill>
                  <a:srgbClr val="DB7093"/>
                </a:solidFill>
                <a:latin typeface="Lucida Console" panose="020B0609040504020204" pitchFamily="49" charset="0"/>
              </a:rPr>
              <a:t>'$</a:t>
            </a:r>
            <a:r>
              <a:rPr lang="en-US" sz="900" b="1" err="1">
                <a:solidFill>
                  <a:srgbClr val="DB7093"/>
                </a:solidFill>
                <a:latin typeface="Lucida Console" panose="020B0609040504020204" pitchFamily="49" charset="0"/>
              </a:rPr>
              <a:t>PSScriptRoot</a:t>
            </a:r>
            <a:r>
              <a:rPr lang="en-US" sz="900" b="1">
                <a:solidFill>
                  <a:srgbClr val="DB7093"/>
                </a:solidFill>
                <a:latin typeface="Lucida Console" panose="020B0609040504020204" pitchFamily="49" charset="0"/>
              </a:rPr>
              <a:t>\</a:t>
            </a:r>
            <a:r>
              <a:rPr lang="en-US" sz="900" b="1" err="1">
                <a:solidFill>
                  <a:srgbClr val="DB7093"/>
                </a:solidFill>
                <a:latin typeface="Lucida Console" panose="020B0609040504020204" pitchFamily="49" charset="0"/>
              </a:rPr>
              <a:t>MainWindow.xaml</a:t>
            </a:r>
            <a:r>
              <a:rPr lang="en-US" sz="900" b="1">
                <a:solidFill>
                  <a:srgbClr val="DB7093"/>
                </a:solidFill>
                <a:latin typeface="Lucida Console" panose="020B0609040504020204" pitchFamily="49" charset="0"/>
              </a:rPr>
              <a:t>'</a:t>
            </a:r>
            <a:r>
              <a:rPr lang="en-US" sz="900" b="1">
                <a:solidFill>
                  <a:srgbClr val="F5F5F5"/>
                </a:solidFill>
                <a:latin typeface="Lucida Console" panose="020B0609040504020204" pitchFamily="49" charset="0"/>
              </a:rPr>
              <a:t> </a:t>
            </a:r>
            <a:r>
              <a:rPr lang="en-US" sz="900" b="1">
                <a:solidFill>
                  <a:srgbClr val="FFE4B5"/>
                </a:solidFill>
                <a:latin typeface="Lucida Console" panose="020B0609040504020204" pitchFamily="49" charset="0"/>
              </a:rPr>
              <a:t>-Raw</a:t>
            </a:r>
            <a:r>
              <a:rPr lang="en-US" sz="900" b="1">
                <a:solidFill>
                  <a:srgbClr val="F5F5F5"/>
                </a:solidFill>
                <a:latin typeface="Lucida Console" panose="020B0609040504020204" pitchFamily="49" charset="0"/>
              </a:rPr>
              <a:t>)</a:t>
            </a:r>
          </a:p>
          <a:p>
            <a:pPr marL="0" indent="0">
              <a:buNone/>
            </a:pPr>
            <a:r>
              <a:rPr lang="en-US" sz="900" b="1">
                <a:solidFill>
                  <a:srgbClr val="FF4500"/>
                </a:solidFill>
                <a:latin typeface="Lucida Console" panose="020B0609040504020204" pitchFamily="49" charset="0"/>
              </a:rPr>
              <a:t>$</a:t>
            </a:r>
            <a:r>
              <a:rPr lang="en-US" sz="900" b="1" err="1">
                <a:solidFill>
                  <a:srgbClr val="FF4500"/>
                </a:solidFill>
                <a:latin typeface="Lucida Console" panose="020B0609040504020204" pitchFamily="49" charset="0"/>
              </a:rPr>
              <a:t>XAML</a:t>
            </a:r>
            <a:r>
              <a:rPr lang="en-US" sz="900" b="1" err="1">
                <a:solidFill>
                  <a:srgbClr val="D3D3D3"/>
                </a:solidFill>
                <a:latin typeface="Lucida Console" panose="020B0609040504020204" pitchFamily="49" charset="0"/>
              </a:rPr>
              <a:t>.</a:t>
            </a:r>
            <a:r>
              <a:rPr lang="en-US" sz="900" b="1" err="1">
                <a:solidFill>
                  <a:srgbClr val="F5F5F5"/>
                </a:solidFill>
                <a:latin typeface="Lucida Console" panose="020B0609040504020204" pitchFamily="49" charset="0"/>
              </a:rPr>
              <a:t>Window</a:t>
            </a:r>
            <a:r>
              <a:rPr lang="en-US" sz="900" b="1" err="1">
                <a:solidFill>
                  <a:srgbClr val="D3D3D3"/>
                </a:solidFill>
                <a:latin typeface="Lucida Console" panose="020B0609040504020204" pitchFamily="49" charset="0"/>
              </a:rPr>
              <a:t>.</a:t>
            </a:r>
            <a:r>
              <a:rPr lang="en-US" sz="900" b="1" err="1">
                <a:solidFill>
                  <a:srgbClr val="F5F5F5"/>
                </a:solidFill>
                <a:latin typeface="Lucida Console" panose="020B0609040504020204" pitchFamily="49" charset="0"/>
              </a:rPr>
              <a:t>RemoveAttribute</a:t>
            </a:r>
            <a:r>
              <a:rPr lang="en-US" sz="900" b="1">
                <a:solidFill>
                  <a:srgbClr val="F5F5F5"/>
                </a:solidFill>
                <a:latin typeface="Lucida Console" panose="020B0609040504020204" pitchFamily="49" charset="0"/>
              </a:rPr>
              <a:t>(</a:t>
            </a:r>
            <a:r>
              <a:rPr lang="en-US" sz="900" b="1">
                <a:solidFill>
                  <a:srgbClr val="DB7093"/>
                </a:solidFill>
                <a:latin typeface="Lucida Console" panose="020B0609040504020204" pitchFamily="49" charset="0"/>
              </a:rPr>
              <a:t>'</a:t>
            </a:r>
            <a:r>
              <a:rPr lang="en-US" sz="900" b="1" err="1">
                <a:solidFill>
                  <a:srgbClr val="DB7093"/>
                </a:solidFill>
                <a:latin typeface="Lucida Console" panose="020B0609040504020204" pitchFamily="49" charset="0"/>
              </a:rPr>
              <a:t>x:Class</a:t>
            </a:r>
            <a:r>
              <a:rPr lang="en-US" sz="900" b="1">
                <a:solidFill>
                  <a:srgbClr val="DB7093"/>
                </a:solidFill>
                <a:latin typeface="Lucida Console" panose="020B0609040504020204" pitchFamily="49" charset="0"/>
              </a:rPr>
              <a:t>'</a:t>
            </a:r>
            <a:r>
              <a:rPr lang="en-US" sz="900" b="1">
                <a:solidFill>
                  <a:srgbClr val="F5F5F5"/>
                </a:solidFill>
                <a:latin typeface="Lucida Console" panose="020B0609040504020204" pitchFamily="49" charset="0"/>
              </a:rPr>
              <a:t>)</a:t>
            </a:r>
          </a:p>
          <a:p>
            <a:pPr marL="0" indent="0">
              <a:buNone/>
            </a:pPr>
            <a:r>
              <a:rPr lang="en-US" sz="900" b="1">
                <a:solidFill>
                  <a:srgbClr val="FF4500"/>
                </a:solidFill>
                <a:latin typeface="Lucida Console" panose="020B0609040504020204" pitchFamily="49" charset="0"/>
              </a:rPr>
              <a:t>$</a:t>
            </a:r>
            <a:r>
              <a:rPr lang="en-US" sz="900" b="1" err="1">
                <a:solidFill>
                  <a:srgbClr val="FF4500"/>
                </a:solidFill>
                <a:latin typeface="Lucida Console" panose="020B0609040504020204" pitchFamily="49" charset="0"/>
              </a:rPr>
              <a:t>XAML</a:t>
            </a:r>
            <a:r>
              <a:rPr lang="en-US" sz="900" b="1" err="1">
                <a:solidFill>
                  <a:srgbClr val="D3D3D3"/>
                </a:solidFill>
                <a:latin typeface="Lucida Console" panose="020B0609040504020204" pitchFamily="49" charset="0"/>
              </a:rPr>
              <a:t>.</a:t>
            </a:r>
            <a:r>
              <a:rPr lang="en-US" sz="900" b="1" err="1">
                <a:solidFill>
                  <a:srgbClr val="F5F5F5"/>
                </a:solidFill>
                <a:latin typeface="Lucida Console" panose="020B0609040504020204" pitchFamily="49" charset="0"/>
              </a:rPr>
              <a:t>Window</a:t>
            </a:r>
            <a:r>
              <a:rPr lang="en-US" sz="900" b="1" err="1">
                <a:solidFill>
                  <a:srgbClr val="D3D3D3"/>
                </a:solidFill>
                <a:latin typeface="Lucida Console" panose="020B0609040504020204" pitchFamily="49" charset="0"/>
              </a:rPr>
              <a:t>.</a:t>
            </a:r>
            <a:r>
              <a:rPr lang="en-US" sz="900" b="1" err="1">
                <a:solidFill>
                  <a:srgbClr val="F5F5F5"/>
                </a:solidFill>
                <a:latin typeface="Lucida Console" panose="020B0609040504020204" pitchFamily="49" charset="0"/>
              </a:rPr>
              <a:t>RemoveAttribute</a:t>
            </a:r>
            <a:r>
              <a:rPr lang="en-US" sz="900" b="1">
                <a:solidFill>
                  <a:srgbClr val="F5F5F5"/>
                </a:solidFill>
                <a:latin typeface="Lucida Console" panose="020B0609040504020204" pitchFamily="49" charset="0"/>
              </a:rPr>
              <a:t>(</a:t>
            </a:r>
            <a:r>
              <a:rPr lang="en-US" sz="900" b="1">
                <a:solidFill>
                  <a:srgbClr val="DB7093"/>
                </a:solidFill>
                <a:latin typeface="Lucida Console" panose="020B0609040504020204" pitchFamily="49" charset="0"/>
              </a:rPr>
              <a:t>'</a:t>
            </a:r>
            <a:r>
              <a:rPr lang="en-US" sz="900" b="1" err="1">
                <a:solidFill>
                  <a:srgbClr val="DB7093"/>
                </a:solidFill>
                <a:latin typeface="Lucida Console" panose="020B0609040504020204" pitchFamily="49" charset="0"/>
              </a:rPr>
              <a:t>xmlns:local</a:t>
            </a:r>
            <a:r>
              <a:rPr lang="en-US" sz="900" b="1">
                <a:solidFill>
                  <a:srgbClr val="DB7093"/>
                </a:solidFill>
                <a:latin typeface="Lucida Console" panose="020B0609040504020204" pitchFamily="49" charset="0"/>
              </a:rPr>
              <a:t>'</a:t>
            </a:r>
            <a:r>
              <a:rPr lang="en-US" sz="900" b="1">
                <a:solidFill>
                  <a:srgbClr val="F5F5F5"/>
                </a:solidFill>
                <a:latin typeface="Lucida Console" panose="020B0609040504020204" pitchFamily="49" charset="0"/>
              </a:rPr>
              <a:t>)</a:t>
            </a:r>
          </a:p>
          <a:p>
            <a:pPr marL="0" indent="0">
              <a:buNone/>
            </a:pPr>
            <a:r>
              <a:rPr lang="en-US" sz="900" b="1">
                <a:solidFill>
                  <a:srgbClr val="FF4500"/>
                </a:solidFill>
                <a:latin typeface="Lucida Console" panose="020B0609040504020204" pitchFamily="49" charset="0"/>
              </a:rPr>
              <a:t>$</a:t>
            </a:r>
            <a:r>
              <a:rPr lang="en-US" sz="900" b="1" err="1">
                <a:solidFill>
                  <a:srgbClr val="FF4500"/>
                </a:solidFill>
                <a:latin typeface="Lucida Console" panose="020B0609040504020204" pitchFamily="49" charset="0"/>
              </a:rPr>
              <a:t>XAML</a:t>
            </a:r>
            <a:r>
              <a:rPr lang="en-US" sz="900" b="1" err="1">
                <a:solidFill>
                  <a:srgbClr val="D3D3D3"/>
                </a:solidFill>
                <a:latin typeface="Lucida Console" panose="020B0609040504020204" pitchFamily="49" charset="0"/>
              </a:rPr>
              <a:t>.</a:t>
            </a:r>
            <a:r>
              <a:rPr lang="en-US" sz="900" b="1" err="1">
                <a:solidFill>
                  <a:srgbClr val="F5F5F5"/>
                </a:solidFill>
                <a:latin typeface="Lucida Console" panose="020B0609040504020204" pitchFamily="49" charset="0"/>
              </a:rPr>
              <a:t>Window</a:t>
            </a:r>
            <a:r>
              <a:rPr lang="en-US" sz="900" b="1" err="1">
                <a:solidFill>
                  <a:srgbClr val="D3D3D3"/>
                </a:solidFill>
                <a:latin typeface="Lucida Console" panose="020B0609040504020204" pitchFamily="49" charset="0"/>
              </a:rPr>
              <a:t>.</a:t>
            </a:r>
            <a:r>
              <a:rPr lang="en-US" sz="900" b="1" err="1">
                <a:solidFill>
                  <a:srgbClr val="F5F5F5"/>
                </a:solidFill>
                <a:latin typeface="Lucida Console" panose="020B0609040504020204" pitchFamily="49" charset="0"/>
              </a:rPr>
              <a:t>RemoveAttribute</a:t>
            </a:r>
            <a:r>
              <a:rPr lang="en-US" sz="900" b="1">
                <a:solidFill>
                  <a:srgbClr val="F5F5F5"/>
                </a:solidFill>
                <a:latin typeface="Lucida Console" panose="020B0609040504020204" pitchFamily="49" charset="0"/>
              </a:rPr>
              <a:t>(</a:t>
            </a:r>
            <a:r>
              <a:rPr lang="en-US" sz="900" b="1">
                <a:solidFill>
                  <a:srgbClr val="DB7093"/>
                </a:solidFill>
                <a:latin typeface="Lucida Console" panose="020B0609040504020204" pitchFamily="49" charset="0"/>
              </a:rPr>
              <a:t>'</a:t>
            </a:r>
            <a:r>
              <a:rPr lang="en-US" sz="900" b="1" err="1">
                <a:solidFill>
                  <a:srgbClr val="DB7093"/>
                </a:solidFill>
                <a:latin typeface="Lucida Console" panose="020B0609040504020204" pitchFamily="49" charset="0"/>
              </a:rPr>
              <a:t>xmlns:d</a:t>
            </a:r>
            <a:r>
              <a:rPr lang="en-US" sz="900" b="1">
                <a:solidFill>
                  <a:srgbClr val="DB7093"/>
                </a:solidFill>
                <a:latin typeface="Lucida Console" panose="020B0609040504020204" pitchFamily="49" charset="0"/>
              </a:rPr>
              <a:t>'</a:t>
            </a:r>
            <a:r>
              <a:rPr lang="en-US" sz="900" b="1">
                <a:solidFill>
                  <a:srgbClr val="F5F5F5"/>
                </a:solidFill>
                <a:latin typeface="Lucida Console" panose="020B0609040504020204" pitchFamily="49" charset="0"/>
              </a:rPr>
              <a:t>)</a:t>
            </a:r>
          </a:p>
          <a:p>
            <a:pPr marL="0" indent="0">
              <a:buNone/>
            </a:pPr>
            <a:r>
              <a:rPr lang="en-US" sz="900" b="1">
                <a:solidFill>
                  <a:srgbClr val="FF4500"/>
                </a:solidFill>
                <a:latin typeface="Lucida Console" panose="020B0609040504020204" pitchFamily="49" charset="0"/>
              </a:rPr>
              <a:t>$</a:t>
            </a:r>
            <a:r>
              <a:rPr lang="en-US" sz="900" b="1" err="1">
                <a:solidFill>
                  <a:srgbClr val="FF4500"/>
                </a:solidFill>
                <a:latin typeface="Lucida Console" panose="020B0609040504020204" pitchFamily="49" charset="0"/>
              </a:rPr>
              <a:t>XAML</a:t>
            </a:r>
            <a:r>
              <a:rPr lang="en-US" sz="900" b="1" err="1">
                <a:solidFill>
                  <a:srgbClr val="D3D3D3"/>
                </a:solidFill>
                <a:latin typeface="Lucida Console" panose="020B0609040504020204" pitchFamily="49" charset="0"/>
              </a:rPr>
              <a:t>.</a:t>
            </a:r>
            <a:r>
              <a:rPr lang="en-US" sz="900" b="1" err="1">
                <a:solidFill>
                  <a:srgbClr val="F5F5F5"/>
                </a:solidFill>
                <a:latin typeface="Lucida Console" panose="020B0609040504020204" pitchFamily="49" charset="0"/>
              </a:rPr>
              <a:t>Window</a:t>
            </a:r>
            <a:r>
              <a:rPr lang="en-US" sz="900" b="1" err="1">
                <a:solidFill>
                  <a:srgbClr val="D3D3D3"/>
                </a:solidFill>
                <a:latin typeface="Lucida Console" panose="020B0609040504020204" pitchFamily="49" charset="0"/>
              </a:rPr>
              <a:t>.</a:t>
            </a:r>
            <a:r>
              <a:rPr lang="en-US" sz="900" b="1" err="1">
                <a:solidFill>
                  <a:srgbClr val="F5F5F5"/>
                </a:solidFill>
                <a:latin typeface="Lucida Console" panose="020B0609040504020204" pitchFamily="49" charset="0"/>
              </a:rPr>
              <a:t>RemoveAttribute</a:t>
            </a:r>
            <a:r>
              <a:rPr lang="en-US" sz="900" b="1">
                <a:solidFill>
                  <a:srgbClr val="F5F5F5"/>
                </a:solidFill>
                <a:latin typeface="Lucida Console" panose="020B0609040504020204" pitchFamily="49" charset="0"/>
              </a:rPr>
              <a:t>(</a:t>
            </a:r>
            <a:r>
              <a:rPr lang="en-US" sz="900" b="1">
                <a:solidFill>
                  <a:srgbClr val="DB7093"/>
                </a:solidFill>
                <a:latin typeface="Lucida Console" panose="020B0609040504020204" pitchFamily="49" charset="0"/>
              </a:rPr>
              <a:t>'</a:t>
            </a:r>
            <a:r>
              <a:rPr lang="en-US" sz="900" b="1" err="1">
                <a:solidFill>
                  <a:srgbClr val="DB7093"/>
                </a:solidFill>
                <a:latin typeface="Lucida Console" panose="020B0609040504020204" pitchFamily="49" charset="0"/>
              </a:rPr>
              <a:t>xmlns:mc</a:t>
            </a:r>
            <a:r>
              <a:rPr lang="en-US" sz="900" b="1">
                <a:solidFill>
                  <a:srgbClr val="DB7093"/>
                </a:solidFill>
                <a:latin typeface="Lucida Console" panose="020B0609040504020204" pitchFamily="49" charset="0"/>
              </a:rPr>
              <a:t>'</a:t>
            </a:r>
            <a:r>
              <a:rPr lang="en-US" sz="900" b="1">
                <a:solidFill>
                  <a:srgbClr val="F5F5F5"/>
                </a:solidFill>
                <a:latin typeface="Lucida Console" panose="020B0609040504020204" pitchFamily="49" charset="0"/>
              </a:rPr>
              <a:t>)</a:t>
            </a:r>
          </a:p>
          <a:p>
            <a:pPr marL="0" indent="0">
              <a:buNone/>
            </a:pPr>
            <a:r>
              <a:rPr lang="en-US" sz="900" b="1">
                <a:solidFill>
                  <a:srgbClr val="FF4500"/>
                </a:solidFill>
                <a:latin typeface="Lucida Console" panose="020B0609040504020204" pitchFamily="49" charset="0"/>
              </a:rPr>
              <a:t>$</a:t>
            </a:r>
            <a:r>
              <a:rPr lang="en-US" sz="900" b="1" err="1">
                <a:solidFill>
                  <a:srgbClr val="FF4500"/>
                </a:solidFill>
                <a:latin typeface="Lucida Console" panose="020B0609040504020204" pitchFamily="49" charset="0"/>
              </a:rPr>
              <a:t>XAML</a:t>
            </a:r>
            <a:r>
              <a:rPr lang="en-US" sz="900" b="1" err="1">
                <a:solidFill>
                  <a:srgbClr val="D3D3D3"/>
                </a:solidFill>
                <a:latin typeface="Lucida Console" panose="020B0609040504020204" pitchFamily="49" charset="0"/>
              </a:rPr>
              <a:t>.</a:t>
            </a:r>
            <a:r>
              <a:rPr lang="en-US" sz="900" b="1" err="1">
                <a:solidFill>
                  <a:srgbClr val="F5F5F5"/>
                </a:solidFill>
                <a:latin typeface="Lucida Console" panose="020B0609040504020204" pitchFamily="49" charset="0"/>
              </a:rPr>
              <a:t>Window</a:t>
            </a:r>
            <a:r>
              <a:rPr lang="en-US" sz="900" b="1" err="1">
                <a:solidFill>
                  <a:srgbClr val="D3D3D3"/>
                </a:solidFill>
                <a:latin typeface="Lucida Console" panose="020B0609040504020204" pitchFamily="49" charset="0"/>
              </a:rPr>
              <a:t>.</a:t>
            </a:r>
            <a:r>
              <a:rPr lang="en-US" sz="900" b="1" err="1">
                <a:solidFill>
                  <a:srgbClr val="F5F5F5"/>
                </a:solidFill>
                <a:latin typeface="Lucida Console" panose="020B0609040504020204" pitchFamily="49" charset="0"/>
              </a:rPr>
              <a:t>RemoveAttribute</a:t>
            </a:r>
            <a:r>
              <a:rPr lang="en-US" sz="900" b="1">
                <a:solidFill>
                  <a:srgbClr val="F5F5F5"/>
                </a:solidFill>
                <a:latin typeface="Lucida Console" panose="020B0609040504020204" pitchFamily="49" charset="0"/>
              </a:rPr>
              <a:t>(</a:t>
            </a:r>
            <a:r>
              <a:rPr lang="en-US" sz="900" b="1">
                <a:solidFill>
                  <a:srgbClr val="DB7093"/>
                </a:solidFill>
                <a:latin typeface="Lucida Console" panose="020B0609040504020204" pitchFamily="49" charset="0"/>
              </a:rPr>
              <a:t>'</a:t>
            </a:r>
            <a:r>
              <a:rPr lang="en-US" sz="900" b="1" err="1">
                <a:solidFill>
                  <a:srgbClr val="DB7093"/>
                </a:solidFill>
                <a:latin typeface="Lucida Console" panose="020B0609040504020204" pitchFamily="49" charset="0"/>
              </a:rPr>
              <a:t>mc:Ignorable</a:t>
            </a:r>
            <a:r>
              <a:rPr lang="en-US" sz="900" b="1">
                <a:solidFill>
                  <a:srgbClr val="DB7093"/>
                </a:solidFill>
                <a:latin typeface="Lucida Console" panose="020B0609040504020204" pitchFamily="49" charset="0"/>
              </a:rPr>
              <a:t>’</a:t>
            </a:r>
            <a:r>
              <a:rPr lang="en-US" sz="900" b="1">
                <a:solidFill>
                  <a:srgbClr val="F5F5F5"/>
                </a:solidFill>
                <a:latin typeface="Lucida Console" panose="020B0609040504020204" pitchFamily="49" charset="0"/>
              </a:rPr>
              <a:t>)</a:t>
            </a:r>
          </a:p>
          <a:p>
            <a:endParaRPr lang="en-US"/>
          </a:p>
          <a:p>
            <a:pPr marL="0" indent="0">
              <a:buNone/>
            </a:pPr>
            <a:r>
              <a:rPr lang="en-US" sz="900">
                <a:solidFill>
                  <a:srgbClr val="98FB98"/>
                </a:solidFill>
                <a:latin typeface="Lucida Console" panose="020B0609040504020204" pitchFamily="49" charset="0"/>
              </a:rPr>
              <a:t>We then read the XML as XAML – This is the Raw form we will be controlling</a:t>
            </a:r>
            <a:endParaRPr lang="en-US" sz="900">
              <a:solidFill>
                <a:srgbClr val="F5F5F5"/>
              </a:solidFill>
              <a:latin typeface="Lucida Console" panose="020B0609040504020204" pitchFamily="49" charset="0"/>
            </a:endParaRPr>
          </a:p>
          <a:p>
            <a:pPr marL="0" indent="0">
              <a:buNone/>
            </a:pPr>
            <a:r>
              <a:rPr lang="en-US" sz="900" b="1">
                <a:solidFill>
                  <a:srgbClr val="FF4500"/>
                </a:solidFill>
                <a:latin typeface="Lucida Console" panose="020B0609040504020204" pitchFamily="49" charset="0"/>
              </a:rPr>
              <a:t>$</a:t>
            </a:r>
            <a:r>
              <a:rPr lang="en-US" sz="900" b="1" err="1">
                <a:solidFill>
                  <a:srgbClr val="FF4500"/>
                </a:solidFill>
                <a:latin typeface="Lucida Console" panose="020B0609040504020204" pitchFamily="49" charset="0"/>
              </a:rPr>
              <a:t>XAMLreader</a:t>
            </a:r>
            <a:r>
              <a:rPr lang="en-US" sz="900" b="1">
                <a:solidFill>
                  <a:srgbClr val="F5F5F5"/>
                </a:solidFill>
                <a:latin typeface="Lucida Console" panose="020B0609040504020204" pitchFamily="49" charset="0"/>
              </a:rPr>
              <a:t> </a:t>
            </a:r>
            <a:r>
              <a:rPr lang="en-US" sz="900" b="1">
                <a:solidFill>
                  <a:srgbClr val="D3D3D3"/>
                </a:solidFill>
                <a:latin typeface="Lucida Console" panose="020B0609040504020204" pitchFamily="49" charset="0"/>
              </a:rPr>
              <a:t>=</a:t>
            </a:r>
            <a:r>
              <a:rPr lang="en-US" sz="900" b="1">
                <a:solidFill>
                  <a:srgbClr val="F5F5F5"/>
                </a:solidFill>
                <a:latin typeface="Lucida Console" panose="020B0609040504020204" pitchFamily="49" charset="0"/>
              </a:rPr>
              <a:t> </a:t>
            </a:r>
            <a:r>
              <a:rPr lang="en-US" sz="900" b="1">
                <a:solidFill>
                  <a:srgbClr val="E0FFFF"/>
                </a:solidFill>
                <a:latin typeface="Lucida Console" panose="020B0609040504020204" pitchFamily="49" charset="0"/>
              </a:rPr>
              <a:t>New-Object</a:t>
            </a:r>
            <a:r>
              <a:rPr lang="en-US" sz="900" b="1">
                <a:solidFill>
                  <a:srgbClr val="F5F5F5"/>
                </a:solidFill>
                <a:latin typeface="Lucida Console" panose="020B0609040504020204" pitchFamily="49" charset="0"/>
              </a:rPr>
              <a:t> </a:t>
            </a:r>
            <a:r>
              <a:rPr lang="en-US" sz="900" b="1" err="1">
                <a:solidFill>
                  <a:srgbClr val="EE82EE"/>
                </a:solidFill>
                <a:latin typeface="Lucida Console" panose="020B0609040504020204" pitchFamily="49" charset="0"/>
              </a:rPr>
              <a:t>System.Xml.XmlNodeReader</a:t>
            </a:r>
            <a:r>
              <a:rPr lang="en-US" sz="900" b="1">
                <a:solidFill>
                  <a:srgbClr val="F5F5F5"/>
                </a:solidFill>
                <a:latin typeface="Lucida Console" panose="020B0609040504020204" pitchFamily="49" charset="0"/>
              </a:rPr>
              <a:t> </a:t>
            </a:r>
            <a:r>
              <a:rPr lang="en-US" sz="900" b="1">
                <a:solidFill>
                  <a:srgbClr val="FF4500"/>
                </a:solidFill>
                <a:latin typeface="Lucida Console" panose="020B0609040504020204" pitchFamily="49" charset="0"/>
              </a:rPr>
              <a:t>$XAML</a:t>
            </a:r>
            <a:endParaRPr lang="en-US" sz="900" b="1">
              <a:solidFill>
                <a:srgbClr val="F5F5F5"/>
              </a:solidFill>
              <a:latin typeface="Lucida Console" panose="020B0609040504020204" pitchFamily="49" charset="0"/>
            </a:endParaRPr>
          </a:p>
          <a:p>
            <a:pPr marL="0" indent="0">
              <a:buNone/>
            </a:pPr>
            <a:r>
              <a:rPr lang="en-US" sz="900" b="1">
                <a:solidFill>
                  <a:srgbClr val="FF4500"/>
                </a:solidFill>
                <a:latin typeface="Lucida Console" panose="020B0609040504020204" pitchFamily="49" charset="0"/>
              </a:rPr>
              <a:t>$</a:t>
            </a:r>
            <a:r>
              <a:rPr lang="en-US" sz="900" b="1" err="1">
                <a:solidFill>
                  <a:srgbClr val="FF4500"/>
                </a:solidFill>
                <a:latin typeface="Lucida Console" panose="020B0609040504020204" pitchFamily="49" charset="0"/>
              </a:rPr>
              <a:t>Rawform</a:t>
            </a:r>
            <a:r>
              <a:rPr lang="en-US" sz="900" b="1">
                <a:solidFill>
                  <a:srgbClr val="F5F5F5"/>
                </a:solidFill>
                <a:latin typeface="Lucida Console" panose="020B0609040504020204" pitchFamily="49" charset="0"/>
              </a:rPr>
              <a:t> </a:t>
            </a:r>
            <a:r>
              <a:rPr lang="en-US" sz="900" b="1">
                <a:solidFill>
                  <a:srgbClr val="D3D3D3"/>
                </a:solidFill>
                <a:latin typeface="Lucida Console" panose="020B0609040504020204" pitchFamily="49" charset="0"/>
              </a:rPr>
              <a:t>=</a:t>
            </a:r>
            <a:r>
              <a:rPr lang="en-US" sz="900" b="1">
                <a:solidFill>
                  <a:srgbClr val="F5F5F5"/>
                </a:solidFill>
                <a:latin typeface="Lucida Console" panose="020B0609040504020204" pitchFamily="49" charset="0"/>
              </a:rPr>
              <a:t> </a:t>
            </a:r>
            <a:r>
              <a:rPr lang="en-US" sz="900" b="1">
                <a:solidFill>
                  <a:srgbClr val="D3D3D3"/>
                </a:solidFill>
                <a:latin typeface="Lucida Console" panose="020B0609040504020204" pitchFamily="49" charset="0"/>
              </a:rPr>
              <a:t>[</a:t>
            </a:r>
            <a:r>
              <a:rPr lang="en-US" sz="900" b="1" err="1">
                <a:solidFill>
                  <a:srgbClr val="8FBC8F"/>
                </a:solidFill>
                <a:latin typeface="Lucida Console" panose="020B0609040504020204" pitchFamily="49" charset="0"/>
              </a:rPr>
              <a:t>Windows.Markup.XamlReader</a:t>
            </a:r>
            <a:r>
              <a:rPr lang="en-US" sz="900" b="1">
                <a:solidFill>
                  <a:srgbClr val="D3D3D3"/>
                </a:solidFill>
                <a:latin typeface="Lucida Console" panose="020B0609040504020204" pitchFamily="49" charset="0"/>
              </a:rPr>
              <a:t>]::</a:t>
            </a:r>
            <a:r>
              <a:rPr lang="en-US" sz="900" b="1">
                <a:solidFill>
                  <a:srgbClr val="F5F5F5"/>
                </a:solidFill>
                <a:latin typeface="Lucida Console" panose="020B0609040504020204" pitchFamily="49" charset="0"/>
              </a:rPr>
              <a:t>Load(</a:t>
            </a:r>
            <a:r>
              <a:rPr lang="en-US" sz="900" b="1">
                <a:solidFill>
                  <a:srgbClr val="FF4500"/>
                </a:solidFill>
                <a:latin typeface="Lucida Console" panose="020B0609040504020204" pitchFamily="49" charset="0"/>
              </a:rPr>
              <a:t>$</a:t>
            </a:r>
            <a:r>
              <a:rPr lang="en-US" sz="900" b="1" err="1">
                <a:solidFill>
                  <a:srgbClr val="FF4500"/>
                </a:solidFill>
                <a:latin typeface="Lucida Console" panose="020B0609040504020204" pitchFamily="49" charset="0"/>
              </a:rPr>
              <a:t>XAMLreader</a:t>
            </a:r>
            <a:r>
              <a:rPr lang="en-US" sz="900" b="1">
                <a:solidFill>
                  <a:srgbClr val="F5F5F5"/>
                </a:solidFill>
                <a:latin typeface="Lucida Console" panose="020B0609040504020204" pitchFamily="49" charset="0"/>
              </a:rPr>
              <a:t>)</a:t>
            </a:r>
            <a:endParaRPr lang="en-US" b="1"/>
          </a:p>
          <a:p>
            <a:endParaRPr lang="en-US"/>
          </a:p>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30</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1889514460"/>
      </p:ext>
    </p:extLst>
  </p:cSld>
  <p:clrMapOvr>
    <a:masterClrMapping/>
  </p:clrMapOvr>
</p:notes>
</file>

<file path=ppt/notesSlides/notesSlide3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a:br>
            <a:r>
              <a:rPr lang="en-US"/>
              <a:t>to be able to select nodes using namespace x: we need to add a namespace manager to the XML</a:t>
            </a:r>
          </a:p>
          <a:p>
            <a:pPr marL="0" indent="0">
              <a:buNone/>
            </a:pPr>
            <a:r>
              <a:rPr lang="en-US" sz="900" b="1">
                <a:solidFill>
                  <a:srgbClr val="FF4500"/>
                </a:solidFill>
                <a:latin typeface="Lucida Console" panose="020B0609040504020204" pitchFamily="49" charset="0"/>
              </a:rPr>
              <a:t>$</a:t>
            </a:r>
            <a:r>
              <a:rPr lang="en-US" sz="900" b="1" err="1">
                <a:solidFill>
                  <a:srgbClr val="FF4500"/>
                </a:solidFill>
                <a:latin typeface="Lucida Console" panose="020B0609040504020204" pitchFamily="49" charset="0"/>
              </a:rPr>
              <a:t>XmlNamespaceManager</a:t>
            </a:r>
            <a:r>
              <a:rPr lang="en-US" sz="900" b="1">
                <a:solidFill>
                  <a:srgbClr val="F5F5F5"/>
                </a:solidFill>
                <a:latin typeface="Lucida Console" panose="020B0609040504020204" pitchFamily="49" charset="0"/>
              </a:rPr>
              <a:t> </a:t>
            </a:r>
            <a:r>
              <a:rPr lang="en-US" sz="900" b="1">
                <a:solidFill>
                  <a:srgbClr val="D3D3D3"/>
                </a:solidFill>
                <a:latin typeface="Lucida Console" panose="020B0609040504020204" pitchFamily="49" charset="0"/>
              </a:rPr>
              <a:t>=</a:t>
            </a:r>
            <a:r>
              <a:rPr lang="en-US" sz="900" b="1">
                <a:solidFill>
                  <a:srgbClr val="F5F5F5"/>
                </a:solidFill>
                <a:latin typeface="Lucida Console" panose="020B0609040504020204" pitchFamily="49" charset="0"/>
              </a:rPr>
              <a:t> </a:t>
            </a:r>
            <a:r>
              <a:rPr lang="en-US" sz="900" b="1">
                <a:solidFill>
                  <a:srgbClr val="D3D3D3"/>
                </a:solidFill>
                <a:latin typeface="Lucida Console" panose="020B0609040504020204" pitchFamily="49" charset="0"/>
              </a:rPr>
              <a:t>[</a:t>
            </a:r>
            <a:r>
              <a:rPr lang="en-US" sz="900" b="1" err="1">
                <a:solidFill>
                  <a:srgbClr val="8FBC8F"/>
                </a:solidFill>
                <a:latin typeface="Lucida Console" panose="020B0609040504020204" pitchFamily="49" charset="0"/>
              </a:rPr>
              <a:t>System.Xml.XmlNamespaceManager</a:t>
            </a:r>
            <a:r>
              <a:rPr lang="en-US" sz="900" b="1">
                <a:solidFill>
                  <a:srgbClr val="D3D3D3"/>
                </a:solidFill>
                <a:latin typeface="Lucida Console" panose="020B0609040504020204" pitchFamily="49" charset="0"/>
              </a:rPr>
              <a:t>]::</a:t>
            </a:r>
            <a:r>
              <a:rPr lang="en-US" sz="900" b="1">
                <a:solidFill>
                  <a:srgbClr val="F5F5F5"/>
                </a:solidFill>
                <a:latin typeface="Lucida Console" panose="020B0609040504020204" pitchFamily="49" charset="0"/>
              </a:rPr>
              <a:t>New(</a:t>
            </a:r>
            <a:r>
              <a:rPr lang="en-US" sz="900" b="1">
                <a:solidFill>
                  <a:srgbClr val="FF4500"/>
                </a:solidFill>
                <a:latin typeface="Lucida Console" panose="020B0609040504020204" pitchFamily="49" charset="0"/>
              </a:rPr>
              <a:t>$</a:t>
            </a:r>
            <a:r>
              <a:rPr lang="en-US" sz="900" b="1" err="1">
                <a:solidFill>
                  <a:srgbClr val="FF4500"/>
                </a:solidFill>
                <a:latin typeface="Lucida Console" panose="020B0609040504020204" pitchFamily="49" charset="0"/>
              </a:rPr>
              <a:t>XAML</a:t>
            </a:r>
            <a:r>
              <a:rPr lang="en-US" sz="900" b="1" err="1">
                <a:solidFill>
                  <a:srgbClr val="D3D3D3"/>
                </a:solidFill>
                <a:latin typeface="Lucida Console" panose="020B0609040504020204" pitchFamily="49" charset="0"/>
              </a:rPr>
              <a:t>.</a:t>
            </a:r>
            <a:r>
              <a:rPr lang="en-US" sz="900" b="1" err="1">
                <a:solidFill>
                  <a:srgbClr val="F5F5F5"/>
                </a:solidFill>
                <a:latin typeface="Lucida Console" panose="020B0609040504020204" pitchFamily="49" charset="0"/>
              </a:rPr>
              <a:t>NameTable</a:t>
            </a:r>
            <a:r>
              <a:rPr lang="en-US" sz="900" b="1">
                <a:solidFill>
                  <a:srgbClr val="F5F5F5"/>
                </a:solidFill>
                <a:latin typeface="Lucida Console" panose="020B0609040504020204" pitchFamily="49" charset="0"/>
              </a:rPr>
              <a:t>)</a:t>
            </a:r>
          </a:p>
          <a:p>
            <a:pPr marL="0" indent="0">
              <a:buNone/>
            </a:pPr>
            <a:r>
              <a:rPr lang="en-US" sz="900" b="1">
                <a:solidFill>
                  <a:srgbClr val="FF4500"/>
                </a:solidFill>
                <a:latin typeface="Lucida Console" panose="020B0609040504020204" pitchFamily="49" charset="0"/>
              </a:rPr>
              <a:t>$</a:t>
            </a:r>
            <a:r>
              <a:rPr lang="en-US" sz="900" b="1" err="1">
                <a:solidFill>
                  <a:srgbClr val="FF4500"/>
                </a:solidFill>
                <a:latin typeface="Lucida Console" panose="020B0609040504020204" pitchFamily="49" charset="0"/>
              </a:rPr>
              <a:t>XmlNamespaceManager</a:t>
            </a:r>
            <a:r>
              <a:rPr lang="en-US" sz="900" b="1" err="1">
                <a:solidFill>
                  <a:srgbClr val="D3D3D3"/>
                </a:solidFill>
                <a:latin typeface="Lucida Console" panose="020B0609040504020204" pitchFamily="49" charset="0"/>
              </a:rPr>
              <a:t>.</a:t>
            </a:r>
            <a:r>
              <a:rPr lang="en-US" sz="900" b="1" err="1">
                <a:solidFill>
                  <a:srgbClr val="F5F5F5"/>
                </a:solidFill>
                <a:latin typeface="Lucida Console" panose="020B0609040504020204" pitchFamily="49" charset="0"/>
              </a:rPr>
              <a:t>AddNamespace</a:t>
            </a:r>
            <a:r>
              <a:rPr lang="en-US" sz="900" b="1">
                <a:solidFill>
                  <a:srgbClr val="F5F5F5"/>
                </a:solidFill>
                <a:latin typeface="Lucida Console" panose="020B0609040504020204" pitchFamily="49" charset="0"/>
              </a:rPr>
              <a:t>(</a:t>
            </a:r>
            <a:r>
              <a:rPr lang="en-US" sz="800" b="1">
                <a:solidFill>
                  <a:srgbClr val="DB7093"/>
                </a:solidFill>
                <a:latin typeface="Lucida Console" panose="020B0609040504020204" pitchFamily="49" charset="0"/>
              </a:rPr>
              <a:t>'</a:t>
            </a:r>
            <a:r>
              <a:rPr lang="en-US" sz="800" b="1" err="1">
                <a:solidFill>
                  <a:srgbClr val="DB7093"/>
                </a:solidFill>
                <a:latin typeface="Lucida Console" panose="020B0609040504020204" pitchFamily="49" charset="0"/>
              </a:rPr>
              <a:t>x'</a:t>
            </a:r>
            <a:r>
              <a:rPr lang="en-US" sz="800" b="1" err="1">
                <a:solidFill>
                  <a:srgbClr val="D3D3D3"/>
                </a:solidFill>
                <a:latin typeface="Lucida Console" panose="020B0609040504020204" pitchFamily="49" charset="0"/>
              </a:rPr>
              <a:t>,</a:t>
            </a:r>
            <a:r>
              <a:rPr lang="en-US" sz="800" b="1" err="1">
                <a:solidFill>
                  <a:srgbClr val="DB7093"/>
                </a:solidFill>
                <a:latin typeface="Lucida Console" panose="020B0609040504020204" pitchFamily="49" charset="0"/>
              </a:rPr>
              <a:t>'http</a:t>
            </a:r>
            <a:r>
              <a:rPr lang="en-US" sz="800" b="1">
                <a:solidFill>
                  <a:srgbClr val="DB7093"/>
                </a:solidFill>
                <a:latin typeface="Lucida Console" panose="020B0609040504020204" pitchFamily="49" charset="0"/>
              </a:rPr>
              <a:t>://schemas.microsoft.com/</a:t>
            </a:r>
            <a:r>
              <a:rPr lang="en-US" sz="800" b="1" err="1">
                <a:solidFill>
                  <a:srgbClr val="DB7093"/>
                </a:solidFill>
                <a:latin typeface="Lucida Console" panose="020B0609040504020204" pitchFamily="49" charset="0"/>
              </a:rPr>
              <a:t>winfx</a:t>
            </a:r>
            <a:r>
              <a:rPr lang="en-US" sz="800" b="1">
                <a:solidFill>
                  <a:srgbClr val="DB7093"/>
                </a:solidFill>
                <a:latin typeface="Lucida Console" panose="020B0609040504020204" pitchFamily="49" charset="0"/>
              </a:rPr>
              <a:t>/2006/</a:t>
            </a:r>
            <a:r>
              <a:rPr lang="en-US" sz="800" b="1" err="1">
                <a:solidFill>
                  <a:srgbClr val="DB7093"/>
                </a:solidFill>
                <a:latin typeface="Lucida Console" panose="020B0609040504020204" pitchFamily="49" charset="0"/>
              </a:rPr>
              <a:t>xaml</a:t>
            </a:r>
            <a:r>
              <a:rPr lang="en-US" sz="800" b="1">
                <a:solidFill>
                  <a:srgbClr val="DB7093"/>
                </a:solidFill>
                <a:latin typeface="Lucida Console" panose="020B0609040504020204" pitchFamily="49" charset="0"/>
              </a:rPr>
              <a:t>'</a:t>
            </a:r>
            <a:r>
              <a:rPr lang="en-US" sz="800" b="1">
                <a:solidFill>
                  <a:srgbClr val="F5F5F5"/>
                </a:solidFill>
                <a:latin typeface="Lucida Console" panose="020B0609040504020204" pitchFamily="49" charset="0"/>
              </a:rPr>
              <a:t>)</a:t>
            </a:r>
          </a:p>
          <a:p>
            <a:endParaRPr lang="en-US"/>
          </a:p>
          <a:p>
            <a:r>
              <a:rPr lang="en-US"/>
              <a:t>To create an entry in the hash table referencing all x:Name controls we loop thru the XML code. This is why all controls in VS </a:t>
            </a:r>
            <a:r>
              <a:rPr lang="en-US" b="1" u="sng"/>
              <a:t>need</a:t>
            </a:r>
            <a:r>
              <a:rPr lang="en-US"/>
              <a:t> to be named.</a:t>
            </a:r>
            <a:endParaRPr lang="en-US" sz="900">
              <a:solidFill>
                <a:srgbClr val="98FB98"/>
              </a:solidFill>
              <a:latin typeface="Lucida Console" panose="020B0609040504020204" pitchFamily="49" charset="0"/>
            </a:endParaRPr>
          </a:p>
          <a:p>
            <a:pPr marL="0" indent="0">
              <a:buNone/>
            </a:pPr>
            <a:r>
              <a:rPr lang="en-US" sz="900" b="1">
                <a:solidFill>
                  <a:srgbClr val="FF4500"/>
                </a:solidFill>
                <a:latin typeface="Lucida Console" panose="020B0609040504020204" pitchFamily="49" charset="0"/>
              </a:rPr>
              <a:t>$GUI</a:t>
            </a:r>
            <a:r>
              <a:rPr lang="en-US" sz="900" b="1">
                <a:solidFill>
                  <a:srgbClr val="F5F5F5"/>
                </a:solidFill>
                <a:latin typeface="Lucida Console" panose="020B0609040504020204" pitchFamily="49" charset="0"/>
              </a:rPr>
              <a:t> </a:t>
            </a:r>
            <a:r>
              <a:rPr lang="en-US" sz="900" b="1">
                <a:solidFill>
                  <a:srgbClr val="D3D3D3"/>
                </a:solidFill>
                <a:latin typeface="Lucida Console" panose="020B0609040504020204" pitchFamily="49" charset="0"/>
              </a:rPr>
              <a:t>=</a:t>
            </a:r>
            <a:r>
              <a:rPr lang="en-US" sz="900" b="1">
                <a:solidFill>
                  <a:srgbClr val="F5F5F5"/>
                </a:solidFill>
                <a:latin typeface="Lucida Console" panose="020B0609040504020204" pitchFamily="49" charset="0"/>
              </a:rPr>
              <a:t> @{}</a:t>
            </a:r>
          </a:p>
          <a:p>
            <a:pPr marL="0" indent="0">
              <a:buNone/>
            </a:pPr>
            <a:r>
              <a:rPr lang="en-US" sz="900" b="1">
                <a:solidFill>
                  <a:srgbClr val="FF4500"/>
                </a:solidFill>
                <a:latin typeface="Lucida Console" panose="020B0609040504020204" pitchFamily="49" charset="0"/>
              </a:rPr>
              <a:t>$</a:t>
            </a:r>
            <a:r>
              <a:rPr lang="en-US" sz="900" b="1" err="1">
                <a:solidFill>
                  <a:srgbClr val="FF4500"/>
                </a:solidFill>
                <a:latin typeface="Lucida Console" panose="020B0609040504020204" pitchFamily="49" charset="0"/>
              </a:rPr>
              <a:t>namedNodes</a:t>
            </a:r>
            <a:r>
              <a:rPr lang="en-US" sz="900" b="1">
                <a:solidFill>
                  <a:srgbClr val="F5F5F5"/>
                </a:solidFill>
                <a:latin typeface="Lucida Console" panose="020B0609040504020204" pitchFamily="49" charset="0"/>
              </a:rPr>
              <a:t> </a:t>
            </a:r>
            <a:r>
              <a:rPr lang="en-US" sz="900" b="1">
                <a:solidFill>
                  <a:srgbClr val="D3D3D3"/>
                </a:solidFill>
                <a:latin typeface="Lucida Console" panose="020B0609040504020204" pitchFamily="49" charset="0"/>
              </a:rPr>
              <a:t>=</a:t>
            </a:r>
            <a:r>
              <a:rPr lang="en-US" sz="900" b="1">
                <a:solidFill>
                  <a:srgbClr val="F5F5F5"/>
                </a:solidFill>
                <a:latin typeface="Lucida Console" panose="020B0609040504020204" pitchFamily="49" charset="0"/>
              </a:rPr>
              <a:t> </a:t>
            </a:r>
            <a:r>
              <a:rPr lang="en-US" sz="900" b="1">
                <a:solidFill>
                  <a:srgbClr val="FF4500"/>
                </a:solidFill>
                <a:latin typeface="Lucida Console" panose="020B0609040504020204" pitchFamily="49" charset="0"/>
              </a:rPr>
              <a:t>$</a:t>
            </a:r>
            <a:r>
              <a:rPr lang="en-US" sz="900" b="1" err="1">
                <a:solidFill>
                  <a:srgbClr val="FF4500"/>
                </a:solidFill>
                <a:latin typeface="Lucida Console" panose="020B0609040504020204" pitchFamily="49" charset="0"/>
              </a:rPr>
              <a:t>XAML</a:t>
            </a:r>
            <a:r>
              <a:rPr lang="en-US" sz="900" b="1" err="1">
                <a:solidFill>
                  <a:srgbClr val="D3D3D3"/>
                </a:solidFill>
                <a:latin typeface="Lucida Console" panose="020B0609040504020204" pitchFamily="49" charset="0"/>
              </a:rPr>
              <a:t>.</a:t>
            </a:r>
            <a:r>
              <a:rPr lang="en-US" sz="900" b="1" err="1">
                <a:solidFill>
                  <a:srgbClr val="F5F5F5"/>
                </a:solidFill>
                <a:latin typeface="Lucida Console" panose="020B0609040504020204" pitchFamily="49" charset="0"/>
              </a:rPr>
              <a:t>SelectNodes</a:t>
            </a:r>
            <a:r>
              <a:rPr lang="en-US" sz="900" b="1">
                <a:solidFill>
                  <a:srgbClr val="F5F5F5"/>
                </a:solidFill>
                <a:latin typeface="Lucida Console" panose="020B0609040504020204" pitchFamily="49" charset="0"/>
              </a:rPr>
              <a:t>(</a:t>
            </a:r>
            <a:r>
              <a:rPr lang="en-US" sz="900" b="1">
                <a:solidFill>
                  <a:srgbClr val="DB7093"/>
                </a:solidFill>
                <a:latin typeface="Lucida Console" panose="020B0609040504020204" pitchFamily="49" charset="0"/>
              </a:rPr>
              <a:t>"//*[@x:Name]"</a:t>
            </a:r>
            <a:r>
              <a:rPr lang="en-US" sz="900" b="1">
                <a:solidFill>
                  <a:srgbClr val="D3D3D3"/>
                </a:solidFill>
                <a:latin typeface="Lucida Console" panose="020B0609040504020204" pitchFamily="49" charset="0"/>
              </a:rPr>
              <a:t>,</a:t>
            </a:r>
            <a:r>
              <a:rPr lang="en-US" sz="900" b="1">
                <a:solidFill>
                  <a:srgbClr val="FF4500"/>
                </a:solidFill>
                <a:latin typeface="Lucida Console" panose="020B0609040504020204" pitchFamily="49" charset="0"/>
              </a:rPr>
              <a:t>$XmlNamespaceManager</a:t>
            </a:r>
            <a:r>
              <a:rPr lang="en-US" sz="900" b="1">
                <a:solidFill>
                  <a:srgbClr val="F5F5F5"/>
                </a:solidFill>
                <a:latin typeface="Lucida Console" panose="020B0609040504020204" pitchFamily="49" charset="0"/>
              </a:rPr>
              <a:t>)</a:t>
            </a:r>
          </a:p>
          <a:p>
            <a:pPr marL="0" indent="0">
              <a:buNone/>
            </a:pPr>
            <a:r>
              <a:rPr lang="en-US" sz="900" b="1">
                <a:solidFill>
                  <a:srgbClr val="FF4500"/>
                </a:solidFill>
                <a:latin typeface="Lucida Console" panose="020B0609040504020204" pitchFamily="49" charset="0"/>
              </a:rPr>
              <a:t>$</a:t>
            </a:r>
            <a:r>
              <a:rPr lang="en-US" sz="900" b="1" err="1">
                <a:solidFill>
                  <a:srgbClr val="FF4500"/>
                </a:solidFill>
                <a:latin typeface="Lucida Console" panose="020B0609040504020204" pitchFamily="49" charset="0"/>
              </a:rPr>
              <a:t>namedNodes</a:t>
            </a:r>
            <a:r>
              <a:rPr lang="en-US" sz="900" b="1">
                <a:solidFill>
                  <a:srgbClr val="F5F5F5"/>
                </a:solidFill>
                <a:latin typeface="Lucida Console" panose="020B0609040504020204" pitchFamily="49" charset="0"/>
              </a:rPr>
              <a:t> </a:t>
            </a:r>
            <a:r>
              <a:rPr lang="en-US" sz="900" b="1">
                <a:solidFill>
                  <a:srgbClr val="D3D3D3"/>
                </a:solidFill>
                <a:latin typeface="Lucida Console" panose="020B0609040504020204" pitchFamily="49" charset="0"/>
              </a:rPr>
              <a:t>|</a:t>
            </a:r>
            <a:r>
              <a:rPr lang="en-US" sz="900" b="1">
                <a:solidFill>
                  <a:srgbClr val="F5F5F5"/>
                </a:solidFill>
                <a:latin typeface="Lucida Console" panose="020B0609040504020204" pitchFamily="49" charset="0"/>
              </a:rPr>
              <a:t> </a:t>
            </a:r>
            <a:r>
              <a:rPr lang="en-US" sz="900" b="1" err="1">
                <a:solidFill>
                  <a:srgbClr val="E0FFFF"/>
                </a:solidFill>
                <a:latin typeface="Lucida Console" panose="020B0609040504020204" pitchFamily="49" charset="0"/>
              </a:rPr>
              <a:t>ForEach</a:t>
            </a:r>
            <a:r>
              <a:rPr lang="en-US" sz="900" b="1">
                <a:solidFill>
                  <a:srgbClr val="E0FFFF"/>
                </a:solidFill>
                <a:latin typeface="Lucida Console" panose="020B0609040504020204" pitchFamily="49" charset="0"/>
              </a:rPr>
              <a:t>-Object</a:t>
            </a:r>
            <a:r>
              <a:rPr lang="en-US" sz="900" b="1">
                <a:solidFill>
                  <a:srgbClr val="F5F5F5"/>
                </a:solidFill>
                <a:latin typeface="Lucida Console" panose="020B0609040504020204" pitchFamily="49" charset="0"/>
              </a:rPr>
              <a:t> </a:t>
            </a:r>
            <a:r>
              <a:rPr lang="en-US" sz="900" b="1">
                <a:solidFill>
                  <a:srgbClr val="FFE4B5"/>
                </a:solidFill>
                <a:latin typeface="Lucida Console" panose="020B0609040504020204" pitchFamily="49" charset="0"/>
              </a:rPr>
              <a:t>-Process</a:t>
            </a:r>
            <a:r>
              <a:rPr lang="en-US" sz="900" b="1">
                <a:solidFill>
                  <a:srgbClr val="F5F5F5"/>
                </a:solidFill>
                <a:latin typeface="Lucida Console" panose="020B0609040504020204" pitchFamily="49" charset="0"/>
              </a:rPr>
              <a:t> {</a:t>
            </a:r>
            <a:r>
              <a:rPr lang="en-US" sz="900" b="1">
                <a:solidFill>
                  <a:srgbClr val="FF4500"/>
                </a:solidFill>
                <a:latin typeface="Lucida Console" panose="020B0609040504020204" pitchFamily="49" charset="0"/>
              </a:rPr>
              <a:t>$</a:t>
            </a:r>
            <a:r>
              <a:rPr lang="en-US" sz="900" b="1" err="1">
                <a:solidFill>
                  <a:srgbClr val="FF4500"/>
                </a:solidFill>
                <a:latin typeface="Lucida Console" panose="020B0609040504020204" pitchFamily="49" charset="0"/>
              </a:rPr>
              <a:t>GUI</a:t>
            </a:r>
            <a:r>
              <a:rPr lang="en-US" sz="900" b="1" err="1">
                <a:solidFill>
                  <a:srgbClr val="D3D3D3"/>
                </a:solidFill>
                <a:latin typeface="Lucida Console" panose="020B0609040504020204" pitchFamily="49" charset="0"/>
              </a:rPr>
              <a:t>.</a:t>
            </a:r>
            <a:r>
              <a:rPr lang="en-US" sz="900" b="1" err="1">
                <a:solidFill>
                  <a:srgbClr val="F5F5F5"/>
                </a:solidFill>
                <a:latin typeface="Lucida Console" panose="020B0609040504020204" pitchFamily="49" charset="0"/>
              </a:rPr>
              <a:t>Add</a:t>
            </a:r>
            <a:r>
              <a:rPr lang="en-US" sz="900" b="1">
                <a:solidFill>
                  <a:srgbClr val="F5F5F5"/>
                </a:solidFill>
                <a:latin typeface="Lucida Console" panose="020B0609040504020204" pitchFamily="49" charset="0"/>
              </a:rPr>
              <a:t>(</a:t>
            </a:r>
            <a:r>
              <a:rPr lang="en-US" sz="900" b="1">
                <a:solidFill>
                  <a:srgbClr val="FF4500"/>
                </a:solidFill>
                <a:latin typeface="Lucida Console" panose="020B0609040504020204" pitchFamily="49" charset="0"/>
              </a:rPr>
              <a:t>$_</a:t>
            </a:r>
            <a:r>
              <a:rPr lang="en-US" sz="900" b="1">
                <a:solidFill>
                  <a:srgbClr val="D3D3D3"/>
                </a:solidFill>
                <a:latin typeface="Lucida Console" panose="020B0609040504020204" pitchFamily="49" charset="0"/>
              </a:rPr>
              <a:t>.</a:t>
            </a:r>
            <a:r>
              <a:rPr lang="en-US" sz="900" b="1">
                <a:solidFill>
                  <a:srgbClr val="F5F5F5"/>
                </a:solidFill>
                <a:latin typeface="Lucida Console" panose="020B0609040504020204" pitchFamily="49" charset="0"/>
              </a:rPr>
              <a:t>Name</a:t>
            </a:r>
            <a:r>
              <a:rPr lang="en-US" sz="900" b="1">
                <a:solidFill>
                  <a:srgbClr val="D3D3D3"/>
                </a:solidFill>
                <a:latin typeface="Lucida Console" panose="020B0609040504020204" pitchFamily="49" charset="0"/>
              </a:rPr>
              <a:t>,</a:t>
            </a:r>
            <a:r>
              <a:rPr lang="en-US" sz="900" b="1">
                <a:solidFill>
                  <a:srgbClr val="F5F5F5"/>
                </a:solidFill>
                <a:latin typeface="Lucida Console" panose="020B0609040504020204" pitchFamily="49" charset="0"/>
              </a:rPr>
              <a:t> </a:t>
            </a:r>
            <a:r>
              <a:rPr lang="en-US" sz="900" b="1">
                <a:solidFill>
                  <a:srgbClr val="FF4500"/>
                </a:solidFill>
                <a:latin typeface="Lucida Console" panose="020B0609040504020204" pitchFamily="49" charset="0"/>
              </a:rPr>
              <a:t>$</a:t>
            </a:r>
            <a:r>
              <a:rPr lang="en-US" sz="900" b="1" err="1">
                <a:solidFill>
                  <a:srgbClr val="FF4500"/>
                </a:solidFill>
                <a:latin typeface="Lucida Console" panose="020B0609040504020204" pitchFamily="49" charset="0"/>
              </a:rPr>
              <a:t>Rawform</a:t>
            </a:r>
            <a:r>
              <a:rPr lang="en-US" sz="900" b="1" err="1">
                <a:solidFill>
                  <a:srgbClr val="D3D3D3"/>
                </a:solidFill>
                <a:latin typeface="Lucida Console" panose="020B0609040504020204" pitchFamily="49" charset="0"/>
              </a:rPr>
              <a:t>.</a:t>
            </a:r>
            <a:r>
              <a:rPr lang="en-US" sz="900" b="1" err="1">
                <a:solidFill>
                  <a:srgbClr val="F5F5F5"/>
                </a:solidFill>
                <a:latin typeface="Lucida Console" panose="020B0609040504020204" pitchFamily="49" charset="0"/>
              </a:rPr>
              <a:t>FindName</a:t>
            </a:r>
            <a:r>
              <a:rPr lang="en-US" sz="900" b="1">
                <a:solidFill>
                  <a:srgbClr val="F5F5F5"/>
                </a:solidFill>
                <a:latin typeface="Lucida Console" panose="020B0609040504020204" pitchFamily="49" charset="0"/>
              </a:rPr>
              <a:t>(</a:t>
            </a:r>
            <a:r>
              <a:rPr lang="en-US" sz="900" b="1">
                <a:solidFill>
                  <a:srgbClr val="FF4500"/>
                </a:solidFill>
                <a:latin typeface="Lucida Console" panose="020B0609040504020204" pitchFamily="49" charset="0"/>
              </a:rPr>
              <a:t>$_</a:t>
            </a:r>
            <a:r>
              <a:rPr lang="en-US" sz="900" b="1">
                <a:solidFill>
                  <a:srgbClr val="D3D3D3"/>
                </a:solidFill>
                <a:latin typeface="Lucida Console" panose="020B0609040504020204" pitchFamily="49" charset="0"/>
              </a:rPr>
              <a:t>.</a:t>
            </a:r>
            <a:r>
              <a:rPr lang="en-US" sz="900" b="1">
                <a:solidFill>
                  <a:srgbClr val="F5F5F5"/>
                </a:solidFill>
                <a:latin typeface="Lucida Console" panose="020B0609040504020204" pitchFamily="49" charset="0"/>
              </a:rPr>
              <a:t>Name))}</a:t>
            </a:r>
          </a:p>
          <a:p>
            <a:endParaRPr lang="en-US"/>
          </a:p>
          <a:p>
            <a:pPr marL="0" indent="0">
              <a:buNone/>
            </a:pPr>
            <a:r>
              <a:rPr lang="en-US" sz="900">
                <a:solidFill>
                  <a:srgbClr val="98FB98"/>
                </a:solidFill>
                <a:latin typeface="Lucida Console" panose="020B0609040504020204" pitchFamily="49" charset="0"/>
              </a:rPr>
              <a:t>Display the form to the end user</a:t>
            </a:r>
            <a:endParaRPr lang="en-US" sz="900">
              <a:solidFill>
                <a:srgbClr val="F5F5F5"/>
              </a:solidFill>
              <a:latin typeface="Lucida Console" panose="020B0609040504020204" pitchFamily="49" charset="0"/>
            </a:endParaRPr>
          </a:p>
          <a:p>
            <a:pPr marL="0" indent="0">
              <a:buNone/>
            </a:pPr>
            <a:r>
              <a:rPr lang="en-US" sz="900" b="1">
                <a:solidFill>
                  <a:srgbClr val="FF4500"/>
                </a:solidFill>
                <a:latin typeface="Lucida Console" panose="020B0609040504020204" pitchFamily="49" charset="0"/>
              </a:rPr>
              <a:t>$</a:t>
            </a:r>
            <a:r>
              <a:rPr lang="en-US" sz="900" b="1" err="1">
                <a:solidFill>
                  <a:srgbClr val="FF4500"/>
                </a:solidFill>
                <a:latin typeface="Lucida Console" panose="020B0609040504020204" pitchFamily="49" charset="0"/>
              </a:rPr>
              <a:t>Rawform</a:t>
            </a:r>
            <a:r>
              <a:rPr lang="en-US" sz="900" b="1" err="1">
                <a:solidFill>
                  <a:srgbClr val="D3D3D3"/>
                </a:solidFill>
                <a:latin typeface="Lucida Console" panose="020B0609040504020204" pitchFamily="49" charset="0"/>
              </a:rPr>
              <a:t>.</a:t>
            </a:r>
            <a:r>
              <a:rPr lang="en-US" sz="900" b="1" err="1">
                <a:solidFill>
                  <a:srgbClr val="F5F5F5"/>
                </a:solidFill>
                <a:latin typeface="Lucida Console" panose="020B0609040504020204" pitchFamily="49" charset="0"/>
              </a:rPr>
              <a:t>ShowDialog</a:t>
            </a:r>
            <a:r>
              <a:rPr lang="en-US" sz="900" b="1">
                <a:solidFill>
                  <a:srgbClr val="F5F5F5"/>
                </a:solidFill>
                <a:latin typeface="Lucida Console" panose="020B0609040504020204" pitchFamily="49" charset="0"/>
              </a:rPr>
              <a:t>() </a:t>
            </a:r>
          </a:p>
          <a:p>
            <a:endParaRPr lang="en-US"/>
          </a:p>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31</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4048755718"/>
      </p:ext>
    </p:extLst>
  </p:cSld>
  <p:clrMapOvr>
    <a:masterClrMapping/>
  </p:clrMapOvr>
</p:notes>
</file>

<file path=ppt/notesSlides/notesSlide3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2</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12/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453064910"/>
      </p:ext>
    </p:extLst>
  </p:cSld>
  <p:clrMapOvr>
    <a:masterClrMapping/>
  </p:clrMapOvr>
</p:notes>
</file>

<file path=ppt/notesSlides/notesSlide3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3</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12/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015347866"/>
      </p:ext>
    </p:extLst>
  </p:cSld>
  <p:clrMapOvr>
    <a:masterClrMapping/>
  </p:clrMapOvr>
</p:notes>
</file>

<file path=ppt/notesSlides/notesSlide3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4</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12/12/2022</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703561554"/>
      </p:ext>
    </p:extLst>
  </p:cSld>
  <p:clrMapOvr>
    <a:masterClrMapping/>
  </p:clrMapOvr>
</p:notes>
</file>

<file path=ppt/notesSlides/notesSlide3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5</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12/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232470146"/>
      </p:ext>
    </p:extLst>
  </p:cSld>
  <p:clrMapOvr>
    <a:masterClrMapping/>
  </p:clrMapOvr>
</p:notes>
</file>

<file path=ppt/notesSlides/notesSlide3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6</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12/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456735977"/>
      </p:ext>
    </p:extLst>
  </p:cSld>
  <p:clrMapOvr>
    <a:masterClrMapping/>
  </p:clrMapOvr>
</p:notes>
</file>

<file path=ppt/notesSlides/notesSlide3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7</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12/12/2022</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r>
              <a:rPr lang="en-US"/>
              <a:t>Show accessing properties</a:t>
            </a:r>
          </a:p>
          <a:p>
            <a:r>
              <a:rPr lang="en-US"/>
              <a:t>Ex. Textbox, combo box, check box</a:t>
            </a:r>
          </a:p>
          <a:p>
            <a:r>
              <a:rPr lang="en-US"/>
              <a:t>Intro events</a:t>
            </a:r>
          </a:p>
          <a:p>
            <a:r>
              <a:rPr lang="en-US"/>
              <a:t>Show linking events</a:t>
            </a:r>
          </a:p>
          <a:p>
            <a:r>
              <a:rPr lang="en-US"/>
              <a:t>Ex. Button click, </a:t>
            </a:r>
            <a:r>
              <a:rPr lang="en-US" err="1"/>
              <a:t>combobox</a:t>
            </a:r>
            <a:r>
              <a:rPr lang="en-US"/>
              <a:t> selection changed</a:t>
            </a:r>
          </a:p>
          <a:p>
            <a:endParaRPr lang="en-US"/>
          </a:p>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931581058"/>
      </p:ext>
    </p:extLst>
  </p:cSld>
  <p:clrMapOvr>
    <a:masterClrMapping/>
  </p:clrMapOvr>
</p:notes>
</file>

<file path=ppt/notesSlides/notesSlide3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38</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2294948241"/>
      </p:ext>
    </p:extLst>
  </p:cSld>
  <p:clrMapOvr>
    <a:masterClrMapping/>
  </p:clrMapOvr>
</p:notes>
</file>

<file path=ppt/notesSlides/notesSlide3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trols are stored as </a:t>
            </a:r>
            <a:r>
              <a:rPr lang="en-US" err="1"/>
              <a:t>hashtables</a:t>
            </a:r>
            <a:endParaRPr lang="en-US"/>
          </a:p>
          <a:p>
            <a:r>
              <a:rPr lang="en-US"/>
              <a:t>All control properties are accessed via </a:t>
            </a:r>
            <a:r>
              <a:rPr lang="en-US" err="1"/>
              <a:t>hashtables</a:t>
            </a:r>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margins, appearance, text typed into the form, date selected, items in </a:t>
            </a:r>
            <a:r>
              <a:rPr lang="en-US" b="1" err="1"/>
              <a:t>combobox</a:t>
            </a:r>
            <a:endParaRPr lang="en-US" b="1"/>
          </a:p>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39</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389113513"/>
      </p:ext>
    </p:extLst>
  </p:cSld>
  <p:clrMapOvr>
    <a:masterClrMapping/>
  </p:clrMapOvr>
</p:notes>
</file>

<file path=ppt/notesSlides/notesSlide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12/12/2022</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968771551"/>
      </p:ext>
    </p:extLst>
  </p:cSld>
  <p:clrMapOvr>
    <a:masterClrMapping/>
  </p:clrMapOvr>
</p:notes>
</file>

<file path=ppt/notesSlides/notesSlide4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3"/>
              </a:rPr>
              <a:t>https://learn.microsoft.com/en-us/dotnet/api/system.windows.controls.textbox?view=windowsdesktop-7.0</a:t>
            </a:r>
            <a:endParaRPr lang="en-US"/>
          </a:p>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40</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2906056138"/>
      </p:ext>
    </p:extLst>
  </p:cSld>
  <p:clrMapOvr>
    <a:masterClrMapping/>
  </p:clrMapOvr>
</p:notes>
</file>

<file path=ppt/notesSlides/notesSlide4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trols are stored as </a:t>
            </a:r>
            <a:r>
              <a:rPr lang="en-US" err="1"/>
              <a:t>hashtables</a:t>
            </a:r>
            <a:endParaRPr lang="en-US"/>
          </a:p>
          <a:p>
            <a:r>
              <a:rPr lang="en-US"/>
              <a:t>All control properties are accessed via </a:t>
            </a:r>
            <a:r>
              <a:rPr lang="en-US" err="1"/>
              <a:t>hashtables</a:t>
            </a:r>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margins, appearance, text typed into the form, date selected, items in </a:t>
            </a:r>
            <a:r>
              <a:rPr lang="en-US" b="1" err="1"/>
              <a:t>combobox</a:t>
            </a:r>
            <a:endParaRPr lang="en-US" b="1"/>
          </a:p>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41</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1770149865"/>
      </p:ext>
    </p:extLst>
  </p:cSld>
  <p:clrMapOvr>
    <a:masterClrMapping/>
  </p:clrMapOvr>
</p:notes>
</file>

<file path=ppt/notesSlides/notesSlide4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3"/>
              </a:rPr>
              <a:t>https://learn.microsoft.com/en-us/dotnet/api/system.windows.controls.textbox?view=windowsdesktop-7.0</a:t>
            </a:r>
            <a:endParaRPr lang="en-US"/>
          </a:p>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42</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4252153977"/>
      </p:ext>
    </p:extLst>
  </p:cSld>
  <p:clrMapOvr>
    <a:masterClrMapping/>
  </p:clrMapOvr>
</p:notes>
</file>

<file path=ppt/notesSlides/notesSlide4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Note that running long code execution might be perceived by a user as a hanging / crashing form. </a:t>
            </a:r>
          </a:p>
        </p:txBody>
      </p:sp>
      <p:sp>
        <p:nvSpPr>
          <p:cNvPr id="4" name="Slide Number Placeholder 3"/>
          <p:cNvSpPr>
            <a:spLocks noGrp="1"/>
          </p:cNvSpPr>
          <p:nvPr>
            <p:ph type="sldNum" sz="quarter" idx="5"/>
          </p:nvPr>
        </p:nvSpPr>
        <p:spPr/>
        <p:txBody>
          <a:bodyPr/>
          <a:lstStyle/>
          <a:p>
            <a:fld id="{B4008EB6-D09E-4580-8CD6-DDB14511944F}" type="slidenum">
              <a:rPr lang="en-US"/>
              <a:pPr/>
              <a:t>43</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724706937"/>
      </p:ext>
    </p:extLst>
  </p:cSld>
  <p:clrMapOvr>
    <a:masterClrMapping/>
  </p:clrMapOvr>
</p:notes>
</file>

<file path=ppt/notesSlides/notesSlide4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44</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12/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053706572"/>
      </p:ext>
    </p:extLst>
  </p:cSld>
  <p:clrMapOvr>
    <a:masterClrMapping/>
  </p:clrMapOvr>
</p:notes>
</file>

<file path=ppt/notesSlides/notesSlide4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45</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4197321875"/>
      </p:ext>
    </p:extLst>
  </p:cSld>
  <p:clrMapOvr>
    <a:masterClrMapping/>
  </p:clrMapOvr>
</p:notes>
</file>

<file path=ppt/notesSlides/notesSlide4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learn.microsoft.com/en-us/dotnet/api/system.windows.data.binding?redirectedfrom=MSDN&amp;view=windowsdesktop-7.0</a:t>
            </a:r>
          </a:p>
        </p:txBody>
      </p:sp>
      <p:sp>
        <p:nvSpPr>
          <p:cNvPr id="4" name="Slide Number Placeholder 3"/>
          <p:cNvSpPr>
            <a:spLocks noGrp="1"/>
          </p:cNvSpPr>
          <p:nvPr>
            <p:ph type="sldNum" sz="quarter" idx="5"/>
          </p:nvPr>
        </p:nvSpPr>
        <p:spPr/>
        <p:txBody>
          <a:bodyPr/>
          <a:lstStyle/>
          <a:p>
            <a:fld id="{B4008EB6-D09E-4580-8CD6-DDB14511944F}" type="slidenum">
              <a:rPr lang="en-US"/>
              <a:pPr/>
              <a:t>46</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1612743573"/>
      </p:ext>
    </p:extLst>
  </p:cSld>
  <p:clrMapOvr>
    <a:masterClrMapping/>
  </p:clrMapOvr>
</p:notes>
</file>

<file path=ppt/notesSlides/notesSlide4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a:solidFill>
                  <a:srgbClr val="FF4500"/>
                </a:solidFill>
                <a:latin typeface="Lucida Console" panose="020B0609040504020204" pitchFamily="49" charset="0"/>
              </a:rPr>
              <a:t>The “text” property of $</a:t>
            </a:r>
            <a:r>
              <a:rPr lang="en-US" sz="900" err="1">
                <a:solidFill>
                  <a:srgbClr val="FF4500"/>
                </a:solidFill>
                <a:latin typeface="Lucida Console" panose="020B0609040504020204" pitchFamily="49" charset="0"/>
              </a:rPr>
              <a:t>Gui</a:t>
            </a:r>
            <a:r>
              <a:rPr lang="en-US" sz="900" err="1">
                <a:solidFill>
                  <a:srgbClr val="D3D3D3"/>
                </a:solidFill>
                <a:latin typeface="Lucida Console" panose="020B0609040504020204" pitchFamily="49" charset="0"/>
              </a:rPr>
              <a:t>.</a:t>
            </a:r>
            <a:r>
              <a:rPr lang="en-US" sz="900" err="1">
                <a:solidFill>
                  <a:srgbClr val="F5F5F5"/>
                </a:solidFill>
                <a:latin typeface="Lucida Console" panose="020B0609040504020204" pitchFamily="49" charset="0"/>
              </a:rPr>
              <a:t>timebox</a:t>
            </a:r>
            <a:r>
              <a:rPr lang="en-US" sz="900">
                <a:solidFill>
                  <a:srgbClr val="D3D3D3"/>
                </a:solidFill>
                <a:latin typeface="Lucida Console" panose="020B0609040504020204" pitchFamily="49" charset="0"/>
              </a:rPr>
              <a:t>  will be bound to </a:t>
            </a:r>
            <a:r>
              <a:rPr lang="en-US" sz="900">
                <a:solidFill>
                  <a:srgbClr val="FF4500"/>
                </a:solidFill>
                <a:latin typeface="Lucida Console" panose="020B0609040504020204" pitchFamily="49" charset="0"/>
              </a:rPr>
              <a:t>$</a:t>
            </a:r>
            <a:r>
              <a:rPr lang="en-US" sz="900" err="1">
                <a:solidFill>
                  <a:srgbClr val="FF4500"/>
                </a:solidFill>
                <a:latin typeface="Lucida Console" panose="020B0609040504020204" pitchFamily="49" charset="0"/>
              </a:rPr>
              <a:t>DataContext</a:t>
            </a:r>
            <a:r>
              <a:rPr lang="en-US" sz="900">
                <a:solidFill>
                  <a:srgbClr val="FF4500"/>
                </a:solidFill>
                <a:latin typeface="Lucida Console" panose="020B0609040504020204" pitchFamily="49" charset="0"/>
              </a:rPr>
              <a:t> PS variable. The source object always needs to be in the form of a Collection , List, Array kind of  variable.</a:t>
            </a:r>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47</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1435191527"/>
      </p:ext>
    </p:extLst>
  </p:cSld>
  <p:clrMapOvr>
    <a:masterClrMapping/>
  </p:clrMapOvr>
</p:notes>
</file>

<file path=ppt/notesSlides/notesSlide4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48</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12/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094229237"/>
      </p:ext>
    </p:extLst>
  </p:cSld>
  <p:clrMapOvr>
    <a:masterClrMapping/>
  </p:clrMapOvr>
</p:notes>
</file>

<file path=ppt/notesSlides/notesSlide4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49</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12/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811669377"/>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B4008EB6-D09E-4580-8CD6-DDB14511944F}" type="slidenum">
              <a:rPr lang="en-US"/>
              <a:pPr/>
              <a:t>5</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3948232716"/>
      </p:ext>
    </p:extLst>
  </p:cSld>
  <p:clrMapOvr>
    <a:masterClrMapping/>
  </p:clrMapOvr>
</p:notes>
</file>

<file path=ppt/notesSlides/notesSlide5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50</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12/12/2022</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665897813"/>
      </p:ext>
    </p:extLst>
  </p:cSld>
  <p:clrMapOvr>
    <a:masterClrMapping/>
  </p:clrMapOvr>
</p:notes>
</file>

<file path=ppt/notesSlides/notesSlide5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B4008EB6-D09E-4580-8CD6-DDB14511944F}" type="slidenum">
              <a:rPr lang="en-US"/>
              <a:pPr/>
              <a:t>51</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2106647272"/>
      </p:ext>
    </p:extLst>
  </p:cSld>
  <p:clrMapOvr>
    <a:masterClrMapping/>
  </p:clrMapOvr>
</p:notes>
</file>

<file path=ppt/notesSlides/notesSlide5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B4008EB6-D09E-4580-8CD6-DDB14511944F}" type="slidenum">
              <a:rPr lang="en-US"/>
              <a:pPr/>
              <a:t>52</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959460813"/>
      </p:ext>
    </p:extLst>
  </p:cSld>
  <p:clrMapOvr>
    <a:masterClrMapping/>
  </p:clrMapOvr>
</p:notes>
</file>

<file path=ppt/notesSlides/notesSlide5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53</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12/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73651866"/>
      </p:ext>
    </p:extLst>
  </p:cSld>
  <p:clrMapOvr>
    <a:masterClrMapping/>
  </p:clrMapOvr>
</p:notes>
</file>

<file path=ppt/notesSlides/notesSlide5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54</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12/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941829424"/>
      </p:ext>
    </p:extLst>
  </p:cSld>
  <p:clrMapOvr>
    <a:masterClrMapping/>
  </p:clrMapOvr>
</p:notes>
</file>

<file path=ppt/notesSlides/notesSlide5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sp>
      <p:sp>
        <p:nvSpPr>
          <p:cNvPr id="4" name="Slide Number Placeholder 3"/>
          <p:cNvSpPr>
            <a:spLocks noGrp="1"/>
          </p:cNvSpPr>
          <p:nvPr>
            <p:ph type="sldNum" sz="quarter" idx="10"/>
          </p:nvPr>
        </p:nvSpPr>
        <p:spPr/>
        <p:txBody>
          <a:bodyPr/>
          <a:lstStyle/>
          <a:p>
            <a:fld id="{B4008EB6-D09E-4580-8CD6-DDB14511944F}" type="slidenum">
              <a:rPr lang="en-US" smtClean="0"/>
              <a:pPr/>
              <a:t>55</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1729315611"/>
      </p:ext>
    </p:extLst>
  </p:cSld>
  <p:clrMapOvr>
    <a:masterClrMapping/>
  </p:clrMapOvr>
</p:notes>
</file>

<file path=ppt/notesSlides/notesSlide5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56</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12/12/2022</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033968632"/>
      </p:ext>
    </p:extLst>
  </p:cSld>
  <p:clrMapOvr>
    <a:masterClrMapping/>
  </p:clrMapOvr>
</p:notes>
</file>

<file path=ppt/notesSlides/notesSlide5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Timer itself does not prevent locks of the GUI but it can be used to update the form in between long running tasks or support a </a:t>
            </a:r>
            <a:r>
              <a:rPr lang="en-US" err="1"/>
              <a:t>runspace</a:t>
            </a:r>
            <a:r>
              <a:rPr lang="en-US"/>
              <a:t> to update the form thread itself while the </a:t>
            </a:r>
            <a:r>
              <a:rPr lang="en-US" err="1"/>
              <a:t>runspace</a:t>
            </a:r>
            <a:r>
              <a:rPr lang="en-US"/>
              <a:t> is processing the data.</a:t>
            </a:r>
          </a:p>
        </p:txBody>
      </p:sp>
      <p:sp>
        <p:nvSpPr>
          <p:cNvPr id="4" name="Slide Number Placeholder 3"/>
          <p:cNvSpPr>
            <a:spLocks noGrp="1"/>
          </p:cNvSpPr>
          <p:nvPr>
            <p:ph type="sldNum" sz="quarter" idx="5"/>
          </p:nvPr>
        </p:nvSpPr>
        <p:spPr/>
        <p:txBody>
          <a:bodyPr/>
          <a:lstStyle/>
          <a:p>
            <a:fld id="{B4008EB6-D09E-4580-8CD6-DDB14511944F}" type="slidenum">
              <a:rPr lang="en-US"/>
              <a:pPr/>
              <a:t>58</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2100062438"/>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 XAML CODE #####</a:t>
            </a:r>
          </a:p>
          <a:p>
            <a:r>
              <a:rPr lang="en-US" sz="1800">
                <a:solidFill>
                  <a:srgbClr val="0000FF"/>
                </a:solidFill>
                <a:latin typeface="Consolas" panose="020B0609020204030204" pitchFamily="49" charset="0"/>
              </a:rPr>
              <a:t>&lt;</a:t>
            </a:r>
            <a:r>
              <a:rPr lang="en-US" sz="1800">
                <a:solidFill>
                  <a:srgbClr val="A31515"/>
                </a:solidFill>
                <a:latin typeface="Consolas" panose="020B0609020204030204" pitchFamily="49" charset="0"/>
              </a:rPr>
              <a:t>Window</a:t>
            </a:r>
            <a:r>
              <a:rPr lang="en-US" sz="1800">
                <a:solidFill>
                  <a:srgbClr val="FF0000"/>
                </a:solidFill>
                <a:latin typeface="Consolas" panose="020B0609020204030204" pitchFamily="49" charset="0"/>
              </a:rPr>
              <a:t> x</a:t>
            </a:r>
            <a:r>
              <a:rPr lang="en-US" sz="1800">
                <a:solidFill>
                  <a:srgbClr val="0000FF"/>
                </a:solidFill>
                <a:latin typeface="Consolas" panose="020B0609020204030204" pitchFamily="49" charset="0"/>
              </a:rPr>
              <a:t>:</a:t>
            </a:r>
            <a:r>
              <a:rPr lang="en-US" sz="1800">
                <a:solidFill>
                  <a:srgbClr val="FF0000"/>
                </a:solidFill>
                <a:latin typeface="Consolas" panose="020B0609020204030204" pitchFamily="49" charset="0"/>
              </a:rPr>
              <a:t>Name</a:t>
            </a:r>
            <a:r>
              <a:rPr lang="en-US" sz="1800">
                <a:solidFill>
                  <a:srgbClr val="0000FF"/>
                </a:solidFill>
                <a:latin typeface="Consolas" panose="020B0609020204030204" pitchFamily="49" charset="0"/>
              </a:rPr>
              <a:t>="Window"</a:t>
            </a:r>
            <a:r>
              <a:rPr lang="en-US" sz="1800">
                <a:solidFill>
                  <a:srgbClr val="FF0000"/>
                </a:solidFill>
                <a:latin typeface="Consolas" panose="020B0609020204030204" pitchFamily="49" charset="0"/>
              </a:rPr>
              <a:t> x</a:t>
            </a:r>
            <a:r>
              <a:rPr lang="en-US" sz="1800">
                <a:solidFill>
                  <a:srgbClr val="0000FF"/>
                </a:solidFill>
                <a:latin typeface="Consolas" panose="020B0609020204030204" pitchFamily="49" charset="0"/>
              </a:rPr>
              <a:t>:</a:t>
            </a:r>
            <a:r>
              <a:rPr lang="en-US" sz="1800">
                <a:solidFill>
                  <a:srgbClr val="FF0000"/>
                </a:solidFill>
                <a:latin typeface="Consolas" panose="020B0609020204030204" pitchFamily="49" charset="0"/>
              </a:rPr>
              <a:t>Class</a:t>
            </a:r>
            <a:r>
              <a:rPr lang="en-US" sz="1800">
                <a:solidFill>
                  <a:srgbClr val="0000FF"/>
                </a:solidFill>
                <a:latin typeface="Consolas" panose="020B0609020204030204" pitchFamily="49" charset="0"/>
              </a:rPr>
              <a:t>="WpfApplication1.Window1"</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xmlns</a:t>
            </a:r>
            <a:r>
              <a:rPr lang="en-US" sz="1800">
                <a:solidFill>
                  <a:srgbClr val="0000FF"/>
                </a:solidFill>
                <a:latin typeface="Consolas" panose="020B0609020204030204" pitchFamily="49" charset="0"/>
              </a:rPr>
              <a:t>="http://schemas.microsoft.com/</a:t>
            </a:r>
            <a:r>
              <a:rPr lang="en-US" sz="1800" err="1">
                <a:solidFill>
                  <a:srgbClr val="0000FF"/>
                </a:solidFill>
                <a:latin typeface="Consolas" panose="020B0609020204030204" pitchFamily="49" charset="0"/>
              </a:rPr>
              <a:t>winfx</a:t>
            </a:r>
            <a:r>
              <a:rPr lang="en-US" sz="1800">
                <a:solidFill>
                  <a:srgbClr val="0000FF"/>
                </a:solidFill>
                <a:latin typeface="Consolas" panose="020B0609020204030204" pitchFamily="49" charset="0"/>
              </a:rPr>
              <a:t>/2006/</a:t>
            </a:r>
            <a:r>
              <a:rPr lang="en-US" sz="1800" err="1">
                <a:solidFill>
                  <a:srgbClr val="0000FF"/>
                </a:solidFill>
                <a:latin typeface="Consolas" panose="020B0609020204030204" pitchFamily="49" charset="0"/>
              </a:rPr>
              <a:t>xaml</a:t>
            </a:r>
            <a:r>
              <a:rPr lang="en-US" sz="1800">
                <a:solidFill>
                  <a:srgbClr val="0000FF"/>
                </a:solidFill>
                <a:latin typeface="Consolas" panose="020B0609020204030204" pitchFamily="49" charset="0"/>
              </a:rPr>
              <a:t>/presentation"</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xmlns</a:t>
            </a:r>
            <a:r>
              <a:rPr lang="en-US" sz="1800" err="1">
                <a:solidFill>
                  <a:srgbClr val="0000FF"/>
                </a:solidFill>
                <a:latin typeface="Consolas" panose="020B0609020204030204" pitchFamily="49" charset="0"/>
              </a:rPr>
              <a:t>:</a:t>
            </a:r>
            <a:r>
              <a:rPr lang="en-US" sz="1800" err="1">
                <a:solidFill>
                  <a:srgbClr val="FF0000"/>
                </a:solidFill>
                <a:latin typeface="Consolas" panose="020B0609020204030204" pitchFamily="49" charset="0"/>
              </a:rPr>
              <a:t>x</a:t>
            </a:r>
            <a:r>
              <a:rPr lang="en-US" sz="1800">
                <a:solidFill>
                  <a:srgbClr val="0000FF"/>
                </a:solidFill>
                <a:latin typeface="Consolas" panose="020B0609020204030204" pitchFamily="49" charset="0"/>
              </a:rPr>
              <a:t>="http://schemas.microsoft.com/</a:t>
            </a:r>
            <a:r>
              <a:rPr lang="en-US" sz="1800" err="1">
                <a:solidFill>
                  <a:srgbClr val="0000FF"/>
                </a:solidFill>
                <a:latin typeface="Consolas" panose="020B0609020204030204" pitchFamily="49" charset="0"/>
              </a:rPr>
              <a:t>winfx</a:t>
            </a:r>
            <a:r>
              <a:rPr lang="en-US" sz="1800">
                <a:solidFill>
                  <a:srgbClr val="0000FF"/>
                </a:solidFill>
                <a:latin typeface="Consolas" panose="020B0609020204030204" pitchFamily="49" charset="0"/>
              </a:rPr>
              <a:t>/2006/</a:t>
            </a:r>
            <a:r>
              <a:rPr lang="en-US" sz="1800" err="1">
                <a:solidFill>
                  <a:srgbClr val="0000FF"/>
                </a:solidFill>
                <a:latin typeface="Consolas" panose="020B0609020204030204" pitchFamily="49" charset="0"/>
              </a:rPr>
              <a:t>xaml</a:t>
            </a:r>
            <a:r>
              <a:rPr lang="en-US" sz="1800">
                <a:solidFill>
                  <a:srgbClr val="0000FF"/>
                </a:solidFill>
                <a:latin typeface="Consolas" panose="020B0609020204030204" pitchFamily="49" charset="0"/>
              </a:rPr>
              <a: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xmlns</a:t>
            </a:r>
            <a:r>
              <a:rPr lang="en-US" sz="1800" err="1">
                <a:solidFill>
                  <a:srgbClr val="0000FF"/>
                </a:solidFill>
                <a:latin typeface="Consolas" panose="020B0609020204030204" pitchFamily="49" charset="0"/>
              </a:rPr>
              <a:t>:</a:t>
            </a:r>
            <a:r>
              <a:rPr lang="en-US" sz="1800" err="1">
                <a:solidFill>
                  <a:srgbClr val="FF0000"/>
                </a:solidFill>
                <a:latin typeface="Consolas" panose="020B0609020204030204" pitchFamily="49" charset="0"/>
              </a:rPr>
              <a:t>d</a:t>
            </a:r>
            <a:r>
              <a:rPr lang="en-US" sz="1800">
                <a:solidFill>
                  <a:srgbClr val="0000FF"/>
                </a:solidFill>
                <a:latin typeface="Consolas" panose="020B0609020204030204" pitchFamily="49" charset="0"/>
              </a:rPr>
              <a:t>="http://schemas.microsoft.com/expression/blend/2008"</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xmlns</a:t>
            </a:r>
            <a:r>
              <a:rPr lang="en-US" sz="1800" err="1">
                <a:solidFill>
                  <a:srgbClr val="0000FF"/>
                </a:solidFill>
                <a:latin typeface="Consolas" panose="020B0609020204030204" pitchFamily="49" charset="0"/>
              </a:rPr>
              <a:t>:</a:t>
            </a:r>
            <a:r>
              <a:rPr lang="en-US" sz="1800" err="1">
                <a:solidFill>
                  <a:srgbClr val="FF0000"/>
                </a:solidFill>
                <a:latin typeface="Consolas" panose="020B0609020204030204" pitchFamily="49" charset="0"/>
              </a:rPr>
              <a:t>mc</a:t>
            </a:r>
            <a:r>
              <a:rPr lang="en-US" sz="1800">
                <a:solidFill>
                  <a:srgbClr val="0000FF"/>
                </a:solidFill>
                <a:latin typeface="Consolas" panose="020B0609020204030204" pitchFamily="49" charset="0"/>
              </a:rPr>
              <a:t>="http://schemas.openxmlformats.org/markup-compatibility/2006"</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xmlns</a:t>
            </a:r>
            <a:r>
              <a:rPr lang="en-US" sz="1800" err="1">
                <a:solidFill>
                  <a:srgbClr val="0000FF"/>
                </a:solidFill>
                <a:latin typeface="Consolas" panose="020B0609020204030204" pitchFamily="49" charset="0"/>
              </a:rPr>
              <a:t>:</a:t>
            </a:r>
            <a:r>
              <a:rPr lang="en-US" sz="1800" err="1">
                <a:solidFill>
                  <a:srgbClr val="FF0000"/>
                </a:solidFill>
                <a:latin typeface="Consolas" panose="020B0609020204030204" pitchFamily="49" charset="0"/>
              </a:rPr>
              <a:t>local</a:t>
            </a:r>
            <a:r>
              <a:rPr lang="en-US" sz="1800">
                <a:solidFill>
                  <a:srgbClr val="0000FF"/>
                </a:solidFill>
                <a:latin typeface="Consolas" panose="020B0609020204030204" pitchFamily="49" charset="0"/>
              </a:rPr>
              <a:t>="clr-namespace:WpfApplication1"</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mc</a:t>
            </a:r>
            <a:r>
              <a:rPr lang="en-US" sz="1800" err="1">
                <a:solidFill>
                  <a:srgbClr val="0000FF"/>
                </a:solidFill>
                <a:latin typeface="Consolas" panose="020B0609020204030204" pitchFamily="49" charset="0"/>
              </a:rPr>
              <a:t>:</a:t>
            </a:r>
            <a:r>
              <a:rPr lang="en-US" sz="1800" err="1">
                <a:solidFill>
                  <a:srgbClr val="FF0000"/>
                </a:solidFill>
                <a:latin typeface="Consolas" panose="020B0609020204030204" pitchFamily="49" charset="0"/>
              </a:rPr>
              <a:t>Ignorable</a:t>
            </a:r>
            <a:r>
              <a:rPr lang="en-US" sz="1800">
                <a:solidFill>
                  <a:srgbClr val="0000FF"/>
                </a:solidFill>
                <a:latin typeface="Consolas" panose="020B0609020204030204" pitchFamily="49" charset="0"/>
              </a:rPr>
              <a:t>="d"</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FF0000"/>
                </a:solidFill>
                <a:latin typeface="Consolas" panose="020B0609020204030204" pitchFamily="49" charset="0"/>
              </a:rPr>
              <a:t> Title</a:t>
            </a:r>
            <a:r>
              <a:rPr lang="en-US" sz="1800">
                <a:solidFill>
                  <a:srgbClr val="0000FF"/>
                </a:solidFill>
                <a:latin typeface="Consolas" panose="020B0609020204030204" pitchFamily="49" charset="0"/>
              </a:rPr>
              <a:t>="Controls Visualized"</a:t>
            </a:r>
            <a:r>
              <a:rPr lang="en-US" sz="1800">
                <a:solidFill>
                  <a:srgbClr val="FF0000"/>
                </a:solidFill>
                <a:latin typeface="Consolas" panose="020B0609020204030204" pitchFamily="49" charset="0"/>
              </a:rPr>
              <a:t> Height</a:t>
            </a:r>
            <a:r>
              <a:rPr lang="en-US" sz="1800">
                <a:solidFill>
                  <a:srgbClr val="0000FF"/>
                </a:solidFill>
                <a:latin typeface="Consolas" panose="020B0609020204030204" pitchFamily="49" charset="0"/>
              </a:rPr>
              <a:t>="265"</a:t>
            </a:r>
            <a:r>
              <a:rPr lang="en-US" sz="1800">
                <a:solidFill>
                  <a:srgbClr val="FF0000"/>
                </a:solidFill>
                <a:latin typeface="Consolas" panose="020B0609020204030204" pitchFamily="49" charset="0"/>
              </a:rPr>
              <a:t> Width</a:t>
            </a:r>
            <a:r>
              <a:rPr lang="en-US" sz="1800">
                <a:solidFill>
                  <a:srgbClr val="0000FF"/>
                </a:solidFill>
                <a:latin typeface="Consolas" panose="020B0609020204030204" pitchFamily="49" charset="0"/>
              </a:rPr>
              <a:t>="375"</a:t>
            </a:r>
            <a:r>
              <a:rPr lang="en-US" sz="1800">
                <a:solidFill>
                  <a:srgbClr val="FF0000"/>
                </a:solidFill>
                <a:latin typeface="Consolas" panose="020B0609020204030204" pitchFamily="49" charset="0"/>
              </a:rPr>
              <a:t> Background</a:t>
            </a:r>
            <a:r>
              <a:rPr lang="en-US" sz="1800">
                <a:solidFill>
                  <a:srgbClr val="0000FF"/>
                </a:solidFill>
                <a:latin typeface="Consolas" panose="020B0609020204030204" pitchFamily="49" charset="0"/>
              </a:rPr>
              <a:t>="#FF340249"</a:t>
            </a:r>
            <a:r>
              <a:rPr lang="en-US" sz="1800">
                <a:solidFill>
                  <a:srgbClr val="FF0000"/>
                </a:solidFill>
                <a:latin typeface="Consolas" panose="020B0609020204030204" pitchFamily="49" charset="0"/>
              </a:rPr>
              <a:t> Padding</a:t>
            </a:r>
            <a:r>
              <a:rPr lang="en-US" sz="1800">
                <a:solidFill>
                  <a:srgbClr val="0000FF"/>
                </a:solidFill>
                <a:latin typeface="Consolas" panose="020B0609020204030204" pitchFamily="49" charset="0"/>
              </a:rPr>
              <a:t>="0,0,0,0"</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HorizontalAlignment</a:t>
            </a:r>
            <a:r>
              <a:rPr lang="en-US" sz="1800">
                <a:solidFill>
                  <a:srgbClr val="0000FF"/>
                </a:solidFill>
                <a:latin typeface="Consolas" panose="020B0609020204030204" pitchFamily="49" charset="0"/>
              </a:rPr>
              <a:t>="Left"</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VerticalAlignment</a:t>
            </a:r>
            <a:r>
              <a:rPr lang="en-US" sz="1800">
                <a:solidFill>
                  <a:srgbClr val="0000FF"/>
                </a:solidFill>
                <a:latin typeface="Consolas" panose="020B0609020204030204" pitchFamily="49" charset="0"/>
              </a:rPr>
              <a:t>="Top"&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Viewbox</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HorizontalAlignment</a:t>
            </a:r>
            <a:r>
              <a:rPr lang="en-US" sz="1800">
                <a:solidFill>
                  <a:srgbClr val="0000FF"/>
                </a:solidFill>
                <a:latin typeface="Consolas" panose="020B0609020204030204" pitchFamily="49" charset="0"/>
              </a:rPr>
              <a:t>="Left"</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VerticalAlignment</a:t>
            </a:r>
            <a:r>
              <a:rPr lang="en-US" sz="1800">
                <a:solidFill>
                  <a:srgbClr val="0000FF"/>
                </a:solidFill>
                <a:latin typeface="Consolas" panose="020B0609020204030204" pitchFamily="49" charset="0"/>
              </a:rPr>
              <a:t>="Top"&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a:solidFill>
                  <a:srgbClr val="A31515"/>
                </a:solidFill>
                <a:latin typeface="Consolas" panose="020B0609020204030204" pitchFamily="49" charset="0"/>
              </a:rPr>
              <a:t>Grid</a:t>
            </a:r>
            <a:r>
              <a:rPr lang="en-US" sz="1800">
                <a:solidFill>
                  <a:srgbClr val="FF0000"/>
                </a:solidFill>
                <a:latin typeface="Consolas" panose="020B0609020204030204" pitchFamily="49" charset="0"/>
              </a:rPr>
              <a:t> Background</a:t>
            </a:r>
            <a:r>
              <a:rPr lang="en-US" sz="1800">
                <a:solidFill>
                  <a:srgbClr val="0000FF"/>
                </a:solidFill>
                <a:latin typeface="Consolas" panose="020B0609020204030204" pitchFamily="49" charset="0"/>
              </a:rPr>
              <a:t>="#FFE5E5E5"</a:t>
            </a:r>
            <a:r>
              <a:rPr lang="en-US" sz="1800">
                <a:solidFill>
                  <a:srgbClr val="FF0000"/>
                </a:solidFill>
                <a:latin typeface="Consolas" panose="020B0609020204030204" pitchFamily="49" charset="0"/>
              </a:rPr>
              <a:t> Width</a:t>
            </a:r>
            <a:r>
              <a:rPr lang="en-US" sz="1800">
                <a:solidFill>
                  <a:srgbClr val="0000FF"/>
                </a:solidFill>
                <a:latin typeface="Consolas" panose="020B0609020204030204" pitchFamily="49" charset="0"/>
              </a:rPr>
              <a:t>="375"</a:t>
            </a:r>
            <a:r>
              <a:rPr lang="en-US" sz="1800">
                <a:solidFill>
                  <a:srgbClr val="FF0000"/>
                </a:solidFill>
                <a:latin typeface="Consolas" panose="020B0609020204030204" pitchFamily="49" charset="0"/>
              </a:rPr>
              <a:t> Height</a:t>
            </a:r>
            <a:r>
              <a:rPr lang="en-US" sz="1800">
                <a:solidFill>
                  <a:srgbClr val="0000FF"/>
                </a:solidFill>
                <a:latin typeface="Consolas" panose="020B0609020204030204" pitchFamily="49" charset="0"/>
              </a:rPr>
              <a:t>="265"&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TextBox</a:t>
            </a:r>
            <a:r>
              <a:rPr lang="en-US" sz="1800">
                <a:solidFill>
                  <a:srgbClr val="FF0000"/>
                </a:solidFill>
                <a:latin typeface="Consolas" panose="020B0609020204030204" pitchFamily="49" charset="0"/>
              </a:rPr>
              <a:t> x</a:t>
            </a:r>
            <a:r>
              <a:rPr lang="en-US" sz="1800">
                <a:solidFill>
                  <a:srgbClr val="0000FF"/>
                </a:solidFill>
                <a:latin typeface="Consolas" panose="020B0609020204030204" pitchFamily="49" charset="0"/>
              </a:rPr>
              <a:t>:</a:t>
            </a:r>
            <a:r>
              <a:rPr lang="en-US" sz="1800">
                <a:solidFill>
                  <a:srgbClr val="FF0000"/>
                </a:solidFill>
                <a:latin typeface="Consolas" panose="020B0609020204030204" pitchFamily="49" charset="0"/>
              </a:rPr>
              <a:t>Name</a:t>
            </a:r>
            <a:r>
              <a:rPr lang="en-US" sz="1800">
                <a:solidFill>
                  <a:srgbClr val="0000FF"/>
                </a:solidFill>
                <a:latin typeface="Consolas" panose="020B0609020204030204" pitchFamily="49" charset="0"/>
              </a:rPr>
              <a:t>="textBox"</a:t>
            </a:r>
            <a:r>
              <a:rPr lang="en-US" sz="1800">
                <a:solidFill>
                  <a:srgbClr val="FF0000"/>
                </a:solidFill>
                <a:latin typeface="Consolas" panose="020B0609020204030204" pitchFamily="49" charset="0"/>
              </a:rPr>
              <a:t> Height</a:t>
            </a:r>
            <a:r>
              <a:rPr lang="en-US" sz="1800">
                <a:solidFill>
                  <a:srgbClr val="0000FF"/>
                </a:solidFill>
                <a:latin typeface="Consolas" panose="020B0609020204030204" pitchFamily="49" charset="0"/>
              </a:rPr>
              <a:t>="23"</a:t>
            </a:r>
            <a:r>
              <a:rPr lang="en-US" sz="1800">
                <a:solidFill>
                  <a:srgbClr val="FF0000"/>
                </a:solidFill>
                <a:latin typeface="Consolas" panose="020B0609020204030204" pitchFamily="49" charset="0"/>
              </a:rPr>
              <a:t> Margin</a:t>
            </a:r>
            <a:r>
              <a:rPr lang="en-US" sz="1800">
                <a:solidFill>
                  <a:srgbClr val="0000FF"/>
                </a:solidFill>
                <a:latin typeface="Consolas" panose="020B0609020204030204" pitchFamily="49" charset="0"/>
              </a:rPr>
              <a:t>="11,54,0,0"</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TextWrapping</a:t>
            </a:r>
            <a:r>
              <a:rPr lang="en-US" sz="1800">
                <a:solidFill>
                  <a:srgbClr val="0000FF"/>
                </a:solidFill>
                <a:latin typeface="Consolas" panose="020B0609020204030204" pitchFamily="49" charset="0"/>
              </a:rPr>
              <a:t>="Wrap"</a:t>
            </a:r>
            <a:r>
              <a:rPr lang="en-US" sz="1800">
                <a:solidFill>
                  <a:srgbClr val="FF0000"/>
                </a:solidFill>
                <a:latin typeface="Consolas" panose="020B0609020204030204" pitchFamily="49" charset="0"/>
              </a:rPr>
              <a:t> Text</a:t>
            </a:r>
            <a:r>
              <a:rPr lang="en-US" sz="1800">
                <a:solidFill>
                  <a:srgbClr val="0000FF"/>
                </a:solidFill>
                <a:latin typeface="Consolas" panose="020B0609020204030204" pitchFamily="49" charset="0"/>
              </a:rPr>
              <a:t>="</a:t>
            </a:r>
            <a:r>
              <a:rPr lang="en-US" sz="1800" err="1">
                <a:solidFill>
                  <a:srgbClr val="0000FF"/>
                </a:solidFill>
                <a:latin typeface="Consolas" panose="020B0609020204030204" pitchFamily="49" charset="0"/>
              </a:rPr>
              <a:t>TextBox</a:t>
            </a:r>
            <a:r>
              <a:rPr lang="en-US" sz="1800">
                <a:solidFill>
                  <a:srgbClr val="0000FF"/>
                </a:solidFill>
                <a:latin typeface="Consolas" panose="020B0609020204030204" pitchFamily="49" charset="0"/>
              </a:rPr>
              <a:t>"</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VerticalAlignment</a:t>
            </a:r>
            <a:r>
              <a:rPr lang="en-US" sz="1800">
                <a:solidFill>
                  <a:srgbClr val="0000FF"/>
                </a:solidFill>
                <a:latin typeface="Consolas" panose="020B0609020204030204" pitchFamily="49" charset="0"/>
              </a:rPr>
              <a:t>="Top"</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HorizontalAlignment</a:t>
            </a:r>
            <a:r>
              <a:rPr lang="en-US" sz="1800">
                <a:solidFill>
                  <a:srgbClr val="0000FF"/>
                </a:solidFill>
                <a:latin typeface="Consolas" panose="020B0609020204030204" pitchFamily="49" charset="0"/>
              </a:rPr>
              <a:t>="Left"</a:t>
            </a:r>
            <a:r>
              <a:rPr lang="en-US" sz="1800">
                <a:solidFill>
                  <a:srgbClr val="FF0000"/>
                </a:solidFill>
                <a:latin typeface="Consolas" panose="020B0609020204030204" pitchFamily="49" charset="0"/>
              </a:rPr>
              <a:t> Width</a:t>
            </a:r>
            <a:r>
              <a:rPr lang="en-US" sz="1800">
                <a:solidFill>
                  <a:srgbClr val="0000FF"/>
                </a:solidFill>
                <a:latin typeface="Consolas" panose="020B0609020204030204" pitchFamily="49" charset="0"/>
              </a:rPr>
              <a:t>="151"/&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a:solidFill>
                  <a:srgbClr val="A31515"/>
                </a:solidFill>
                <a:latin typeface="Consolas" panose="020B0609020204030204" pitchFamily="49" charset="0"/>
              </a:rPr>
              <a:t>Button</a:t>
            </a:r>
            <a:r>
              <a:rPr lang="en-US" sz="1800">
                <a:solidFill>
                  <a:srgbClr val="FF0000"/>
                </a:solidFill>
                <a:latin typeface="Consolas" panose="020B0609020204030204" pitchFamily="49" charset="0"/>
              </a:rPr>
              <a:t> x</a:t>
            </a:r>
            <a:r>
              <a:rPr lang="en-US" sz="1800">
                <a:solidFill>
                  <a:srgbClr val="0000FF"/>
                </a:solidFill>
                <a:latin typeface="Consolas" panose="020B0609020204030204" pitchFamily="49" charset="0"/>
              </a:rPr>
              <a:t>:</a:t>
            </a:r>
            <a:r>
              <a:rPr lang="en-US" sz="1800">
                <a:solidFill>
                  <a:srgbClr val="FF0000"/>
                </a:solidFill>
                <a:latin typeface="Consolas" panose="020B0609020204030204" pitchFamily="49" charset="0"/>
              </a:rPr>
              <a:t>Name</a:t>
            </a:r>
            <a:r>
              <a:rPr lang="en-US" sz="1800">
                <a:solidFill>
                  <a:srgbClr val="0000FF"/>
                </a:solidFill>
                <a:latin typeface="Consolas" panose="020B0609020204030204" pitchFamily="49" charset="0"/>
              </a:rPr>
              <a:t>="button"</a:t>
            </a:r>
            <a:r>
              <a:rPr lang="en-US" sz="1800">
                <a:solidFill>
                  <a:srgbClr val="FF0000"/>
                </a:solidFill>
                <a:latin typeface="Consolas" panose="020B0609020204030204" pitchFamily="49" charset="0"/>
              </a:rPr>
              <a:t> Content</a:t>
            </a:r>
            <a:r>
              <a:rPr lang="en-US" sz="1800">
                <a:solidFill>
                  <a:srgbClr val="0000FF"/>
                </a:solidFill>
                <a:latin typeface="Consolas" panose="020B0609020204030204" pitchFamily="49" charset="0"/>
              </a:rPr>
              <a:t>="Run Script"</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HorizontalAlignment</a:t>
            </a:r>
            <a:r>
              <a:rPr lang="en-US" sz="1800">
                <a:solidFill>
                  <a:srgbClr val="0000FF"/>
                </a:solidFill>
                <a:latin typeface="Consolas" panose="020B0609020204030204" pitchFamily="49" charset="0"/>
              </a:rPr>
              <a:t>="Left"</a:t>
            </a:r>
            <a:r>
              <a:rPr lang="en-US" sz="1800">
                <a:solidFill>
                  <a:srgbClr val="FF0000"/>
                </a:solidFill>
                <a:latin typeface="Consolas" panose="020B0609020204030204" pitchFamily="49" charset="0"/>
              </a:rPr>
              <a:t> Height</a:t>
            </a:r>
            <a:r>
              <a:rPr lang="en-US" sz="1800">
                <a:solidFill>
                  <a:srgbClr val="0000FF"/>
                </a:solidFill>
                <a:latin typeface="Consolas" panose="020B0609020204030204" pitchFamily="49" charset="0"/>
              </a:rPr>
              <a:t>="34"</a:t>
            </a:r>
            <a:r>
              <a:rPr lang="en-US" sz="1800">
                <a:solidFill>
                  <a:srgbClr val="FF0000"/>
                </a:solidFill>
                <a:latin typeface="Consolas" panose="020B0609020204030204" pitchFamily="49" charset="0"/>
              </a:rPr>
              <a:t> Margin</a:t>
            </a:r>
            <a:r>
              <a:rPr lang="en-US" sz="1800">
                <a:solidFill>
                  <a:srgbClr val="0000FF"/>
                </a:solidFill>
                <a:latin typeface="Consolas" panose="020B0609020204030204" pitchFamily="49" charset="0"/>
              </a:rPr>
              <a:t>="174,221,0,0"</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VerticalAlignment</a:t>
            </a:r>
            <a:r>
              <a:rPr lang="en-US" sz="1800">
                <a:solidFill>
                  <a:srgbClr val="0000FF"/>
                </a:solidFill>
                <a:latin typeface="Consolas" panose="020B0609020204030204" pitchFamily="49" charset="0"/>
              </a:rPr>
              <a:t>="Top"</a:t>
            </a:r>
            <a:r>
              <a:rPr lang="en-US" sz="1800">
                <a:solidFill>
                  <a:srgbClr val="FF0000"/>
                </a:solidFill>
                <a:latin typeface="Consolas" panose="020B0609020204030204" pitchFamily="49" charset="0"/>
              </a:rPr>
              <a:t> Width</a:t>
            </a:r>
            <a:r>
              <a:rPr lang="en-US" sz="1800">
                <a:solidFill>
                  <a:srgbClr val="0000FF"/>
                </a:solidFill>
                <a:latin typeface="Consolas" panose="020B0609020204030204" pitchFamily="49" charset="0"/>
              </a:rPr>
              <a:t>="185"</a:t>
            </a:r>
            <a:r>
              <a:rPr lang="en-US" sz="1800">
                <a:solidFill>
                  <a:srgbClr val="FF0000"/>
                </a:solidFill>
                <a:latin typeface="Consolas" panose="020B0609020204030204" pitchFamily="49" charset="0"/>
              </a:rPr>
              <a:t> Padding</a:t>
            </a:r>
            <a:r>
              <a:rPr lang="en-US" sz="1800">
                <a:solidFill>
                  <a:srgbClr val="0000FF"/>
                </a:solidFill>
                <a:latin typeface="Consolas" panose="020B0609020204030204" pitchFamily="49" charset="0"/>
              </a:rPr>
              <a:t>="1,1,1,1"/&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ComboBox</a:t>
            </a:r>
            <a:r>
              <a:rPr lang="en-US" sz="1800">
                <a:solidFill>
                  <a:srgbClr val="FF0000"/>
                </a:solidFill>
                <a:latin typeface="Consolas" panose="020B0609020204030204" pitchFamily="49" charset="0"/>
              </a:rPr>
              <a:t> x</a:t>
            </a:r>
            <a:r>
              <a:rPr lang="en-US" sz="1800">
                <a:solidFill>
                  <a:srgbClr val="0000FF"/>
                </a:solidFill>
                <a:latin typeface="Consolas" panose="020B0609020204030204" pitchFamily="49" charset="0"/>
              </a:rPr>
              <a:t>:</a:t>
            </a:r>
            <a:r>
              <a:rPr lang="en-US" sz="1800">
                <a:solidFill>
                  <a:srgbClr val="FF0000"/>
                </a:solidFill>
                <a:latin typeface="Consolas" panose="020B0609020204030204" pitchFamily="49" charset="0"/>
              </a:rPr>
              <a:t>Name</a:t>
            </a:r>
            <a:r>
              <a:rPr lang="en-US" sz="1800">
                <a:solidFill>
                  <a:srgbClr val="0000FF"/>
                </a:solidFill>
                <a:latin typeface="Consolas" panose="020B0609020204030204" pitchFamily="49" charset="0"/>
              </a:rPr>
              <a:t>="comboBox"</a:t>
            </a:r>
            <a:r>
              <a:rPr lang="en-US" sz="1800">
                <a:solidFill>
                  <a:srgbClr val="FF0000"/>
                </a:solidFill>
                <a:latin typeface="Consolas" panose="020B0609020204030204" pitchFamily="49" charset="0"/>
              </a:rPr>
              <a:t> Margin</a:t>
            </a:r>
            <a:r>
              <a:rPr lang="en-US" sz="1800">
                <a:solidFill>
                  <a:srgbClr val="0000FF"/>
                </a:solidFill>
                <a:latin typeface="Consolas" panose="020B0609020204030204" pitchFamily="49" charset="0"/>
              </a:rPr>
              <a:t>="11,221,0,0"</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VerticalAlignment</a:t>
            </a:r>
            <a:r>
              <a:rPr lang="en-US" sz="1800">
                <a:solidFill>
                  <a:srgbClr val="0000FF"/>
                </a:solidFill>
                <a:latin typeface="Consolas" panose="020B0609020204030204" pitchFamily="49" charset="0"/>
              </a:rPr>
              <a:t>="Top"</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HorizontalAlignment</a:t>
            </a:r>
            <a:r>
              <a:rPr lang="en-US" sz="1800">
                <a:solidFill>
                  <a:srgbClr val="0000FF"/>
                </a:solidFill>
                <a:latin typeface="Consolas" panose="020B0609020204030204" pitchFamily="49" charset="0"/>
              </a:rPr>
              <a:t>="Left"</a:t>
            </a:r>
            <a:r>
              <a:rPr lang="en-US" sz="1800">
                <a:solidFill>
                  <a:srgbClr val="FF0000"/>
                </a:solidFill>
                <a:latin typeface="Consolas" panose="020B0609020204030204" pitchFamily="49" charset="0"/>
              </a:rPr>
              <a:t> Width</a:t>
            </a:r>
            <a:r>
              <a:rPr lang="en-US" sz="1800">
                <a:solidFill>
                  <a:srgbClr val="0000FF"/>
                </a:solidFill>
                <a:latin typeface="Consolas" panose="020B0609020204030204" pitchFamily="49" charset="0"/>
              </a:rPr>
              <a:t>="151"</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RenderTransformOrigin</a:t>
            </a:r>
            <a:r>
              <a:rPr lang="en-US" sz="1800">
                <a:solidFill>
                  <a:srgbClr val="0000FF"/>
                </a:solidFill>
                <a:latin typeface="Consolas" panose="020B0609020204030204" pitchFamily="49" charset="0"/>
              </a:rPr>
              <a:t>="0.5,0.5"</a:t>
            </a:r>
            <a:r>
              <a:rPr lang="en-US" sz="1800">
                <a:solidFill>
                  <a:srgbClr val="FF0000"/>
                </a:solidFill>
                <a:latin typeface="Consolas" panose="020B0609020204030204" pitchFamily="49" charset="0"/>
              </a:rPr>
              <a:t> Height</a:t>
            </a:r>
            <a:r>
              <a:rPr lang="en-US" sz="1800">
                <a:solidFill>
                  <a:srgbClr val="0000FF"/>
                </a:solidFill>
                <a:latin typeface="Consolas" panose="020B0609020204030204" pitchFamily="49" charset="0"/>
              </a:rPr>
              <a:t>="34"&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ComboBoxItem</a:t>
            </a:r>
            <a:r>
              <a:rPr lang="en-US" sz="1800">
                <a:solidFill>
                  <a:srgbClr val="FF0000"/>
                </a:solidFill>
                <a:latin typeface="Consolas" panose="020B0609020204030204" pitchFamily="49" charset="0"/>
              </a:rPr>
              <a:t> Content</a:t>
            </a:r>
            <a:r>
              <a:rPr lang="en-US" sz="1800">
                <a:solidFill>
                  <a:srgbClr val="0000FF"/>
                </a:solidFill>
                <a:latin typeface="Consolas" panose="020B0609020204030204" pitchFamily="49" charset="0"/>
              </a:rPr>
              <a:t>="</a:t>
            </a:r>
            <a:r>
              <a:rPr lang="en-US" sz="1800" err="1">
                <a:solidFill>
                  <a:srgbClr val="0000FF"/>
                </a:solidFill>
                <a:latin typeface="Consolas" panose="020B0609020204030204" pitchFamily="49" charset="0"/>
              </a:rPr>
              <a:t>ComboBoxItem</a:t>
            </a:r>
            <a:r>
              <a:rPr lang="en-US" sz="1800">
                <a:solidFill>
                  <a:srgbClr val="0000FF"/>
                </a:solidFill>
                <a:latin typeface="Consolas" panose="020B0609020204030204" pitchFamily="49" charset="0"/>
              </a:rPr>
              <a:t>"</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IsSelected</a:t>
            </a:r>
            <a:r>
              <a:rPr lang="en-US" sz="1800">
                <a:solidFill>
                  <a:srgbClr val="0000FF"/>
                </a:solidFill>
                <a:latin typeface="Consolas" panose="020B0609020204030204" pitchFamily="49" charset="0"/>
              </a:rPr>
              <a:t>="True"/&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ComboBoxItem</a:t>
            </a:r>
            <a:r>
              <a:rPr lang="en-US" sz="1800">
                <a:solidFill>
                  <a:srgbClr val="FF0000"/>
                </a:solidFill>
                <a:latin typeface="Consolas" panose="020B0609020204030204" pitchFamily="49" charset="0"/>
              </a:rPr>
              <a:t> Content</a:t>
            </a:r>
            <a:r>
              <a:rPr lang="en-US" sz="1800">
                <a:solidFill>
                  <a:srgbClr val="0000FF"/>
                </a:solidFill>
                <a:latin typeface="Consolas" panose="020B0609020204030204" pitchFamily="49" charset="0"/>
              </a:rPr>
              <a:t>="</a:t>
            </a:r>
            <a:r>
              <a:rPr lang="en-US" sz="1800" err="1">
                <a:solidFill>
                  <a:srgbClr val="0000FF"/>
                </a:solidFill>
                <a:latin typeface="Consolas" panose="020B0609020204030204" pitchFamily="49" charset="0"/>
              </a:rPr>
              <a:t>ComboBoxItem</a:t>
            </a:r>
            <a:r>
              <a:rPr lang="en-US" sz="1800">
                <a:solidFill>
                  <a:srgbClr val="0000FF"/>
                </a:solidFill>
                <a:latin typeface="Consolas" panose="020B0609020204030204" pitchFamily="49" charset="0"/>
              </a:rPr>
              <a:t>"/&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ComboBoxItem</a:t>
            </a:r>
            <a:r>
              <a:rPr lang="en-US" sz="1800">
                <a:solidFill>
                  <a:srgbClr val="FF0000"/>
                </a:solidFill>
                <a:latin typeface="Consolas" panose="020B0609020204030204" pitchFamily="49" charset="0"/>
              </a:rPr>
              <a:t> Content</a:t>
            </a:r>
            <a:r>
              <a:rPr lang="en-US" sz="1800">
                <a:solidFill>
                  <a:srgbClr val="0000FF"/>
                </a:solidFill>
                <a:latin typeface="Consolas" panose="020B0609020204030204" pitchFamily="49" charset="0"/>
              </a:rPr>
              <a:t>="</a:t>
            </a:r>
            <a:r>
              <a:rPr lang="en-US" sz="1800" err="1">
                <a:solidFill>
                  <a:srgbClr val="0000FF"/>
                </a:solidFill>
                <a:latin typeface="Consolas" panose="020B0609020204030204" pitchFamily="49" charset="0"/>
              </a:rPr>
              <a:t>ComboBoxItem</a:t>
            </a:r>
            <a:r>
              <a:rPr lang="en-US" sz="1800">
                <a:solidFill>
                  <a:srgbClr val="0000FF"/>
                </a:solidFill>
                <a:latin typeface="Consolas" panose="020B0609020204030204" pitchFamily="49" charset="0"/>
              </a:rPr>
              <a:t>"/&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ComboBox</a:t>
            </a:r>
            <a:r>
              <a:rPr lang="en-US" sz="1800">
                <a:solidFill>
                  <a:srgbClr val="0000FF"/>
                </a:solidFill>
                <a:latin typeface="Consolas" panose="020B0609020204030204" pitchFamily="49" charset="0"/>
              </a:rPr>
              <a:t>&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GroupBox</a:t>
            </a:r>
            <a:r>
              <a:rPr lang="en-US" sz="1800">
                <a:solidFill>
                  <a:srgbClr val="FF0000"/>
                </a:solidFill>
                <a:latin typeface="Consolas" panose="020B0609020204030204" pitchFamily="49" charset="0"/>
              </a:rPr>
              <a:t> Header</a:t>
            </a:r>
            <a:r>
              <a:rPr lang="en-US" sz="1800">
                <a:solidFill>
                  <a:srgbClr val="0000FF"/>
                </a:solidFill>
                <a:latin typeface="Consolas" panose="020B0609020204030204" pitchFamily="49" charset="0"/>
              </a:rPr>
              <a:t>="Error Action"</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HorizontalAlignment</a:t>
            </a:r>
            <a:r>
              <a:rPr lang="en-US" sz="1800">
                <a:solidFill>
                  <a:srgbClr val="0000FF"/>
                </a:solidFill>
                <a:latin typeface="Consolas" panose="020B0609020204030204" pitchFamily="49" charset="0"/>
              </a:rPr>
              <a:t>="Left"</a:t>
            </a:r>
            <a:r>
              <a:rPr lang="en-US" sz="1800">
                <a:solidFill>
                  <a:srgbClr val="FF0000"/>
                </a:solidFill>
                <a:latin typeface="Consolas" panose="020B0609020204030204" pitchFamily="49" charset="0"/>
              </a:rPr>
              <a:t> Margin</a:t>
            </a:r>
            <a:r>
              <a:rPr lang="en-US" sz="1800">
                <a:solidFill>
                  <a:srgbClr val="0000FF"/>
                </a:solidFill>
                <a:latin typeface="Consolas" panose="020B0609020204030204" pitchFamily="49" charset="0"/>
              </a:rPr>
              <a:t>="174,23,0,0"</a:t>
            </a:r>
            <a:r>
              <a:rPr lang="en-US" sz="1800">
                <a:solidFill>
                  <a:srgbClr val="FF0000"/>
                </a:solidFill>
                <a:latin typeface="Consolas" panose="020B0609020204030204" pitchFamily="49" charset="0"/>
              </a:rPr>
              <a:t> Width</a:t>
            </a:r>
            <a:r>
              <a:rPr lang="en-US" sz="1800">
                <a:solidFill>
                  <a:srgbClr val="0000FF"/>
                </a:solidFill>
                <a:latin typeface="Consolas" panose="020B0609020204030204" pitchFamily="49" charset="0"/>
              </a:rPr>
              <a:t>="185"</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VerticalAlignment</a:t>
            </a:r>
            <a:r>
              <a:rPr lang="en-US" sz="1800">
                <a:solidFill>
                  <a:srgbClr val="0000FF"/>
                </a:solidFill>
                <a:latin typeface="Consolas" panose="020B0609020204030204" pitchFamily="49" charset="0"/>
              </a:rPr>
              <a:t>="Top"</a:t>
            </a:r>
            <a:r>
              <a:rPr lang="en-US" sz="1800">
                <a:solidFill>
                  <a:srgbClr val="FF0000"/>
                </a:solidFill>
                <a:latin typeface="Consolas" panose="020B0609020204030204" pitchFamily="49" charset="0"/>
              </a:rPr>
              <a:t> Height</a:t>
            </a:r>
            <a:r>
              <a:rPr lang="en-US" sz="1800">
                <a:solidFill>
                  <a:srgbClr val="0000FF"/>
                </a:solidFill>
                <a:latin typeface="Consolas" panose="020B0609020204030204" pitchFamily="49" charset="0"/>
              </a:rPr>
              <a:t>="90"&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StackPanel</a:t>
            </a:r>
            <a:r>
              <a:rPr lang="en-US" sz="1800">
                <a:solidFill>
                  <a:srgbClr val="0000FF"/>
                </a:solidFill>
                <a:latin typeface="Consolas" panose="020B0609020204030204" pitchFamily="49" charset="0"/>
              </a:rPr>
              <a:t>&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RadioButton</a:t>
            </a:r>
            <a:r>
              <a:rPr lang="en-US" sz="1800">
                <a:solidFill>
                  <a:srgbClr val="FF0000"/>
                </a:solidFill>
                <a:latin typeface="Consolas" panose="020B0609020204030204" pitchFamily="49" charset="0"/>
              </a:rPr>
              <a:t> x</a:t>
            </a:r>
            <a:r>
              <a:rPr lang="en-US" sz="1800">
                <a:solidFill>
                  <a:srgbClr val="0000FF"/>
                </a:solidFill>
                <a:latin typeface="Consolas" panose="020B0609020204030204" pitchFamily="49" charset="0"/>
              </a:rPr>
              <a:t>:</a:t>
            </a:r>
            <a:r>
              <a:rPr lang="en-US" sz="1800">
                <a:solidFill>
                  <a:srgbClr val="FF0000"/>
                </a:solidFill>
                <a:latin typeface="Consolas" panose="020B0609020204030204" pitchFamily="49" charset="0"/>
              </a:rPr>
              <a:t>Name</a:t>
            </a:r>
            <a:r>
              <a:rPr lang="en-US" sz="1800">
                <a:solidFill>
                  <a:srgbClr val="0000FF"/>
                </a:solidFill>
                <a:latin typeface="Consolas" panose="020B0609020204030204" pitchFamily="49" charset="0"/>
              </a:rPr>
              <a:t>="radioButton1"</a:t>
            </a:r>
            <a:r>
              <a:rPr lang="en-US" sz="1800">
                <a:solidFill>
                  <a:srgbClr val="FF0000"/>
                </a:solidFill>
                <a:latin typeface="Consolas" panose="020B0609020204030204" pitchFamily="49" charset="0"/>
              </a:rPr>
              <a:t> Content</a:t>
            </a:r>
            <a:r>
              <a:rPr lang="en-US" sz="1800">
                <a:solidFill>
                  <a:srgbClr val="0000FF"/>
                </a:solidFill>
                <a:latin typeface="Consolas" panose="020B0609020204030204" pitchFamily="49" charset="0"/>
              </a:rPr>
              <a:t>="Continue"/&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RadioButton</a:t>
            </a:r>
            <a:r>
              <a:rPr lang="en-US" sz="1800">
                <a:solidFill>
                  <a:srgbClr val="FF0000"/>
                </a:solidFill>
                <a:latin typeface="Consolas" panose="020B0609020204030204" pitchFamily="49" charset="0"/>
              </a:rPr>
              <a:t> x</a:t>
            </a:r>
            <a:r>
              <a:rPr lang="en-US" sz="1800">
                <a:solidFill>
                  <a:srgbClr val="0000FF"/>
                </a:solidFill>
                <a:latin typeface="Consolas" panose="020B0609020204030204" pitchFamily="49" charset="0"/>
              </a:rPr>
              <a:t>:</a:t>
            </a:r>
            <a:r>
              <a:rPr lang="en-US" sz="1800">
                <a:solidFill>
                  <a:srgbClr val="FF0000"/>
                </a:solidFill>
                <a:latin typeface="Consolas" panose="020B0609020204030204" pitchFamily="49" charset="0"/>
              </a:rPr>
              <a:t>Name</a:t>
            </a:r>
            <a:r>
              <a:rPr lang="en-US" sz="1800">
                <a:solidFill>
                  <a:srgbClr val="0000FF"/>
                </a:solidFill>
                <a:latin typeface="Consolas" panose="020B0609020204030204" pitchFamily="49" charset="0"/>
              </a:rPr>
              <a:t>="radioButton2"</a:t>
            </a:r>
            <a:r>
              <a:rPr lang="en-US" sz="1800">
                <a:solidFill>
                  <a:srgbClr val="FF0000"/>
                </a:solidFill>
                <a:latin typeface="Consolas" panose="020B0609020204030204" pitchFamily="49" charset="0"/>
              </a:rPr>
              <a:t> Content</a:t>
            </a:r>
            <a:r>
              <a:rPr lang="en-US" sz="1800">
                <a:solidFill>
                  <a:srgbClr val="0000FF"/>
                </a:solidFill>
                <a:latin typeface="Consolas" panose="020B0609020204030204" pitchFamily="49" charset="0"/>
              </a:rPr>
              <a:t>="Silently Continue"/&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RadioButton</a:t>
            </a:r>
            <a:r>
              <a:rPr lang="en-US" sz="1800">
                <a:solidFill>
                  <a:srgbClr val="FF0000"/>
                </a:solidFill>
                <a:latin typeface="Consolas" panose="020B0609020204030204" pitchFamily="49" charset="0"/>
              </a:rPr>
              <a:t> x</a:t>
            </a:r>
            <a:r>
              <a:rPr lang="en-US" sz="1800">
                <a:solidFill>
                  <a:srgbClr val="0000FF"/>
                </a:solidFill>
                <a:latin typeface="Consolas" panose="020B0609020204030204" pitchFamily="49" charset="0"/>
              </a:rPr>
              <a:t>:</a:t>
            </a:r>
            <a:r>
              <a:rPr lang="en-US" sz="1800">
                <a:solidFill>
                  <a:srgbClr val="FF0000"/>
                </a:solidFill>
                <a:latin typeface="Consolas" panose="020B0609020204030204" pitchFamily="49" charset="0"/>
              </a:rPr>
              <a:t>Name</a:t>
            </a:r>
            <a:r>
              <a:rPr lang="en-US" sz="1800">
                <a:solidFill>
                  <a:srgbClr val="0000FF"/>
                </a:solidFill>
                <a:latin typeface="Consolas" panose="020B0609020204030204" pitchFamily="49" charset="0"/>
              </a:rPr>
              <a:t>="radioButton3"</a:t>
            </a:r>
            <a:r>
              <a:rPr lang="en-US" sz="1800">
                <a:solidFill>
                  <a:srgbClr val="FF0000"/>
                </a:solidFill>
                <a:latin typeface="Consolas" panose="020B0609020204030204" pitchFamily="49" charset="0"/>
              </a:rPr>
              <a:t> Content</a:t>
            </a:r>
            <a:r>
              <a:rPr lang="en-US" sz="1800">
                <a:solidFill>
                  <a:srgbClr val="0000FF"/>
                </a:solidFill>
                <a:latin typeface="Consolas" panose="020B0609020204030204" pitchFamily="49" charset="0"/>
              </a:rPr>
              <a:t>="Stop"/&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StackPanel</a:t>
            </a:r>
            <a:r>
              <a:rPr lang="en-US" sz="1800">
                <a:solidFill>
                  <a:srgbClr val="0000FF"/>
                </a:solidFill>
                <a:latin typeface="Consolas" panose="020B0609020204030204" pitchFamily="49" charset="0"/>
              </a:rPr>
              <a:t>&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GroupBox</a:t>
            </a:r>
            <a:r>
              <a:rPr lang="en-US" sz="1800">
                <a:solidFill>
                  <a:srgbClr val="0000FF"/>
                </a:solidFill>
                <a:latin typeface="Consolas" panose="020B0609020204030204" pitchFamily="49" charset="0"/>
              </a:rPr>
              <a:t>&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GroupBox</a:t>
            </a:r>
            <a:r>
              <a:rPr lang="en-US" sz="1800">
                <a:solidFill>
                  <a:srgbClr val="FF0000"/>
                </a:solidFill>
                <a:latin typeface="Consolas" panose="020B0609020204030204" pitchFamily="49" charset="0"/>
              </a:rPr>
              <a:t> Header</a:t>
            </a:r>
            <a:r>
              <a:rPr lang="en-US" sz="1800">
                <a:solidFill>
                  <a:srgbClr val="0000FF"/>
                </a:solidFill>
                <a:latin typeface="Consolas" panose="020B0609020204030204" pitchFamily="49" charset="0"/>
              </a:rPr>
              <a:t>="Switch Parameters"</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HorizontalAlignment</a:t>
            </a:r>
            <a:r>
              <a:rPr lang="en-US" sz="1800">
                <a:solidFill>
                  <a:srgbClr val="0000FF"/>
                </a:solidFill>
                <a:latin typeface="Consolas" panose="020B0609020204030204" pitchFamily="49" charset="0"/>
              </a:rPr>
              <a:t>="Left"</a:t>
            </a:r>
            <a:r>
              <a:rPr lang="en-US" sz="1800">
                <a:solidFill>
                  <a:srgbClr val="FF0000"/>
                </a:solidFill>
                <a:latin typeface="Consolas" panose="020B0609020204030204" pitchFamily="49" charset="0"/>
              </a:rPr>
              <a:t> Margin</a:t>
            </a:r>
            <a:r>
              <a:rPr lang="en-US" sz="1800">
                <a:solidFill>
                  <a:srgbClr val="0000FF"/>
                </a:solidFill>
                <a:latin typeface="Consolas" panose="020B0609020204030204" pitchFamily="49" charset="0"/>
              </a:rPr>
              <a:t>="174,117,0,0"</a:t>
            </a:r>
            <a:r>
              <a:rPr lang="en-US" sz="1800">
                <a:solidFill>
                  <a:srgbClr val="FF0000"/>
                </a:solidFill>
                <a:latin typeface="Consolas" panose="020B0609020204030204" pitchFamily="49" charset="0"/>
              </a:rPr>
              <a:t> Width</a:t>
            </a:r>
            <a:r>
              <a:rPr lang="en-US" sz="1800">
                <a:solidFill>
                  <a:srgbClr val="0000FF"/>
                </a:solidFill>
                <a:latin typeface="Consolas" panose="020B0609020204030204" pitchFamily="49" charset="0"/>
              </a:rPr>
              <a:t>="185"</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VerticalAlignment</a:t>
            </a:r>
            <a:r>
              <a:rPr lang="en-US" sz="1800">
                <a:solidFill>
                  <a:srgbClr val="0000FF"/>
                </a:solidFill>
                <a:latin typeface="Consolas" panose="020B0609020204030204" pitchFamily="49" charset="0"/>
              </a:rPr>
              <a:t>="Top"</a:t>
            </a:r>
            <a:r>
              <a:rPr lang="en-US" sz="1800">
                <a:solidFill>
                  <a:srgbClr val="FF0000"/>
                </a:solidFill>
                <a:latin typeface="Consolas" panose="020B0609020204030204" pitchFamily="49" charset="0"/>
              </a:rPr>
              <a:t> Height</a:t>
            </a:r>
            <a:r>
              <a:rPr lang="en-US" sz="1800">
                <a:solidFill>
                  <a:srgbClr val="0000FF"/>
                </a:solidFill>
                <a:latin typeface="Consolas" panose="020B0609020204030204" pitchFamily="49" charset="0"/>
              </a:rPr>
              <a:t>="87"&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StackPanel</a:t>
            </a:r>
            <a:r>
              <a:rPr lang="en-US" sz="1800">
                <a:solidFill>
                  <a:srgbClr val="0000FF"/>
                </a:solidFill>
                <a:latin typeface="Consolas" panose="020B0609020204030204" pitchFamily="49" charset="0"/>
              </a:rPr>
              <a:t>&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CheckBox</a:t>
            </a:r>
            <a:r>
              <a:rPr lang="en-US" sz="1800">
                <a:solidFill>
                  <a:srgbClr val="FF0000"/>
                </a:solidFill>
                <a:latin typeface="Consolas" panose="020B0609020204030204" pitchFamily="49" charset="0"/>
              </a:rPr>
              <a:t> x</a:t>
            </a:r>
            <a:r>
              <a:rPr lang="en-US" sz="1800">
                <a:solidFill>
                  <a:srgbClr val="0000FF"/>
                </a:solidFill>
                <a:latin typeface="Consolas" panose="020B0609020204030204" pitchFamily="49" charset="0"/>
              </a:rPr>
              <a:t>:</a:t>
            </a:r>
            <a:r>
              <a:rPr lang="en-US" sz="1800">
                <a:solidFill>
                  <a:srgbClr val="FF0000"/>
                </a:solidFill>
                <a:latin typeface="Consolas" panose="020B0609020204030204" pitchFamily="49" charset="0"/>
              </a:rPr>
              <a:t>Name</a:t>
            </a:r>
            <a:r>
              <a:rPr lang="en-US" sz="1800">
                <a:solidFill>
                  <a:srgbClr val="0000FF"/>
                </a:solidFill>
                <a:latin typeface="Consolas" panose="020B0609020204030204" pitchFamily="49" charset="0"/>
              </a:rPr>
              <a:t>="Verbose"</a:t>
            </a:r>
            <a:r>
              <a:rPr lang="en-US" sz="1800">
                <a:solidFill>
                  <a:srgbClr val="FF0000"/>
                </a:solidFill>
                <a:latin typeface="Consolas" panose="020B0609020204030204" pitchFamily="49" charset="0"/>
              </a:rPr>
              <a:t> Content</a:t>
            </a:r>
            <a:r>
              <a:rPr lang="en-US" sz="1800">
                <a:solidFill>
                  <a:srgbClr val="0000FF"/>
                </a:solidFill>
                <a:latin typeface="Consolas" panose="020B0609020204030204" pitchFamily="49" charset="0"/>
              </a:rPr>
              <a:t>="Verbose"/&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CheckBox</a:t>
            </a:r>
            <a:r>
              <a:rPr lang="en-US" sz="1800">
                <a:solidFill>
                  <a:srgbClr val="FF0000"/>
                </a:solidFill>
                <a:latin typeface="Consolas" panose="020B0609020204030204" pitchFamily="49" charset="0"/>
              </a:rPr>
              <a:t> x</a:t>
            </a:r>
            <a:r>
              <a:rPr lang="en-US" sz="1800">
                <a:solidFill>
                  <a:srgbClr val="0000FF"/>
                </a:solidFill>
                <a:latin typeface="Consolas" panose="020B0609020204030204" pitchFamily="49" charset="0"/>
              </a:rPr>
              <a:t>:</a:t>
            </a:r>
            <a:r>
              <a:rPr lang="en-US" sz="1800">
                <a:solidFill>
                  <a:srgbClr val="FF0000"/>
                </a:solidFill>
                <a:latin typeface="Consolas" panose="020B0609020204030204" pitchFamily="49" charset="0"/>
              </a:rPr>
              <a:t>Name</a:t>
            </a:r>
            <a:r>
              <a:rPr lang="en-US" sz="1800">
                <a:solidFill>
                  <a:srgbClr val="0000FF"/>
                </a:solidFill>
                <a:latin typeface="Consolas" panose="020B0609020204030204" pitchFamily="49" charset="0"/>
              </a:rPr>
              <a:t>="Debug"</a:t>
            </a:r>
            <a:r>
              <a:rPr lang="en-US" sz="1800">
                <a:solidFill>
                  <a:srgbClr val="FF0000"/>
                </a:solidFill>
                <a:latin typeface="Consolas" panose="020B0609020204030204" pitchFamily="49" charset="0"/>
              </a:rPr>
              <a:t> Content</a:t>
            </a:r>
            <a:r>
              <a:rPr lang="en-US" sz="1800">
                <a:solidFill>
                  <a:srgbClr val="0000FF"/>
                </a:solidFill>
                <a:latin typeface="Consolas" panose="020B0609020204030204" pitchFamily="49" charset="0"/>
              </a:rPr>
              <a:t>="Debug"/&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CheckBox</a:t>
            </a:r>
            <a:r>
              <a:rPr lang="en-US" sz="1800">
                <a:solidFill>
                  <a:srgbClr val="FF0000"/>
                </a:solidFill>
                <a:latin typeface="Consolas" panose="020B0609020204030204" pitchFamily="49" charset="0"/>
              </a:rPr>
              <a:t> x</a:t>
            </a:r>
            <a:r>
              <a:rPr lang="en-US" sz="1800">
                <a:solidFill>
                  <a:srgbClr val="0000FF"/>
                </a:solidFill>
                <a:latin typeface="Consolas" panose="020B0609020204030204" pitchFamily="49" charset="0"/>
              </a:rPr>
              <a:t>:</a:t>
            </a:r>
            <a:r>
              <a:rPr lang="en-US" sz="1800">
                <a:solidFill>
                  <a:srgbClr val="FF0000"/>
                </a:solidFill>
                <a:latin typeface="Consolas" panose="020B0609020204030204" pitchFamily="49" charset="0"/>
              </a:rPr>
              <a:t>Name</a:t>
            </a:r>
            <a:r>
              <a:rPr lang="en-US" sz="1800">
                <a:solidFill>
                  <a:srgbClr val="0000FF"/>
                </a:solidFill>
                <a:latin typeface="Consolas" panose="020B0609020204030204" pitchFamily="49" charset="0"/>
              </a:rPr>
              <a:t>="Force"</a:t>
            </a:r>
            <a:r>
              <a:rPr lang="en-US" sz="1800">
                <a:solidFill>
                  <a:srgbClr val="FF0000"/>
                </a:solidFill>
                <a:latin typeface="Consolas" panose="020B0609020204030204" pitchFamily="49" charset="0"/>
              </a:rPr>
              <a:t> Content</a:t>
            </a:r>
            <a:r>
              <a:rPr lang="en-US" sz="1800">
                <a:solidFill>
                  <a:srgbClr val="0000FF"/>
                </a:solidFill>
                <a:latin typeface="Consolas" panose="020B0609020204030204" pitchFamily="49" charset="0"/>
              </a:rPr>
              <a:t>="Force"/&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StackPanel</a:t>
            </a:r>
            <a:r>
              <a:rPr lang="en-US" sz="1800">
                <a:solidFill>
                  <a:srgbClr val="0000FF"/>
                </a:solidFill>
                <a:latin typeface="Consolas" panose="020B0609020204030204" pitchFamily="49" charset="0"/>
              </a:rPr>
              <a:t>&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GroupBox</a:t>
            </a:r>
            <a:r>
              <a:rPr lang="en-US" sz="1800">
                <a:solidFill>
                  <a:srgbClr val="0000FF"/>
                </a:solidFill>
                <a:latin typeface="Consolas" panose="020B0609020204030204" pitchFamily="49" charset="0"/>
              </a:rPr>
              <a:t>&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TextBlock</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HorizontalAlignment</a:t>
            </a:r>
            <a:r>
              <a:rPr lang="en-US" sz="1800">
                <a:solidFill>
                  <a:srgbClr val="0000FF"/>
                </a:solidFill>
                <a:latin typeface="Consolas" panose="020B0609020204030204" pitchFamily="49" charset="0"/>
              </a:rPr>
              <a:t>="Left"</a:t>
            </a:r>
            <a:r>
              <a:rPr lang="en-US" sz="1800">
                <a:solidFill>
                  <a:srgbClr val="FF0000"/>
                </a:solidFill>
                <a:latin typeface="Consolas" panose="020B0609020204030204" pitchFamily="49" charset="0"/>
              </a:rPr>
              <a:t> Margin</a:t>
            </a:r>
            <a:r>
              <a:rPr lang="en-US" sz="1800">
                <a:solidFill>
                  <a:srgbClr val="0000FF"/>
                </a:solidFill>
                <a:latin typeface="Consolas" panose="020B0609020204030204" pitchFamily="49" charset="0"/>
              </a:rPr>
              <a:t>="11,194,0,0"</a:t>
            </a:r>
            <a:r>
              <a:rPr lang="en-US" sz="1800">
                <a:solidFill>
                  <a:srgbClr val="FF0000"/>
                </a:solidFill>
                <a:latin typeface="Consolas" panose="020B0609020204030204" pitchFamily="49" charset="0"/>
              </a:rPr>
              <a:t> Text</a:t>
            </a:r>
            <a:r>
              <a:rPr lang="en-US" sz="1800">
                <a:solidFill>
                  <a:srgbClr val="0000FF"/>
                </a:solidFill>
                <a:latin typeface="Consolas" panose="020B0609020204030204" pitchFamily="49" charset="0"/>
              </a:rPr>
              <a:t>="Parameter 3"</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TextWrapping</a:t>
            </a:r>
            <a:r>
              <a:rPr lang="en-US" sz="1800">
                <a:solidFill>
                  <a:srgbClr val="0000FF"/>
                </a:solidFill>
                <a:latin typeface="Consolas" panose="020B0609020204030204" pitchFamily="49" charset="0"/>
              </a:rPr>
              <a:t>="Wrap"</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VerticalAlignment</a:t>
            </a:r>
            <a:r>
              <a:rPr lang="en-US" sz="1800">
                <a:solidFill>
                  <a:srgbClr val="0000FF"/>
                </a:solidFill>
                <a:latin typeface="Consolas" panose="020B0609020204030204" pitchFamily="49" charset="0"/>
              </a:rPr>
              <a:t>="Top"/&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TextBlock</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HorizontalAlignment</a:t>
            </a:r>
            <a:r>
              <a:rPr lang="en-US" sz="1800">
                <a:solidFill>
                  <a:srgbClr val="0000FF"/>
                </a:solidFill>
                <a:latin typeface="Consolas" panose="020B0609020204030204" pitchFamily="49" charset="0"/>
              </a:rPr>
              <a:t>="Left"</a:t>
            </a:r>
            <a:r>
              <a:rPr lang="en-US" sz="1800">
                <a:solidFill>
                  <a:srgbClr val="FF0000"/>
                </a:solidFill>
                <a:latin typeface="Consolas" panose="020B0609020204030204" pitchFamily="49" charset="0"/>
              </a:rPr>
              <a:t> Margin</a:t>
            </a:r>
            <a:r>
              <a:rPr lang="en-US" sz="1800">
                <a:solidFill>
                  <a:srgbClr val="0000FF"/>
                </a:solidFill>
                <a:latin typeface="Consolas" panose="020B0609020204030204" pitchFamily="49" charset="0"/>
              </a:rPr>
              <a:t>="11,110,0,0"</a:t>
            </a:r>
            <a:r>
              <a:rPr lang="en-US" sz="1800">
                <a:solidFill>
                  <a:srgbClr val="FF0000"/>
                </a:solidFill>
                <a:latin typeface="Consolas" panose="020B0609020204030204" pitchFamily="49" charset="0"/>
              </a:rPr>
              <a:t> Text</a:t>
            </a:r>
            <a:r>
              <a:rPr lang="en-US" sz="1800">
                <a:solidFill>
                  <a:srgbClr val="0000FF"/>
                </a:solidFill>
                <a:latin typeface="Consolas" panose="020B0609020204030204" pitchFamily="49" charset="0"/>
              </a:rPr>
              <a:t>="Parameter 2"</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TextWrapping</a:t>
            </a:r>
            <a:r>
              <a:rPr lang="en-US" sz="1800">
                <a:solidFill>
                  <a:srgbClr val="0000FF"/>
                </a:solidFill>
                <a:latin typeface="Consolas" panose="020B0609020204030204" pitchFamily="49" charset="0"/>
              </a:rPr>
              <a:t>="Wrap"</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VerticalAlignment</a:t>
            </a:r>
            <a:r>
              <a:rPr lang="en-US" sz="1800">
                <a:solidFill>
                  <a:srgbClr val="0000FF"/>
                </a:solidFill>
                <a:latin typeface="Consolas" panose="020B0609020204030204" pitchFamily="49" charset="0"/>
              </a:rPr>
              <a:t>="Top"/&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TextBlock</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HorizontalAlignment</a:t>
            </a:r>
            <a:r>
              <a:rPr lang="en-US" sz="1800">
                <a:solidFill>
                  <a:srgbClr val="0000FF"/>
                </a:solidFill>
                <a:latin typeface="Consolas" panose="020B0609020204030204" pitchFamily="49" charset="0"/>
              </a:rPr>
              <a:t>="Left"</a:t>
            </a:r>
            <a:r>
              <a:rPr lang="en-US" sz="1800">
                <a:solidFill>
                  <a:srgbClr val="FF0000"/>
                </a:solidFill>
                <a:latin typeface="Consolas" panose="020B0609020204030204" pitchFamily="49" charset="0"/>
              </a:rPr>
              <a:t> Margin</a:t>
            </a:r>
            <a:r>
              <a:rPr lang="en-US" sz="1800">
                <a:solidFill>
                  <a:srgbClr val="0000FF"/>
                </a:solidFill>
                <a:latin typeface="Consolas" panose="020B0609020204030204" pitchFamily="49" charset="0"/>
              </a:rPr>
              <a:t>="11,23,0,0"</a:t>
            </a:r>
            <a:r>
              <a:rPr lang="en-US" sz="1800">
                <a:solidFill>
                  <a:srgbClr val="FF0000"/>
                </a:solidFill>
                <a:latin typeface="Consolas" panose="020B0609020204030204" pitchFamily="49" charset="0"/>
              </a:rPr>
              <a:t> Text</a:t>
            </a:r>
            <a:r>
              <a:rPr lang="en-US" sz="1800">
                <a:solidFill>
                  <a:srgbClr val="0000FF"/>
                </a:solidFill>
                <a:latin typeface="Consolas" panose="020B0609020204030204" pitchFamily="49" charset="0"/>
              </a:rPr>
              <a:t>="Parameter 1"</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TextWrapping</a:t>
            </a:r>
            <a:r>
              <a:rPr lang="en-US" sz="1800">
                <a:solidFill>
                  <a:srgbClr val="0000FF"/>
                </a:solidFill>
                <a:latin typeface="Consolas" panose="020B0609020204030204" pitchFamily="49" charset="0"/>
              </a:rPr>
              <a:t>="Wrap"</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VerticalAlignment</a:t>
            </a:r>
            <a:r>
              <a:rPr lang="en-US" sz="1800">
                <a:solidFill>
                  <a:srgbClr val="0000FF"/>
                </a:solidFill>
                <a:latin typeface="Consolas" panose="020B0609020204030204" pitchFamily="49" charset="0"/>
              </a:rPr>
              <a:t>="Top"/&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TextBox</a:t>
            </a:r>
            <a:r>
              <a:rPr lang="en-US" sz="1800">
                <a:solidFill>
                  <a:srgbClr val="FF0000"/>
                </a:solidFill>
                <a:latin typeface="Consolas" panose="020B0609020204030204" pitchFamily="49" charset="0"/>
              </a:rPr>
              <a:t> x</a:t>
            </a:r>
            <a:r>
              <a:rPr lang="en-US" sz="1800">
                <a:solidFill>
                  <a:srgbClr val="0000FF"/>
                </a:solidFill>
                <a:latin typeface="Consolas" panose="020B0609020204030204" pitchFamily="49" charset="0"/>
              </a:rPr>
              <a:t>:</a:t>
            </a:r>
            <a:r>
              <a:rPr lang="en-US" sz="1800">
                <a:solidFill>
                  <a:srgbClr val="FF0000"/>
                </a:solidFill>
                <a:latin typeface="Consolas" panose="020B0609020204030204" pitchFamily="49" charset="0"/>
              </a:rPr>
              <a:t>Name</a:t>
            </a:r>
            <a:r>
              <a:rPr lang="en-US" sz="1800">
                <a:solidFill>
                  <a:srgbClr val="0000FF"/>
                </a:solidFill>
                <a:latin typeface="Consolas" panose="020B0609020204030204" pitchFamily="49" charset="0"/>
              </a:rPr>
              <a:t>="textBox_Copy"</a:t>
            </a:r>
            <a:r>
              <a:rPr lang="en-US" sz="1800">
                <a:solidFill>
                  <a:srgbClr val="FF0000"/>
                </a:solidFill>
                <a:latin typeface="Consolas" panose="020B0609020204030204" pitchFamily="49" charset="0"/>
              </a:rPr>
              <a:t> Height</a:t>
            </a:r>
            <a:r>
              <a:rPr lang="en-US" sz="1800">
                <a:solidFill>
                  <a:srgbClr val="0000FF"/>
                </a:solidFill>
                <a:latin typeface="Consolas" panose="020B0609020204030204" pitchFamily="49" charset="0"/>
              </a:rPr>
              <a:t>="23"</a:t>
            </a:r>
            <a:r>
              <a:rPr lang="en-US" sz="1800">
                <a:solidFill>
                  <a:srgbClr val="FF0000"/>
                </a:solidFill>
                <a:latin typeface="Consolas" panose="020B0609020204030204" pitchFamily="49" charset="0"/>
              </a:rPr>
              <a:t> Margin</a:t>
            </a:r>
            <a:r>
              <a:rPr lang="en-US" sz="1800">
                <a:solidFill>
                  <a:srgbClr val="0000FF"/>
                </a:solidFill>
                <a:latin typeface="Consolas" panose="020B0609020204030204" pitchFamily="49" charset="0"/>
              </a:rPr>
              <a:t>="11,138,0,0"</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TextWrapping</a:t>
            </a:r>
            <a:r>
              <a:rPr lang="en-US" sz="1800">
                <a:solidFill>
                  <a:srgbClr val="0000FF"/>
                </a:solidFill>
                <a:latin typeface="Consolas" panose="020B0609020204030204" pitchFamily="49" charset="0"/>
              </a:rPr>
              <a:t>="Wrap"</a:t>
            </a:r>
            <a:r>
              <a:rPr lang="en-US" sz="1800">
                <a:solidFill>
                  <a:srgbClr val="FF0000"/>
                </a:solidFill>
                <a:latin typeface="Consolas" panose="020B0609020204030204" pitchFamily="49" charset="0"/>
              </a:rPr>
              <a:t> Text</a:t>
            </a:r>
            <a:r>
              <a:rPr lang="en-US" sz="1800">
                <a:solidFill>
                  <a:srgbClr val="0000FF"/>
                </a:solidFill>
                <a:latin typeface="Consolas" panose="020B0609020204030204" pitchFamily="49" charset="0"/>
              </a:rPr>
              <a:t>="</a:t>
            </a:r>
            <a:r>
              <a:rPr lang="en-US" sz="1800" err="1">
                <a:solidFill>
                  <a:srgbClr val="0000FF"/>
                </a:solidFill>
                <a:latin typeface="Consolas" panose="020B0609020204030204" pitchFamily="49" charset="0"/>
              </a:rPr>
              <a:t>TextBox</a:t>
            </a:r>
            <a:r>
              <a:rPr lang="en-US" sz="1800">
                <a:solidFill>
                  <a:srgbClr val="0000FF"/>
                </a:solidFill>
                <a:latin typeface="Consolas" panose="020B0609020204030204" pitchFamily="49" charset="0"/>
              </a:rPr>
              <a:t>"</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VerticalAlignment</a:t>
            </a:r>
            <a:r>
              <a:rPr lang="en-US" sz="1800">
                <a:solidFill>
                  <a:srgbClr val="0000FF"/>
                </a:solidFill>
                <a:latin typeface="Consolas" panose="020B0609020204030204" pitchFamily="49" charset="0"/>
              </a:rPr>
              <a:t>="Top"</a:t>
            </a:r>
            <a:r>
              <a:rPr lang="en-US" sz="1800">
                <a:solidFill>
                  <a:srgbClr val="FF0000"/>
                </a:solidFill>
                <a:latin typeface="Consolas" panose="020B0609020204030204" pitchFamily="49" charset="0"/>
              </a:rPr>
              <a:t> </a:t>
            </a:r>
            <a:r>
              <a:rPr lang="en-US" sz="1800" err="1">
                <a:solidFill>
                  <a:srgbClr val="FF0000"/>
                </a:solidFill>
                <a:latin typeface="Consolas" panose="020B0609020204030204" pitchFamily="49" charset="0"/>
              </a:rPr>
              <a:t>HorizontalAlignment</a:t>
            </a:r>
            <a:r>
              <a:rPr lang="en-US" sz="1800">
                <a:solidFill>
                  <a:srgbClr val="0000FF"/>
                </a:solidFill>
                <a:latin typeface="Consolas" panose="020B0609020204030204" pitchFamily="49" charset="0"/>
              </a:rPr>
              <a:t>="Left"</a:t>
            </a:r>
            <a:r>
              <a:rPr lang="en-US" sz="1800">
                <a:solidFill>
                  <a:srgbClr val="FF0000"/>
                </a:solidFill>
                <a:latin typeface="Consolas" panose="020B0609020204030204" pitchFamily="49" charset="0"/>
              </a:rPr>
              <a:t> Width</a:t>
            </a:r>
            <a:r>
              <a:rPr lang="en-US" sz="1800">
                <a:solidFill>
                  <a:srgbClr val="0000FF"/>
                </a:solidFill>
                <a:latin typeface="Consolas" panose="020B0609020204030204" pitchFamily="49" charset="0"/>
              </a:rPr>
              <a:t>="151"/&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a:solidFill>
                  <a:srgbClr val="A31515"/>
                </a:solidFill>
                <a:latin typeface="Consolas" panose="020B0609020204030204" pitchFamily="49" charset="0"/>
              </a:rPr>
              <a:t>Grid</a:t>
            </a:r>
            <a:r>
              <a:rPr lang="en-US" sz="1800">
                <a:solidFill>
                  <a:srgbClr val="0000FF"/>
                </a:solidFill>
                <a:latin typeface="Consolas" panose="020B0609020204030204" pitchFamily="49" charset="0"/>
              </a:rPr>
              <a:t>&gt;</a:t>
            </a:r>
            <a:endParaRPr lang="en-US" sz="1800">
              <a:solidFill>
                <a:srgbClr val="000000"/>
              </a:solidFill>
              <a:latin typeface="Consolas" panose="020B0609020204030204" pitchFamily="49" charset="0"/>
            </a:endParaRPr>
          </a:p>
          <a:p>
            <a:r>
              <a:rPr lang="en-US" sz="1800">
                <a:solidFill>
                  <a:srgbClr val="000000"/>
                </a:solidFill>
                <a:latin typeface="Consolas" panose="020B0609020204030204" pitchFamily="49" charset="0"/>
              </a:rPr>
              <a:t>    </a:t>
            </a:r>
            <a:r>
              <a:rPr lang="en-US" sz="1800">
                <a:solidFill>
                  <a:srgbClr val="0000FF"/>
                </a:solidFill>
                <a:latin typeface="Consolas" panose="020B0609020204030204" pitchFamily="49" charset="0"/>
              </a:rPr>
              <a:t>&lt;/</a:t>
            </a:r>
            <a:r>
              <a:rPr lang="en-US" sz="1800" err="1">
                <a:solidFill>
                  <a:srgbClr val="A31515"/>
                </a:solidFill>
                <a:latin typeface="Consolas" panose="020B0609020204030204" pitchFamily="49" charset="0"/>
              </a:rPr>
              <a:t>Viewbox</a:t>
            </a:r>
            <a:r>
              <a:rPr lang="en-US" sz="1800">
                <a:solidFill>
                  <a:srgbClr val="0000FF"/>
                </a:solidFill>
                <a:latin typeface="Consolas" panose="020B0609020204030204" pitchFamily="49" charset="0"/>
              </a:rPr>
              <a:t>&gt;</a:t>
            </a:r>
            <a:endParaRPr lang="en-US" sz="1800">
              <a:solidFill>
                <a:srgbClr val="000000"/>
              </a:solidFill>
              <a:latin typeface="Consolas" panose="020B0609020204030204" pitchFamily="49" charset="0"/>
            </a:endParaRPr>
          </a:p>
          <a:p>
            <a:r>
              <a:rPr lang="en-US" sz="1800">
                <a:solidFill>
                  <a:srgbClr val="0000FF"/>
                </a:solidFill>
                <a:latin typeface="Consolas" panose="020B0609020204030204" pitchFamily="49" charset="0"/>
              </a:rPr>
              <a:t>&lt;/</a:t>
            </a:r>
            <a:r>
              <a:rPr lang="en-US" sz="1800">
                <a:solidFill>
                  <a:srgbClr val="A31515"/>
                </a:solidFill>
                <a:latin typeface="Consolas" panose="020B0609020204030204" pitchFamily="49" charset="0"/>
              </a:rPr>
              <a:t>Window</a:t>
            </a:r>
            <a:r>
              <a:rPr lang="en-US" sz="1800">
                <a:solidFill>
                  <a:srgbClr val="0000FF"/>
                </a:solidFill>
                <a:latin typeface="Consolas" panose="020B0609020204030204" pitchFamily="49" charset="0"/>
              </a:rPr>
              <a:t>&gt;</a:t>
            </a:r>
            <a:endParaRPr lang="en-US" sz="1800">
              <a:solidFill>
                <a:srgbClr val="000000"/>
              </a:solidFill>
              <a:latin typeface="Consolas" panose="020B0609020204030204" pitchFamily="49" charset="0"/>
            </a:endParaRPr>
          </a:p>
          <a:p>
            <a:r>
              <a:rPr lang="en-US"/>
              <a:t>##### END XAML CODE #####</a:t>
            </a:r>
          </a:p>
        </p:txBody>
      </p:sp>
      <p:sp>
        <p:nvSpPr>
          <p:cNvPr id="4" name="Slide Number Placeholder 3"/>
          <p:cNvSpPr>
            <a:spLocks noGrp="1"/>
          </p:cNvSpPr>
          <p:nvPr>
            <p:ph type="sldNum" sz="quarter" idx="5"/>
          </p:nvPr>
        </p:nvSpPr>
        <p:spPr/>
        <p:txBody>
          <a:bodyPr/>
          <a:lstStyle/>
          <a:p>
            <a:fld id="{B4008EB6-D09E-4580-8CD6-DDB14511944F}" type="slidenum">
              <a:rPr lang="en-US"/>
              <a:pPr/>
              <a:t>6</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1278021530"/>
      </p:ext>
    </p:extLst>
  </p:cSld>
  <p:clrMapOvr>
    <a:masterClrMapping/>
  </p:clrMapOvr>
</p:notes>
</file>

<file path=ppt/notesSlides/notesSlide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7</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12/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28163489"/>
      </p:ext>
    </p:extLst>
  </p:cSld>
  <p:clrMapOvr>
    <a:masterClrMapping/>
  </p:clrMapOvr>
</p:notes>
</file>

<file path=ppt/notesSlides/notesSlide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8</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12/12/2022</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257790842"/>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9</a:t>
            </a:fld>
            <a:endParaRPr lang="en-US"/>
          </a:p>
        </p:txBody>
      </p:sp>
      <p:sp>
        <p:nvSpPr>
          <p:cNvPr id="5" name="Date Placeholder 4"/>
          <p:cNvSpPr>
            <a:spLocks noGrp="1"/>
          </p:cNvSpPr>
          <p:nvPr>
            <p:ph type="dt" idx="1"/>
          </p:nvPr>
        </p:nvSpPr>
        <p:spPr/>
        <p:txBody>
          <a:bodyPr/>
          <a:lstStyle/>
          <a:p>
            <a:fld id="{B63683C5-D28F-4EF7-868C-6B282EBD67F9}" type="datetime8">
              <a:rPr lang="en-US"/>
              <a:t>12/12/2022 2:24 PM</a:t>
            </a:fld>
            <a:endParaRPr lang="en-US"/>
          </a:p>
        </p:txBody>
      </p:sp>
    </p:spTree>
    <p:extLst>
      <p:ext uri="{BB962C8B-B14F-4D97-AF65-F5344CB8AC3E}">
        <p14:creationId xmlns:p14="http://schemas.microsoft.com/office/powerpoint/2010/main" val="29738524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 Select Logo</a:t>
            </a:r>
          </a:p>
        </p:txBody>
      </p:sp>
    </p:spTree>
    <p:extLst>
      <p:ext uri="{BB962C8B-B14F-4D97-AF65-F5344CB8AC3E}">
        <p14:creationId xmlns:p14="http://schemas.microsoft.com/office/powerpoint/2010/main" val="3603992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646261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3289673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81270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443436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955072316"/>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602720337"/>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678937817"/>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p>
        </p:txBody>
      </p:sp>
    </p:spTree>
    <p:extLst>
      <p:ext uri="{BB962C8B-B14F-4D97-AF65-F5344CB8AC3E}">
        <p14:creationId xmlns:p14="http://schemas.microsoft.com/office/powerpoint/2010/main" val="199133385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238849807"/>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415459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Tree>
    <p:extLst>
      <p:ext uri="{BB962C8B-B14F-4D97-AF65-F5344CB8AC3E}">
        <p14:creationId xmlns:p14="http://schemas.microsoft.com/office/powerpoint/2010/main" val="19570366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63211550"/>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058074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400501205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42911654"/>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53993860"/>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4587044"/>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99990454"/>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2716978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95893206"/>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5264784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66349025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5076727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8017343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93161302"/>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3232838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2190846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89796695"/>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439522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07129256"/>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1781415"/>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346070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2466669533"/>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103014"/>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868158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39482252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65947398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579308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1402533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62916831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16949032"/>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4533096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4180409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79615728"/>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53" r:id="rId3"/>
    <p:sldLayoutId id="2147483684" r:id="rId4"/>
    <p:sldLayoutId id="2147483675" r:id="rId5"/>
    <p:sldLayoutId id="2147483669" r:id="rId6"/>
    <p:sldLayoutId id="2147483657" r:id="rId7"/>
    <p:sldLayoutId id="2147483692" r:id="rId8"/>
    <p:sldLayoutId id="2147483685" r:id="rId9"/>
    <p:sldLayoutId id="2147483680" r:id="rId10"/>
    <p:sldLayoutId id="2147483670" r:id="rId11"/>
    <p:sldLayoutId id="2147483658" r:id="rId12"/>
    <p:sldLayoutId id="2147483649" r:id="rId13"/>
    <p:sldLayoutId id="2147483686" r:id="rId14"/>
    <p:sldLayoutId id="2147483676" r:id="rId15"/>
    <p:sldLayoutId id="2147483664" r:id="rId16"/>
    <p:sldLayoutId id="2147483659" r:id="rId17"/>
    <p:sldLayoutId id="2147483650" r:id="rId18"/>
    <p:sldLayoutId id="2147483681" r:id="rId19"/>
    <p:sldLayoutId id="2147483665" r:id="rId20"/>
    <p:sldLayoutId id="2147483654" r:id="rId21"/>
    <p:sldLayoutId id="2147483687" r:id="rId22"/>
    <p:sldLayoutId id="2147483677" r:id="rId23"/>
    <p:sldLayoutId id="2147483671" r:id="rId24"/>
    <p:sldLayoutId id="2147483660" r:id="rId25"/>
    <p:sldLayoutId id="2147483651" r:id="rId26"/>
    <p:sldLayoutId id="2147483688" r:id="rId27"/>
    <p:sldLayoutId id="2147483678" r:id="rId28"/>
    <p:sldLayoutId id="2147483666" r:id="rId29"/>
    <p:sldLayoutId id="2147483689" r:id="rId30"/>
    <p:sldLayoutId id="2147483682" r:id="rId31"/>
    <p:sldLayoutId id="2147483672" r:id="rId32"/>
    <p:sldLayoutId id="2147483661" r:id="rId33"/>
    <p:sldLayoutId id="2147483655" r:id="rId34"/>
    <p:sldLayoutId id="2147483690" r:id="rId35"/>
    <p:sldLayoutId id="2147483679" r:id="rId36"/>
    <p:sldLayoutId id="2147483673" r:id="rId37"/>
    <p:sldLayoutId id="2147483662" r:id="rId38"/>
    <p:sldLayoutId id="2147483652" r:id="rId39"/>
    <p:sldLayoutId id="2147483674" r:id="rId40"/>
    <p:sldLayoutId id="2147483667" r:id="rId41"/>
    <p:sldLayoutId id="2147483656" r:id="rId42"/>
    <p:sldLayoutId id="2147483691" r:id="rId43"/>
    <p:sldLayoutId id="2147483683"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customXml" Target="../../customXml/item2.xml"/><Relationship Id="rId1" Type="http://schemas.openxmlformats.org/officeDocument/2006/relationships/tags" Target="../tags/tag6.xml"/><Relationship Id="rId4" Type="http://schemas.openxmlformats.org/officeDocument/2006/relationships/notesSlide" Target="../notesSlides/notesSlide1.xml"/></Relationships>
</file>

<file path=ppt/slides/_rels/slide10.xml.rels>&#65279;<?xml version="1.0" encoding="utf-8"?><Relationships xmlns="http://schemas.openxmlformats.org/package/2006/relationships"><Relationship Type="http://schemas.microsoft.com/office/2007/relationships/diagramDrawing" Target="../diagrams/drawing5.xml" Id="rId8" /><Relationship Type="http://schemas.openxmlformats.org/officeDocument/2006/relationships/notesSlide" Target="../notesSlides/notesSlide10.xml" Id="rId3" /><Relationship Type="http://schemas.openxmlformats.org/officeDocument/2006/relationships/diagramColors" Target="../diagrams/colors5.xml" Id="rId7" /><Relationship Type="http://schemas.openxmlformats.org/officeDocument/2006/relationships/slideLayout" Target="../slideLayouts/slideLayout8.xml" Id="rId2" /><Relationship Type="http://schemas.openxmlformats.org/officeDocument/2006/relationships/tags" Target="../tags/tag16.xml" Id="rId1" /><Relationship Type="http://schemas.openxmlformats.org/officeDocument/2006/relationships/diagramQuickStyle" Target="../diagrams/quickStyle5.xml" Id="rId6" /><Relationship Type="http://schemas.openxmlformats.org/officeDocument/2006/relationships/diagramLayout" Target="../diagrams/layout5.xml" Id="rId5" /><Relationship Type="http://schemas.openxmlformats.org/officeDocument/2006/relationships/diagramData" Target="../diagrams/data5.xml" Id="rId4" /></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notesSlide" Target="../notesSlides/notesSlide11.xml"/><Relationship Id="rId7" Type="http://schemas.openxmlformats.org/officeDocument/2006/relationships/diagramQuickStyle" Target="../diagrams/quickStyle6.xml"/><Relationship Id="rId2" Type="http://schemas.openxmlformats.org/officeDocument/2006/relationships/slideLayout" Target="../slideLayouts/slideLayout8.xml"/><Relationship Id="rId1" Type="http://schemas.openxmlformats.org/officeDocument/2006/relationships/tags" Target="../tags/tag17.xml"/><Relationship Id="rId6" Type="http://schemas.openxmlformats.org/officeDocument/2006/relationships/diagramLayout" Target="../diagrams/layout6.xml"/><Relationship Id="rId11" Type="http://schemas.openxmlformats.org/officeDocument/2006/relationships/image" Target="../media/image15.png"/><Relationship Id="rId5" Type="http://schemas.openxmlformats.org/officeDocument/2006/relationships/diagramData" Target="../diagrams/data6.xml"/><Relationship Id="rId10" Type="http://schemas.openxmlformats.org/officeDocument/2006/relationships/image" Target="../media/image14.png"/><Relationship Id="rId4" Type="http://schemas.openxmlformats.org/officeDocument/2006/relationships/image" Target="../media/image13.png"/><Relationship Id="rId9" Type="http://schemas.microsoft.com/office/2007/relationships/diagramDrawing" Target="../diagrams/drawing6.xml"/></Relationships>
</file>

<file path=ppt/slides/_rels/slide12.xml.rels>&#65279;<?xml version="1.0" encoding="utf-8"?><Relationships xmlns="http://schemas.openxmlformats.org/package/2006/relationships"><Relationship Type="http://schemas.microsoft.com/office/2007/relationships/diagramDrawing" Target="../diagrams/drawing7.xml" Id="rId8" /><Relationship Type="http://schemas.openxmlformats.org/officeDocument/2006/relationships/notesSlide" Target="../notesSlides/notesSlide12.xml" Id="rId3" /><Relationship Type="http://schemas.openxmlformats.org/officeDocument/2006/relationships/diagramColors" Target="../diagrams/colors7.xml" Id="rId7" /><Relationship Type="http://schemas.openxmlformats.org/officeDocument/2006/relationships/slideLayout" Target="../slideLayouts/slideLayout22.xml" Id="rId2" /><Relationship Type="http://schemas.openxmlformats.org/officeDocument/2006/relationships/tags" Target="../tags/tag18.xml" Id="rId1" /><Relationship Type="http://schemas.openxmlformats.org/officeDocument/2006/relationships/diagramQuickStyle" Target="../diagrams/quickStyle7.xml" Id="rId6" /><Relationship Type="http://schemas.openxmlformats.org/officeDocument/2006/relationships/diagramLayout" Target="../diagrams/layout7.xml" Id="rId5" /><Relationship Type="http://schemas.openxmlformats.org/officeDocument/2006/relationships/diagramData" Target="../diagrams/data7.xml" Id="rId4" /><Relationship Type="http://schemas.openxmlformats.org/officeDocument/2006/relationships/image" Target="../media/image16.png" Id="rId9" /></Relationships>
</file>

<file path=ppt/slides/_rels/slide14.xml.rels>&#65279;<?xml version="1.0" encoding="utf-8"?><Relationships xmlns="http://schemas.openxmlformats.org/package/2006/relationships"><Relationship Type="http://schemas.microsoft.com/office/2007/relationships/diagramDrawing" Target="../diagrams/drawing9.xml" Id="rId8" /><Relationship Type="http://schemas.openxmlformats.org/officeDocument/2006/relationships/notesSlide" Target="../notesSlides/notesSlide14.xml" Id="rId3" /><Relationship Type="http://schemas.openxmlformats.org/officeDocument/2006/relationships/diagramColors" Target="../diagrams/colors9.xml" Id="rId7" /><Relationship Type="http://schemas.openxmlformats.org/officeDocument/2006/relationships/slideLayout" Target="../slideLayouts/slideLayout22.xml" Id="rId2" /><Relationship Type="http://schemas.openxmlformats.org/officeDocument/2006/relationships/tags" Target="../tags/tag20.xml" Id="rId1" /><Relationship Type="http://schemas.openxmlformats.org/officeDocument/2006/relationships/diagramQuickStyle" Target="../diagrams/quickStyle9.xml" Id="rId6" /><Relationship Type="http://schemas.openxmlformats.org/officeDocument/2006/relationships/diagramLayout" Target="../diagrams/layout9.xml" Id="rId5" /><Relationship Type="http://schemas.openxmlformats.org/officeDocument/2006/relationships/diagramData" Target="../diagrams/data9.xml" Id="rId4" /><Relationship Type="http://schemas.openxmlformats.org/officeDocument/2006/relationships/image" Target="../media/image16.png" Id="rId9" /></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7.jpe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5.jpeg"/><Relationship Id="rId4" Type="http://schemas.openxmlformats.org/officeDocument/2006/relationships/notesSlide" Target="../notesSlides/notesSlide16.xml"/></Relationships>
</file>

<file path=ppt/slides/_rels/slide17.xml.rels>&#65279;<?xml version="1.0" encoding="utf-8"?><Relationships xmlns="http://schemas.openxmlformats.org/package/2006/relationships"><Relationship Type="http://schemas.openxmlformats.org/officeDocument/2006/relationships/slideLayout" Target="../slideLayouts/slideLayout24.xml" Id="rId3" /><Relationship Type="http://schemas.openxmlformats.org/officeDocument/2006/relationships/customXml" Target="../../customXml/item14.xml" Id="rId2" /><Relationship Type="http://schemas.openxmlformats.org/officeDocument/2006/relationships/tags" Target="../tags/tag25.xml" Id="rId1" /><Relationship Type="http://schemas.openxmlformats.org/officeDocument/2006/relationships/image" Target="../media/image18.jpeg" Id="rId5" /><Relationship Type="http://schemas.openxmlformats.org/officeDocument/2006/relationships/notesSlide" Target="../notesSlides/notesSlide17.xml" Id="rId4" /></Relationships>
</file>

<file path=ppt/slides/_rels/slide18.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notesSlide" Target="../notesSlides/notesSlide18.xml"/><Relationship Id="rId7" Type="http://schemas.openxmlformats.org/officeDocument/2006/relationships/diagramColors" Target="../diagrams/colors10.xml"/><Relationship Id="rId2" Type="http://schemas.openxmlformats.org/officeDocument/2006/relationships/slideLayout" Target="../slideLayouts/slideLayout35.xml"/><Relationship Id="rId1" Type="http://schemas.openxmlformats.org/officeDocument/2006/relationships/tags" Target="../tags/tag26.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 Id="rId9" Type="http://schemas.openxmlformats.org/officeDocument/2006/relationships/image" Target="../media/image19.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8.xml"/><Relationship Id="rId1" Type="http://schemas.openxmlformats.org/officeDocument/2006/relationships/tags" Target="../tags/tag27.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20.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notesSlide" Target="../notesSlides/notesSlide20.xml"/><Relationship Id="rId7" Type="http://schemas.openxmlformats.org/officeDocument/2006/relationships/diagramColors" Target="../diagrams/colors11.xml"/><Relationship Id="rId2" Type="http://schemas.openxmlformats.org/officeDocument/2006/relationships/slideLayout" Target="../slideLayouts/slideLayout8.xml"/><Relationship Id="rId1" Type="http://schemas.openxmlformats.org/officeDocument/2006/relationships/tags" Target="../tags/tag28.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 Id="rId9" Type="http://schemas.openxmlformats.org/officeDocument/2006/relationships/image" Target="../media/image21.png"/></Relationships>
</file>

<file path=ppt/slides/_rels/slide22.xml.rels>&#65279;<?xml version="1.0" encoding="utf-8"?><Relationships xmlns="http://schemas.openxmlformats.org/package/2006/relationships"><Relationship Type="http://schemas.microsoft.com/office/2007/relationships/diagramDrawing" Target="../diagrams/drawing13.xml" Id="rId8" /><Relationship Type="http://schemas.openxmlformats.org/officeDocument/2006/relationships/notesSlide" Target="../notesSlides/notesSlide22.xml" Id="rId3" /><Relationship Type="http://schemas.openxmlformats.org/officeDocument/2006/relationships/diagramColors" Target="../diagrams/colors13.xml" Id="rId7" /><Relationship Type="http://schemas.openxmlformats.org/officeDocument/2006/relationships/slideLayout" Target="../slideLayouts/slideLayout15.xml" Id="rId2" /><Relationship Type="http://schemas.openxmlformats.org/officeDocument/2006/relationships/tags" Target="../tags/tag30.xml" Id="rId1" /><Relationship Type="http://schemas.openxmlformats.org/officeDocument/2006/relationships/diagramQuickStyle" Target="../diagrams/quickStyle13.xml" Id="rId6" /><Relationship Type="http://schemas.openxmlformats.org/officeDocument/2006/relationships/diagramLayout" Target="../diagrams/layout13.xml" Id="rId5" /><Relationship Type="http://schemas.openxmlformats.org/officeDocument/2006/relationships/diagramData" Target="../diagrams/data13.xml" Id="rId4" /><Relationship Type="http://schemas.openxmlformats.org/officeDocument/2006/relationships/image" Target="../media/image22.png" Id="rId9" /></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7.jpeg"/><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7.jpeg"/><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7.jpe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5.jpeg"/><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customXml" Target="../../customXml/item7.xml"/><Relationship Id="rId1" Type="http://schemas.openxmlformats.org/officeDocument/2006/relationships/tags" Target="../tags/tag39.xml"/><Relationship Id="rId5" Type="http://schemas.openxmlformats.org/officeDocument/2006/relationships/image" Target="../media/image23.jpeg"/><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8" Type="http://schemas.microsoft.com/office/2007/relationships/diagramDrawing" Target="../diagrams/drawing14.xml"/><Relationship Id="rId13" Type="http://schemas.microsoft.com/office/2007/relationships/diagramDrawing" Target="../diagrams/drawing15.xml"/><Relationship Id="rId3" Type="http://schemas.openxmlformats.org/officeDocument/2006/relationships/notesSlide" Target="../notesSlides/notesSlide28.xml"/><Relationship Id="rId7" Type="http://schemas.openxmlformats.org/officeDocument/2006/relationships/diagramColors" Target="../diagrams/colors14.xml"/><Relationship Id="rId12" Type="http://schemas.openxmlformats.org/officeDocument/2006/relationships/diagramColors" Target="../diagrams/colors15.xml"/><Relationship Id="rId2" Type="http://schemas.openxmlformats.org/officeDocument/2006/relationships/slideLayout" Target="../slideLayouts/slideLayout14.xml"/><Relationship Id="rId1" Type="http://schemas.openxmlformats.org/officeDocument/2006/relationships/tags" Target="../tags/tag40.xml"/><Relationship Id="rId6" Type="http://schemas.openxmlformats.org/officeDocument/2006/relationships/diagramQuickStyle" Target="../diagrams/quickStyle14.xml"/><Relationship Id="rId11" Type="http://schemas.openxmlformats.org/officeDocument/2006/relationships/diagramQuickStyle" Target="../diagrams/quickStyle15.xml"/><Relationship Id="rId5" Type="http://schemas.openxmlformats.org/officeDocument/2006/relationships/diagramLayout" Target="../diagrams/layout14.xml"/><Relationship Id="rId10" Type="http://schemas.openxmlformats.org/officeDocument/2006/relationships/diagramLayout" Target="../diagrams/layout15.xml"/><Relationship Id="rId4" Type="http://schemas.openxmlformats.org/officeDocument/2006/relationships/diagramData" Target="../diagrams/data14.xml"/><Relationship Id="rId9" Type="http://schemas.openxmlformats.org/officeDocument/2006/relationships/diagramData" Target="../diagrams/data15.xml"/></Relationships>
</file>

<file path=ppt/slides/_rels/slide29.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notesSlide" Target="../notesSlides/notesSlide29.xml"/><Relationship Id="rId7" Type="http://schemas.openxmlformats.org/officeDocument/2006/relationships/diagramColors" Target="../diagrams/colors16.xml"/><Relationship Id="rId2" Type="http://schemas.openxmlformats.org/officeDocument/2006/relationships/slideLayout" Target="../slideLayouts/slideLayout14.xml"/><Relationship Id="rId1" Type="http://schemas.openxmlformats.org/officeDocument/2006/relationships/tags" Target="../tags/tag41.xml"/><Relationship Id="rId6" Type="http://schemas.openxmlformats.org/officeDocument/2006/relationships/diagramQuickStyle" Target="../diagrams/quickStyle16.xml"/><Relationship Id="rId11" Type="http://schemas.openxmlformats.org/officeDocument/2006/relationships/image" Target="../media/image25.png"/><Relationship Id="rId5" Type="http://schemas.openxmlformats.org/officeDocument/2006/relationships/diagramLayout" Target="../diagrams/layout16.xml"/><Relationship Id="rId10" Type="http://schemas.openxmlformats.org/officeDocument/2006/relationships/image" Target="../media/image22.png"/><Relationship Id="rId4" Type="http://schemas.openxmlformats.org/officeDocument/2006/relationships/diagramData" Target="../diagrams/data16.xml"/><Relationship Id="rId9" Type="http://schemas.openxmlformats.org/officeDocument/2006/relationships/image" Target="../media/image24.png"/></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3.xml"/><Relationship Id="rId7" Type="http://schemas.openxmlformats.org/officeDocument/2006/relationships/diagramColors" Target="../diagrams/colors1.xml"/><Relationship Id="rId2" Type="http://schemas.openxmlformats.org/officeDocument/2006/relationships/slideLayout" Target="../slideLayouts/slideLayout36.xml"/><Relationship Id="rId1" Type="http://schemas.openxmlformats.org/officeDocument/2006/relationships/tags" Target="../tags/tag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0.xml.rels><?xml version="1.0" encoding="UTF-8" standalone="yes"?>
<Relationships xmlns="http://schemas.openxmlformats.org/package/2006/relationships"><Relationship Id="rId8" Type="http://schemas.openxmlformats.org/officeDocument/2006/relationships/diagramColors" Target="../diagrams/colors17.xml"/><Relationship Id="rId3" Type="http://schemas.openxmlformats.org/officeDocument/2006/relationships/slideLayout" Target="../slideLayouts/slideLayout15.xml"/><Relationship Id="rId7" Type="http://schemas.openxmlformats.org/officeDocument/2006/relationships/diagramQuickStyle" Target="../diagrams/quickStyle17.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diagramLayout" Target="../diagrams/layout17.xml"/><Relationship Id="rId5" Type="http://schemas.openxmlformats.org/officeDocument/2006/relationships/diagramData" Target="../diagrams/data17.xml"/><Relationship Id="rId4" Type="http://schemas.openxmlformats.org/officeDocument/2006/relationships/notesSlide" Target="../notesSlides/notesSlide30.xml"/><Relationship Id="rId9" Type="http://schemas.microsoft.com/office/2007/relationships/diagramDrawing" Target="../diagrams/drawing17.xml"/></Relationships>
</file>

<file path=ppt/slides/_rels/slide31.xml.rels><?xml version="1.0" encoding="UTF-8" standalone="yes"?>
<Relationships xmlns="http://schemas.openxmlformats.org/package/2006/relationships"><Relationship Id="rId8" Type="http://schemas.openxmlformats.org/officeDocument/2006/relationships/diagramColors" Target="../diagrams/colors18.xml"/><Relationship Id="rId3" Type="http://schemas.openxmlformats.org/officeDocument/2006/relationships/slideLayout" Target="../slideLayouts/slideLayout15.xml"/><Relationship Id="rId7" Type="http://schemas.openxmlformats.org/officeDocument/2006/relationships/diagramQuickStyle" Target="../diagrams/quickStyle18.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diagramLayout" Target="../diagrams/layout18.xml"/><Relationship Id="rId5" Type="http://schemas.openxmlformats.org/officeDocument/2006/relationships/diagramData" Target="../diagrams/data18.xml"/><Relationship Id="rId4" Type="http://schemas.openxmlformats.org/officeDocument/2006/relationships/notesSlide" Target="../notesSlides/notesSlide31.xml"/><Relationship Id="rId9" Type="http://schemas.microsoft.com/office/2007/relationships/diagramDrawing" Target="../diagrams/drawing18.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7.jpeg"/><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5.jpeg"/><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customXml" Target="../../customXml/item11.xml"/><Relationship Id="rId1" Type="http://schemas.openxmlformats.org/officeDocument/2006/relationships/tags" Target="../tags/tag50.xml"/><Relationship Id="rId5" Type="http://schemas.openxmlformats.org/officeDocument/2006/relationships/image" Target="../media/image26.jpeg"/><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7.jpeg"/><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5.jpeg"/><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4.xml"/><Relationship Id="rId1" Type="http://schemas.openxmlformats.org/officeDocument/2006/relationships/tags" Target="../tags/tag55.xml"/><Relationship Id="rId4" Type="http://schemas.openxmlformats.org/officeDocument/2006/relationships/image" Target="../media/image27.jpeg"/></Relationships>
</file>

<file path=ppt/slides/_rels/slide38.xml.rels><?xml version="1.0" encoding="UTF-8" standalone="yes"?>
<Relationships xmlns="http://schemas.openxmlformats.org/package/2006/relationships"><Relationship Id="rId8" Type="http://schemas.microsoft.com/office/2007/relationships/diagramDrawing" Target="../diagrams/drawing19.xml"/><Relationship Id="rId3" Type="http://schemas.openxmlformats.org/officeDocument/2006/relationships/notesSlide" Target="../notesSlides/notesSlide38.xml"/><Relationship Id="rId7" Type="http://schemas.openxmlformats.org/officeDocument/2006/relationships/diagramColors" Target="../diagrams/colors19.xml"/><Relationship Id="rId2" Type="http://schemas.openxmlformats.org/officeDocument/2006/relationships/slideLayout" Target="../slideLayouts/slideLayout8.xml"/><Relationship Id="rId1" Type="http://schemas.openxmlformats.org/officeDocument/2006/relationships/tags" Target="../tags/tag56.xml"/><Relationship Id="rId6" Type="http://schemas.openxmlformats.org/officeDocument/2006/relationships/diagramQuickStyle" Target="../diagrams/quickStyle19.xml"/><Relationship Id="rId5" Type="http://schemas.openxmlformats.org/officeDocument/2006/relationships/diagramLayout" Target="../diagrams/layout19.xml"/><Relationship Id="rId4" Type="http://schemas.openxmlformats.org/officeDocument/2006/relationships/diagramData" Target="../diagrams/data19.xml"/></Relationships>
</file>

<file path=ppt/slides/_rels/slide39.xml.rels><?xml version="1.0" encoding="UTF-8" standalone="yes"?>
<Relationships xmlns="http://schemas.openxmlformats.org/package/2006/relationships"><Relationship Id="rId8" Type="http://schemas.openxmlformats.org/officeDocument/2006/relationships/diagramColors" Target="../diagrams/colors20.xml"/><Relationship Id="rId13" Type="http://schemas.openxmlformats.org/officeDocument/2006/relationships/diagramColors" Target="../diagrams/colors21.xml"/><Relationship Id="rId3" Type="http://schemas.openxmlformats.org/officeDocument/2006/relationships/slideLayout" Target="../slideLayouts/slideLayout11.xml"/><Relationship Id="rId7" Type="http://schemas.openxmlformats.org/officeDocument/2006/relationships/diagramQuickStyle" Target="../diagrams/quickStyle20.xml"/><Relationship Id="rId12" Type="http://schemas.openxmlformats.org/officeDocument/2006/relationships/diagramQuickStyle" Target="../diagrams/quickStyle21.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diagramLayout" Target="../diagrams/layout20.xml"/><Relationship Id="rId11" Type="http://schemas.openxmlformats.org/officeDocument/2006/relationships/diagramLayout" Target="../diagrams/layout21.xml"/><Relationship Id="rId5" Type="http://schemas.openxmlformats.org/officeDocument/2006/relationships/diagramData" Target="../diagrams/data20.xml"/><Relationship Id="rId10" Type="http://schemas.openxmlformats.org/officeDocument/2006/relationships/diagramData" Target="../diagrams/data21.xml"/><Relationship Id="rId4" Type="http://schemas.openxmlformats.org/officeDocument/2006/relationships/notesSlide" Target="../notesSlides/notesSlide39.xml"/><Relationship Id="rId9" Type="http://schemas.microsoft.com/office/2007/relationships/diagramDrawing" Target="../diagrams/drawing20.xml"/><Relationship Id="rId14" Type="http://schemas.microsoft.com/office/2007/relationships/diagramDrawing" Target="../diagrams/drawing2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12.xml"/><Relationship Id="rId1" Type="http://schemas.openxmlformats.org/officeDocument/2006/relationships/tags" Target="../tags/tag9.xml"/><Relationship Id="rId4" Type="http://schemas.openxmlformats.org/officeDocument/2006/relationships/notesSlide" Target="../notesSlides/notesSlide4.xml"/></Relationships>
</file>

<file path=ppt/slides/_rels/slide40.xml.rels>&#65279;<?xml version="1.0" encoding="utf-8"?><Relationships xmlns="http://schemas.openxmlformats.org/package/2006/relationships"><Relationship Type="http://schemas.openxmlformats.org/officeDocument/2006/relationships/diagramColors" Target="../diagrams/colors22.xml" Id="rId8" /><Relationship Type="http://schemas.openxmlformats.org/officeDocument/2006/relationships/slideLayout" Target="../slideLayouts/slideLayout11.xml" Id="rId3" /><Relationship Type="http://schemas.openxmlformats.org/officeDocument/2006/relationships/diagramQuickStyle" Target="../diagrams/quickStyle22.xml" Id="rId7" /><Relationship Type="http://schemas.openxmlformats.org/officeDocument/2006/relationships/tags" Target="../tags/tag60.xml" Id="rId2" /><Relationship Type="http://schemas.openxmlformats.org/officeDocument/2006/relationships/tags" Target="../tags/tag59.xml" Id="rId1" /><Relationship Type="http://schemas.openxmlformats.org/officeDocument/2006/relationships/diagramLayout" Target="../diagrams/layout22.xml" Id="rId6" /><Relationship Type="http://schemas.openxmlformats.org/officeDocument/2006/relationships/image" Target="../media/image33.png" Id="rId11" /><Relationship Type="http://schemas.openxmlformats.org/officeDocument/2006/relationships/diagramData" Target="../diagrams/data22.xml" Id="rId5" /><Relationship Type="http://schemas.openxmlformats.org/officeDocument/2006/relationships/image" Target="../media/image32.png" Id="rId10" /><Relationship Type="http://schemas.openxmlformats.org/officeDocument/2006/relationships/notesSlide" Target="../notesSlides/notesSlide40.xml" Id="rId4" /><Relationship Type="http://schemas.microsoft.com/office/2007/relationships/diagramDrawing" Target="../diagrams/drawing22.xml" Id="rId9" /></Relationships>
</file>

<file path=ppt/slides/_rels/slide41.xml.rels><?xml version="1.0" encoding="UTF-8" standalone="yes"?>
<Relationships xmlns="http://schemas.openxmlformats.org/package/2006/relationships"><Relationship Id="rId8" Type="http://schemas.openxmlformats.org/officeDocument/2006/relationships/diagramColors" Target="../diagrams/colors23.xml"/><Relationship Id="rId13" Type="http://schemas.openxmlformats.org/officeDocument/2006/relationships/diagramColors" Target="../diagrams/colors24.xml"/><Relationship Id="rId3" Type="http://schemas.openxmlformats.org/officeDocument/2006/relationships/slideLayout" Target="../slideLayouts/slideLayout11.xml"/><Relationship Id="rId7" Type="http://schemas.openxmlformats.org/officeDocument/2006/relationships/diagramQuickStyle" Target="../diagrams/quickStyle23.xml"/><Relationship Id="rId12" Type="http://schemas.openxmlformats.org/officeDocument/2006/relationships/diagramQuickStyle" Target="../diagrams/quickStyle24.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diagramLayout" Target="../diagrams/layout23.xml"/><Relationship Id="rId11" Type="http://schemas.openxmlformats.org/officeDocument/2006/relationships/diagramLayout" Target="../diagrams/layout24.xml"/><Relationship Id="rId5" Type="http://schemas.openxmlformats.org/officeDocument/2006/relationships/diagramData" Target="../diagrams/data23.xml"/><Relationship Id="rId10" Type="http://schemas.openxmlformats.org/officeDocument/2006/relationships/diagramData" Target="../diagrams/data24.xml"/><Relationship Id="rId4" Type="http://schemas.openxmlformats.org/officeDocument/2006/relationships/notesSlide" Target="../notesSlides/notesSlide41.xml"/><Relationship Id="rId9" Type="http://schemas.microsoft.com/office/2007/relationships/diagramDrawing" Target="../diagrams/drawing23.xml"/><Relationship Id="rId14" Type="http://schemas.microsoft.com/office/2007/relationships/diagramDrawing" Target="../diagrams/drawing24.xml"/></Relationships>
</file>

<file path=ppt/slides/_rels/slide42.xml.rels>&#65279;<?xml version="1.0" encoding="utf-8"?><Relationships xmlns="http://schemas.openxmlformats.org/package/2006/relationships"><Relationship Type="http://schemas.openxmlformats.org/officeDocument/2006/relationships/diagramQuickStyle" Target="../diagrams/quickStyle25.xml" Id="rId8" /><Relationship Type="http://schemas.openxmlformats.org/officeDocument/2006/relationships/slideLayout" Target="../slideLayouts/slideLayout11.xml" Id="rId3" /><Relationship Type="http://schemas.openxmlformats.org/officeDocument/2006/relationships/diagramLayout" Target="../diagrams/layout25.xml" Id="rId7" /><Relationship Type="http://schemas.openxmlformats.org/officeDocument/2006/relationships/tags" Target="../tags/tag64.xml" Id="rId2" /><Relationship Type="http://schemas.openxmlformats.org/officeDocument/2006/relationships/tags" Target="../tags/tag63.xml" Id="rId1" /><Relationship Type="http://schemas.openxmlformats.org/officeDocument/2006/relationships/diagramData" Target="../diagrams/data25.xml" Id="rId6" /><Relationship Type="http://schemas.openxmlformats.org/officeDocument/2006/relationships/image" Target="../media/image35.png" Id="rId11" /><Relationship Type="http://schemas.openxmlformats.org/officeDocument/2006/relationships/image" Target="../media/image34.png" Id="rId5" /><Relationship Type="http://schemas.microsoft.com/office/2007/relationships/diagramDrawing" Target="../diagrams/drawing25.xml" Id="rId10" /><Relationship Type="http://schemas.openxmlformats.org/officeDocument/2006/relationships/notesSlide" Target="../notesSlides/notesSlide42.xml" Id="rId4" /><Relationship Type="http://schemas.openxmlformats.org/officeDocument/2006/relationships/diagramColors" Target="../diagrams/colors25.xml" Id="rId9" /></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36.png"/><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7.jpeg"/><Relationship Id="rId4" Type="http://schemas.openxmlformats.org/officeDocument/2006/relationships/notesSlide" Target="../notesSlides/notesSlide44.xml"/></Relationships>
</file>

<file path=ppt/slides/_rels/slide45.xml.rels>&#65279;<?xml version="1.0" encoding="utf-8"?><Relationships xmlns="http://schemas.openxmlformats.org/package/2006/relationships"><Relationship Type="http://schemas.microsoft.com/office/2007/relationships/diagramDrawing" Target="../diagrams/drawing26.xml" Id="rId8" /><Relationship Type="http://schemas.openxmlformats.org/officeDocument/2006/relationships/notesSlide" Target="../notesSlides/notesSlide45.xml" Id="rId3" /><Relationship Type="http://schemas.openxmlformats.org/officeDocument/2006/relationships/diagramColors" Target="../diagrams/colors26.xml" Id="rId7" /><Relationship Type="http://schemas.openxmlformats.org/officeDocument/2006/relationships/slideLayout" Target="../slideLayouts/slideLayout9.xml" Id="rId2" /><Relationship Type="http://schemas.openxmlformats.org/officeDocument/2006/relationships/tags" Target="../tags/tag69.xml" Id="rId1" /><Relationship Type="http://schemas.openxmlformats.org/officeDocument/2006/relationships/diagramQuickStyle" Target="../diagrams/quickStyle26.xml" Id="rId6" /><Relationship Type="http://schemas.openxmlformats.org/officeDocument/2006/relationships/diagramLayout" Target="../diagrams/layout26.xml" Id="rId5" /><Relationship Type="http://schemas.openxmlformats.org/officeDocument/2006/relationships/diagramData" Target="../diagrams/data26.xml" Id="rId4" /></Relationships>
</file>

<file path=ppt/slides/_rels/slide46.xml.rels>&#65279;<?xml version="1.0" encoding="utf-8"?><Relationships xmlns="http://schemas.openxmlformats.org/package/2006/relationships"><Relationship Type="http://schemas.openxmlformats.org/officeDocument/2006/relationships/diagramColors" Target="../diagrams/colors27.xml" Id="rId8" /><Relationship Type="http://schemas.openxmlformats.org/officeDocument/2006/relationships/slideLayout" Target="../slideLayouts/slideLayout11.xml" Id="rId3" /><Relationship Type="http://schemas.openxmlformats.org/officeDocument/2006/relationships/diagramQuickStyle" Target="../diagrams/quickStyle27.xml" Id="rId7" /><Relationship Type="http://schemas.openxmlformats.org/officeDocument/2006/relationships/tags" Target="../tags/tag71.xml" Id="rId2" /><Relationship Type="http://schemas.openxmlformats.org/officeDocument/2006/relationships/tags" Target="../tags/tag70.xml" Id="rId1" /><Relationship Type="http://schemas.openxmlformats.org/officeDocument/2006/relationships/diagramLayout" Target="../diagrams/layout27.xml" Id="rId6" /><Relationship Type="http://schemas.openxmlformats.org/officeDocument/2006/relationships/diagramData" Target="../diagrams/data27.xml" Id="rId5" /><Relationship Type="http://schemas.openxmlformats.org/officeDocument/2006/relationships/image" Target="../media/image37.png" Id="rId10" /><Relationship Type="http://schemas.openxmlformats.org/officeDocument/2006/relationships/notesSlide" Target="../notesSlides/notesSlide46.xml" Id="rId4" /><Relationship Type="http://schemas.microsoft.com/office/2007/relationships/diagramDrawing" Target="../diagrams/drawing27.xml" Id="rId9" /></Relationships>
</file>

<file path=ppt/slides/_rels/slide47.xml.rels>&#65279;<?xml version="1.0" encoding="utf-8"?><Relationships xmlns="http://schemas.openxmlformats.org/package/2006/relationships"><Relationship Type="http://schemas.openxmlformats.org/officeDocument/2006/relationships/diagramColors" Target="../diagrams/colors28.xml" Id="rId8" /><Relationship Type="http://schemas.openxmlformats.org/officeDocument/2006/relationships/slideLayout" Target="../slideLayouts/slideLayout11.xml" Id="rId3" /><Relationship Type="http://schemas.openxmlformats.org/officeDocument/2006/relationships/diagramQuickStyle" Target="../diagrams/quickStyle28.xml" Id="rId7" /><Relationship Type="http://schemas.openxmlformats.org/officeDocument/2006/relationships/tags" Target="../tags/tag73.xml" Id="rId2" /><Relationship Type="http://schemas.openxmlformats.org/officeDocument/2006/relationships/tags" Target="../tags/tag72.xml" Id="rId1" /><Relationship Type="http://schemas.openxmlformats.org/officeDocument/2006/relationships/diagramLayout" Target="../diagrams/layout28.xml" Id="rId6" /><Relationship Type="http://schemas.openxmlformats.org/officeDocument/2006/relationships/diagramData" Target="../diagrams/data28.xml" Id="rId5" /><Relationship Type="http://schemas.openxmlformats.org/officeDocument/2006/relationships/notesSlide" Target="../notesSlides/notesSlide47.xml" Id="rId4" /><Relationship Type="http://schemas.microsoft.com/office/2007/relationships/diagramDrawing" Target="../diagrams/drawing28.xml" Id="rId9" /></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7.jpeg"/><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5.jpeg"/><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5.xml"/><Relationship Id="rId7" Type="http://schemas.openxmlformats.org/officeDocument/2006/relationships/diagramColors" Target="../diagrams/colors2.xml"/><Relationship Id="rId2" Type="http://schemas.openxmlformats.org/officeDocument/2006/relationships/slideLayout" Target="../slideLayouts/slideLayout9.xml"/><Relationship Id="rId1" Type="http://schemas.openxmlformats.org/officeDocument/2006/relationships/tags" Target="../tags/tag10.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50.xml.rels>&#65279;<?xml version="1.0" encoding="utf-8"?><Relationships xmlns="http://schemas.openxmlformats.org/package/2006/relationships"><Relationship Type="http://schemas.openxmlformats.org/officeDocument/2006/relationships/slideLayout" Target="../slideLayouts/slideLayout24.xml" Id="rId3" /><Relationship Type="http://schemas.openxmlformats.org/officeDocument/2006/relationships/customXml" Target="../../customXml/item9.xml" Id="rId2" /><Relationship Type="http://schemas.openxmlformats.org/officeDocument/2006/relationships/tags" Target="../tags/tag78.xml" Id="rId1" /><Relationship Type="http://schemas.openxmlformats.org/officeDocument/2006/relationships/image" Target="../media/image23.jpeg" Id="rId5" /><Relationship Type="http://schemas.openxmlformats.org/officeDocument/2006/relationships/notesSlide" Target="../notesSlides/notesSlide50.xml" Id="rId4" /></Relationships>
</file>

<file path=ppt/slides/_rels/slide51.xml.rels>&#65279;<?xml version="1.0" encoding="utf-8"?><Relationships xmlns="http://schemas.openxmlformats.org/package/2006/relationships"><Relationship Type="http://schemas.microsoft.com/office/2007/relationships/diagramDrawing" Target="../diagrams/drawing29.xml" Id="rId8" /><Relationship Type="http://schemas.openxmlformats.org/officeDocument/2006/relationships/notesSlide" Target="../notesSlides/notesSlide51.xml" Id="rId3" /><Relationship Type="http://schemas.openxmlformats.org/officeDocument/2006/relationships/diagramColors" Target="../diagrams/colors29.xml" Id="rId7" /><Relationship Type="http://schemas.openxmlformats.org/officeDocument/2006/relationships/slideLayout" Target="../slideLayouts/slideLayout11.xml" Id="rId2" /><Relationship Type="http://schemas.openxmlformats.org/officeDocument/2006/relationships/tags" Target="../tags/tag79.xml" Id="rId1" /><Relationship Type="http://schemas.openxmlformats.org/officeDocument/2006/relationships/diagramQuickStyle" Target="../diagrams/quickStyle29.xml" Id="rId6" /><Relationship Type="http://schemas.openxmlformats.org/officeDocument/2006/relationships/diagramLayout" Target="../diagrams/layout29.xml" Id="rId5" /><Relationship Type="http://schemas.openxmlformats.org/officeDocument/2006/relationships/diagramData" Target="../diagrams/data29.xml" Id="rId4" /></Relationships>
</file>

<file path=ppt/slides/_rels/slide52.xml.rels>&#65279;<?xml version="1.0" encoding="utf-8"?><Relationships xmlns="http://schemas.openxmlformats.org/package/2006/relationships"><Relationship Type="http://schemas.openxmlformats.org/officeDocument/2006/relationships/diagramColors" Target="../diagrams/colors30.xml" Id="rId8" /><Relationship Type="http://schemas.openxmlformats.org/officeDocument/2006/relationships/slideLayout" Target="../slideLayouts/slideLayout11.xml" Id="rId3" /><Relationship Type="http://schemas.openxmlformats.org/officeDocument/2006/relationships/diagramQuickStyle" Target="../diagrams/quickStyle30.xml" Id="rId7" /><Relationship Type="http://schemas.openxmlformats.org/officeDocument/2006/relationships/tags" Target="../tags/tag81.xml" Id="rId2" /><Relationship Type="http://schemas.openxmlformats.org/officeDocument/2006/relationships/tags" Target="../tags/tag80.xml" Id="rId1" /><Relationship Type="http://schemas.openxmlformats.org/officeDocument/2006/relationships/diagramLayout" Target="../diagrams/layout30.xml" Id="rId6" /><Relationship Type="http://schemas.openxmlformats.org/officeDocument/2006/relationships/diagramData" Target="../diagrams/data30.xml" Id="rId5" /><Relationship Type="http://schemas.openxmlformats.org/officeDocument/2006/relationships/notesSlide" Target="../notesSlides/notesSlide52.xml" Id="rId4" /><Relationship Type="http://schemas.microsoft.com/office/2007/relationships/diagramDrawing" Target="../diagrams/drawing30.xml" Id="rId9" /></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7.jpeg"/><Relationship Id="rId4" Type="http://schemas.openxmlformats.org/officeDocument/2006/relationships/notesSlide" Target="../notesSlides/notesSlide53.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5.jpeg"/><Relationship Id="rId4" Type="http://schemas.openxmlformats.org/officeDocument/2006/relationships/notesSlide" Target="../notesSlides/notesSlide54.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38.png"/><Relationship Id="rId4" Type="http://schemas.openxmlformats.org/officeDocument/2006/relationships/notesSlide" Target="../notesSlides/notesSlide55.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43.xml"/><Relationship Id="rId1" Type="http://schemas.openxmlformats.org/officeDocument/2006/relationships/tags" Target="../tags/tag88.xml"/></Relationships>
</file>

<file path=ppt/slides/_rels/slide58.xml.rels>&#65279;<?xml version="1.0" encoding="utf-8"?><Relationships xmlns="http://schemas.openxmlformats.org/package/2006/relationships"><Relationship Type="http://schemas.openxmlformats.org/officeDocument/2006/relationships/slideLayout" Target="../slideLayouts/slideLayout14.xml" Id="rId3" /><Relationship Type="http://schemas.openxmlformats.org/officeDocument/2006/relationships/tags" Target="../tags/tag91.xml" Id="rId2" /><Relationship Type="http://schemas.openxmlformats.org/officeDocument/2006/relationships/tags" Target="../tags/tag90.xml" Id="rId1" /><Relationship Type="http://schemas.openxmlformats.org/officeDocument/2006/relationships/notesSlide" Target="../notesSlides/notesSlide58.xml" Id="rId4" /></Relationships>
</file>

<file path=ppt/slides/_rels/slide6.xml.rels>&#65279;<?xml version="1.0" encoding="utf-8"?><Relationships xmlns="http://schemas.openxmlformats.org/package/2006/relationships"><Relationship Type="http://schemas.microsoft.com/office/2007/relationships/diagramDrawing" Target="../diagrams/drawing3.xml" Id="rId8" /><Relationship Type="http://schemas.openxmlformats.org/officeDocument/2006/relationships/notesSlide" Target="../notesSlides/notesSlide6.xml" Id="rId3" /><Relationship Type="http://schemas.openxmlformats.org/officeDocument/2006/relationships/diagramColors" Target="../diagrams/colors3.xml" Id="rId7" /><Relationship Type="http://schemas.openxmlformats.org/officeDocument/2006/relationships/slideLayout" Target="../slideLayouts/slideLayout8.xml" Id="rId2" /><Relationship Type="http://schemas.openxmlformats.org/officeDocument/2006/relationships/tags" Target="../tags/tag11.xml" Id="rId1" /><Relationship Type="http://schemas.openxmlformats.org/officeDocument/2006/relationships/diagramQuickStyle" Target="../diagrams/quickStyle3.xml" Id="rId6" /><Relationship Type="http://schemas.openxmlformats.org/officeDocument/2006/relationships/diagramLayout" Target="../diagrams/layout3.xml" Id="rId5" /><Relationship Type="http://schemas.openxmlformats.org/officeDocument/2006/relationships/diagramData" Target="../diagrams/data3.xml" Id="rId4" /><Relationship Type="http://schemas.openxmlformats.org/officeDocument/2006/relationships/image" Target="../media/image4.png" Id="rId9" /></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5.jpe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customXml" Target="../../customXml/item6.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notesSlide" Target="../notesSlides/notesSlide8.xml"/></Relationships>
</file>

<file path=ppt/slides/_rels/slide9.xml.rels>&#65279;<?xml version="1.0" encoding="utf-8"?><Relationships xmlns="http://schemas.openxmlformats.org/package/2006/relationships"><Relationship Type="http://schemas.microsoft.com/office/2007/relationships/diagramDrawing" Target="../diagrams/drawing4.xml" Id="rId8" /><Relationship Type="http://schemas.openxmlformats.org/officeDocument/2006/relationships/notesSlide" Target="../notesSlides/notesSlide9.xml" Id="rId3" /><Relationship Type="http://schemas.openxmlformats.org/officeDocument/2006/relationships/diagramColors" Target="../diagrams/colors4.xml" Id="rId7" /><Relationship Type="http://schemas.openxmlformats.org/officeDocument/2006/relationships/slideLayout" Target="../slideLayouts/slideLayout8.xml" Id="rId2" /><Relationship Type="http://schemas.openxmlformats.org/officeDocument/2006/relationships/tags" Target="../tags/tag15.xml" Id="rId1" /><Relationship Type="http://schemas.openxmlformats.org/officeDocument/2006/relationships/diagramQuickStyle" Target="../diagrams/quickStyle4.xml" Id="rId6" /><Relationship Type="http://schemas.openxmlformats.org/officeDocument/2006/relationships/diagramLayout" Target="../diagrams/layout4.xml" Id="rId5" /><Relationship Type="http://schemas.openxmlformats.org/officeDocument/2006/relationships/diagramData" Target="../diagrams/data4.xml" Id="rId4" /></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custDataLst>
              <p:custData r:id="rId2"/>
            </p:custDataLst>
          </p:nvPr>
        </p:nvSpPr>
        <p:spPr/>
        <p:txBody>
          <a:bodyPr lIns="0" tIns="0" rIns="0" bIns="45720" anchor="b"/>
          <a:lstStyle/>
          <a:p>
            <a:r>
              <a:rPr lang="en-US">
                <a:latin typeface="Segoe UI Semibold" panose="020B0702040204020203" pitchFamily="34" charset="0"/>
              </a:rPr>
              <a:t>Create a GUI in PowerShell</a:t>
            </a:r>
          </a:p>
        </p:txBody>
      </p:sp>
      <p:sp>
        <p:nvSpPr>
          <p:cNvPr id="4" name="Subtitle 3">
            <a:extLst>
              <a:ext uri="{FF2B5EF4-FFF2-40B4-BE49-F238E27FC236}">
                <a16:creationId xmlns:a16="http://schemas.microsoft.com/office/drawing/2014/main" id="{973B4C29-632F-4860-8613-9C0FE5AB42A0}"/>
              </a:ext>
            </a:extLst>
          </p:cNvPr>
          <p:cNvSpPr>
            <a:spLocks noGrp="1"/>
          </p:cNvSpPr>
          <p:nvPr>
            <p:ph type="subTitle" idx="1"/>
          </p:nvPr>
        </p:nvSpPr>
        <p:spPr/>
        <p:txBody>
          <a:bodyPr>
            <a:normAutofit lnSpcReduction="10000"/>
          </a:bodyPr>
          <a:lstStyle/>
          <a:p>
            <a:r>
              <a:rPr lang="en-US"/>
              <a:t>Module 10</a:t>
            </a:r>
          </a:p>
        </p:txBody>
      </p:sp>
    </p:spTree>
    <p:custDataLst>
      <p:tags r:id="rId1"/>
    </p:custDataLst>
    <p:extLst>
      <p:ext uri="{BB962C8B-B14F-4D97-AF65-F5344CB8AC3E}">
        <p14:creationId xmlns:p14="http://schemas.microsoft.com/office/powerpoint/2010/main" val="1266759135"/>
      </p:ext>
    </p:extLst>
  </p:cSld>
  <p:clrMapOvr>
    <a:masterClrMapping/>
  </p:clrMapOvr>
  <p:transition spd="slow"/>
</p:sld>
</file>

<file path=ppt/slides/slide10.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E89D95-6FCA-45C6-981C-9C1CE7F8DD25}"/>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Visual Studio 2022 Editions</a:t>
            </a:r>
          </a:p>
        </p:txBody>
      </p:sp>
      <p:graphicFrame>
        <p:nvGraphicFramePr>
          <p:cNvPr id="5" name="Diagram 4">
            <a:extLst>
              <a:ext uri="{FF2B5EF4-FFF2-40B4-BE49-F238E27FC236}">
                <a16:creationId xmlns:a16="http://schemas.microsoft.com/office/drawing/2014/main" id="{33BF0D34-CA0B-09B9-C2B1-604D778DBFF2}"/>
              </a:ext>
            </a:extLst>
          </p:cNvPr>
          <p:cNvGraphicFramePr/>
          <p:nvPr>
            <p:extLst>
              <p:ext uri="{D42A27DB-BD31-4B8C-83A1-F6EECF244321}">
                <p14:modId xmlns:p14="http://schemas.microsoft.com/office/powerpoint/2010/main" val="1514540494"/>
              </p:ext>
            </p:extLst>
          </p:nvPr>
        </p:nvGraphicFramePr>
        <p:xfrm>
          <a:off x="655637" y="1019174"/>
          <a:ext cx="11081438" cy="551878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735206840"/>
      </p:ext>
    </p:extLst>
  </p:cSld>
  <p:clrMapOvr>
    <a:masterClrMapping/>
  </p:clrMapOvr>
  <p:transition spd="slow"/>
</p:sld>
</file>

<file path=ppt/slides/slide11.xml><?xml version="1.0" encoding="utf-8"?>
<p:sld xmlns:a16="http://schemas.microsoft.com/office/drawing/2014/main" xmlns:a14="http://schemas.microsoft.com/office/drawing/2010/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8790" name="Picture 6" descr="See the source image">
            <a:extLst>
              <a:ext uri="{FF2B5EF4-FFF2-40B4-BE49-F238E27FC236}">
                <a16:creationId xmlns:a16="http://schemas.microsoft.com/office/drawing/2014/main" id="{B25F607A-94C1-0DA5-92B0-856BF30C8E0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6578" r="17806"/>
          <a:stretch/>
        </p:blipFill>
        <p:spPr bwMode="auto">
          <a:xfrm>
            <a:off x="731520" y="3898634"/>
            <a:ext cx="2486346" cy="2604037"/>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5405213B-1598-4D59-AF62-FA9D8114A525}"/>
              </a:ext>
            </a:extLst>
          </p:cNvPr>
          <p:cNvSpPr>
            <a:spLocks noGrp="1"/>
          </p:cNvSpPr>
          <p:nvPr>
            <p:ph type="title"/>
          </p:nvPr>
        </p:nvSpPr>
        <p:spPr/>
        <p:txBody>
          <a:bodyPr/>
          <a:lstStyle/>
          <a:p>
            <a:r>
              <a:rPr lang="en-US"/>
              <a:t>Creating a XAML project</a:t>
            </a:r>
          </a:p>
        </p:txBody>
      </p:sp>
      <p:graphicFrame>
        <p:nvGraphicFramePr>
          <p:cNvPr id="16" name="Content Placeholder 15">
            <a:extLst>
              <a:ext uri="{FF2B5EF4-FFF2-40B4-BE49-F238E27FC236}">
                <a16:creationId xmlns:a16="http://schemas.microsoft.com/office/drawing/2014/main" id="{FF836BF8-B54F-B2BD-BAAA-3FD591F0543E}"/>
              </a:ext>
            </a:extLst>
          </p:cNvPr>
          <p:cNvGraphicFramePr>
            <a:graphicFrameLocks noGrp="1"/>
          </p:cNvGraphicFramePr>
          <p:nvPr>
            <p:ph sz="quarter" idx="13"/>
            <p:extLst>
              <p:ext uri="{D42A27DB-BD31-4B8C-83A1-F6EECF244321}">
                <p14:modId xmlns:p14="http://schemas.microsoft.com/office/powerpoint/2010/main" val="1825247958"/>
              </p:ext>
            </p:extLst>
          </p:nvPr>
        </p:nvGraphicFramePr>
        <p:xfrm>
          <a:off x="640080" y="914400"/>
          <a:ext cx="5251980" cy="27432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8" name="Picture 17">
            <a:extLst>
              <a:ext uri="{FF2B5EF4-FFF2-40B4-BE49-F238E27FC236}">
                <a16:creationId xmlns:a16="http://schemas.microsoft.com/office/drawing/2014/main" id="{4B232547-E6E2-4324-66DD-959FCCCB2A14}"/>
              </a:ext>
            </a:extLst>
          </p:cNvPr>
          <p:cNvPicPr>
            <a:picLocks noChangeAspect="1"/>
          </p:cNvPicPr>
          <p:nvPr/>
        </p:nvPicPr>
        <p:blipFill>
          <a:blip r:embed="rId10"/>
          <a:stretch>
            <a:fillRect/>
          </a:stretch>
        </p:blipFill>
        <p:spPr>
          <a:xfrm>
            <a:off x="6126480" y="914400"/>
            <a:ext cx="5930422" cy="2743200"/>
          </a:xfrm>
          <a:prstGeom prst="rect">
            <a:avLst/>
          </a:prstGeom>
        </p:spPr>
      </p:pic>
      <p:pic>
        <p:nvPicPr>
          <p:cNvPr id="22" name="Picture 21">
            <a:extLst>
              <a:ext uri="{FF2B5EF4-FFF2-40B4-BE49-F238E27FC236}">
                <a16:creationId xmlns:a16="http://schemas.microsoft.com/office/drawing/2014/main" id="{98DD611D-67B6-D23B-F6A0-B580A961F663}"/>
              </a:ext>
            </a:extLst>
          </p:cNvPr>
          <p:cNvPicPr>
            <a:picLocks noChangeAspect="1"/>
          </p:cNvPicPr>
          <p:nvPr/>
        </p:nvPicPr>
        <p:blipFill rotWithShape="1">
          <a:blip r:embed="rId11"/>
          <a:srcRect r="12921"/>
          <a:stretch/>
        </p:blipFill>
        <p:spPr>
          <a:xfrm>
            <a:off x="3657600" y="3842535"/>
            <a:ext cx="8412480" cy="2779850"/>
          </a:xfrm>
          <a:prstGeom prst="rect">
            <a:avLst/>
          </a:prstGeom>
        </p:spPr>
      </p:pic>
    </p:spTree>
    <p:custDataLst>
      <p:tags r:id="rId1"/>
    </p:custDataLst>
    <p:extLst>
      <p:ext uri="{BB962C8B-B14F-4D97-AF65-F5344CB8AC3E}">
        <p14:creationId xmlns:p14="http://schemas.microsoft.com/office/powerpoint/2010/main" val="278370411"/>
      </p:ext>
    </p:extLst>
  </p:cSld>
  <p:clrMapOvr>
    <a:masterClrMapping/>
  </p:clrMapOvr>
  <p:transition spd="slow"/>
</p:sld>
</file>

<file path=ppt/slides/slide12.xml><?xml version="1.0" encoding="utf-8"?>
<p:sld xmlns:a16="http://schemas.microsoft.com/office/drawing/2014/main" xmlns:p14="http://schemas.microsoft.com/office/powerpoint/2010/main" xmlns:dgm="http://schemas.openxmlformats.org/drawingml/2006/diagram" xmlns:adec="http://schemas.microsoft.com/office/drawing/2017/decorative"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DDFD10-6E53-47FB-AF96-67A1ED119206}"/>
              </a:ext>
            </a:extLst>
          </p:cNvPr>
          <p:cNvSpPr>
            <a:spLocks noGrp="1"/>
          </p:cNvSpPr>
          <p:nvPr>
            <p:ph type="title"/>
          </p:nvPr>
        </p:nvSpPr>
        <p:spPr>
          <a:xfrm>
            <a:off x="655637" y="320040"/>
            <a:ext cx="4352926" cy="461665"/>
          </a:xfrm>
        </p:spPr>
        <p:txBody>
          <a:bodyPr wrap="square" anchor="t">
            <a:normAutofit/>
          </a:bodyPr>
          <a:lstStyle/>
          <a:p>
            <a:r>
              <a:rPr lang="en-US"/>
              <a:t>Visual Studio Layout</a:t>
            </a:r>
          </a:p>
        </p:txBody>
      </p:sp>
      <p:graphicFrame>
        <p:nvGraphicFramePr>
          <p:cNvPr id="4" name="Diagram 3">
            <a:extLst>
              <a:ext uri="{FF2B5EF4-FFF2-40B4-BE49-F238E27FC236}">
                <a16:creationId xmlns:a16="http://schemas.microsoft.com/office/drawing/2014/main" id="{A730E632-3DA9-0870-073A-5157F4271EFC}"/>
              </a:ext>
            </a:extLst>
          </p:cNvPr>
          <p:cNvGraphicFramePr/>
          <p:nvPr>
            <p:extLst>
              <p:ext uri="{D42A27DB-BD31-4B8C-83A1-F6EECF244321}">
                <p14:modId xmlns:p14="http://schemas.microsoft.com/office/powerpoint/2010/main" val="2640978712"/>
              </p:ext>
            </p:extLst>
          </p:nvPr>
        </p:nvGraphicFramePr>
        <p:xfrm>
          <a:off x="640080" y="1005840"/>
          <a:ext cx="3200400" cy="5486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8" name="Picture 7">
            <a:extLst>
              <a:ext uri="{FF2B5EF4-FFF2-40B4-BE49-F238E27FC236}">
                <a16:creationId xmlns:a16="http://schemas.microsoft.com/office/drawing/2014/main" id="{D9FD0850-558B-3D6E-A7C8-82DC98C73B5E}"/>
              </a:ext>
            </a:extLst>
          </p:cNvPr>
          <p:cNvPicPr>
            <a:picLocks noChangeAspect="1"/>
          </p:cNvPicPr>
          <p:nvPr/>
        </p:nvPicPr>
        <p:blipFill>
          <a:blip r:embed="rId9"/>
          <a:stretch>
            <a:fillRect/>
          </a:stretch>
        </p:blipFill>
        <p:spPr>
          <a:xfrm>
            <a:off x="4023360" y="1005839"/>
            <a:ext cx="7980223" cy="5486400"/>
          </a:xfrm>
          <a:prstGeom prst="rect">
            <a:avLst/>
          </a:prstGeom>
          <a:noFill/>
        </p:spPr>
      </p:pic>
      <p:sp>
        <p:nvSpPr>
          <p:cNvPr id="5" name="Rectangle 4">
            <a:extLst>
              <a:ext uri="{FF2B5EF4-FFF2-40B4-BE49-F238E27FC236}">
                <a16:creationId xmlns:a16="http://schemas.microsoft.com/office/drawing/2014/main" id="{FD7354B6-3906-3D80-F86C-D564C25C41A1}"/>
              </a:ext>
              <a:ext uri="{C183D7F6-B498-43B3-948B-1728B52AA6E4}">
                <adec:decorative xmlns:adec="http://schemas.microsoft.com/office/drawing/2017/decorative" val="1"/>
              </a:ext>
            </a:extLst>
          </p:cNvPr>
          <p:cNvSpPr/>
          <p:nvPr/>
        </p:nvSpPr>
        <p:spPr bwMode="auto">
          <a:xfrm>
            <a:off x="5486400" y="1463040"/>
            <a:ext cx="4663440" cy="4846320"/>
          </a:xfrm>
          <a:prstGeom prst="rect">
            <a:avLst/>
          </a:prstGeom>
          <a:solidFill>
            <a:srgbClr val="D83B01">
              <a:alpha val="25000"/>
            </a:srgbClr>
          </a:solidFill>
          <a:ln w="38100">
            <a:solidFill>
              <a:srgbClr val="D83B0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4E4B5C31-5231-5A77-5FAB-FA1764835E24}"/>
              </a:ext>
              <a:ext uri="{C183D7F6-B498-43B3-948B-1728B52AA6E4}">
                <adec:decorative xmlns:adec="http://schemas.microsoft.com/office/drawing/2017/decorative" val="1"/>
              </a:ext>
            </a:extLst>
          </p:cNvPr>
          <p:cNvSpPr/>
          <p:nvPr/>
        </p:nvSpPr>
        <p:spPr bwMode="auto">
          <a:xfrm>
            <a:off x="10241280" y="3383280"/>
            <a:ext cx="1737360" cy="2926080"/>
          </a:xfrm>
          <a:prstGeom prst="rect">
            <a:avLst/>
          </a:prstGeom>
          <a:solidFill>
            <a:srgbClr val="7030A0">
              <a:alpha val="25000"/>
            </a:srgbClr>
          </a:solidFill>
          <a:ln w="38100">
            <a:solidFill>
              <a:srgbClr val="7030A0"/>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ACA7D85E-CC97-CCBD-8508-96C031FB2257}"/>
              </a:ext>
              <a:ext uri="{C183D7F6-B498-43B3-948B-1728B52AA6E4}">
                <adec:decorative xmlns:adec="http://schemas.microsoft.com/office/drawing/2017/decorative" val="1"/>
              </a:ext>
            </a:extLst>
          </p:cNvPr>
          <p:cNvSpPr/>
          <p:nvPr/>
        </p:nvSpPr>
        <p:spPr bwMode="auto">
          <a:xfrm>
            <a:off x="10241280" y="1463040"/>
            <a:ext cx="1737360" cy="1737360"/>
          </a:xfrm>
          <a:prstGeom prst="rect">
            <a:avLst/>
          </a:prstGeom>
          <a:solidFill>
            <a:srgbClr val="00B0F0">
              <a:alpha val="25000"/>
            </a:srgbClr>
          </a:solidFill>
          <a:ln w="38100">
            <a:solidFill>
              <a:srgbClr val="00B0F0"/>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4EFFF632-5D46-2410-0CC6-3229D09ADBEF}"/>
              </a:ext>
              <a:ext uri="{C183D7F6-B498-43B3-948B-1728B52AA6E4}">
                <adec:decorative xmlns:adec="http://schemas.microsoft.com/office/drawing/2017/decorative" val="1"/>
              </a:ext>
            </a:extLst>
          </p:cNvPr>
          <p:cNvSpPr/>
          <p:nvPr/>
        </p:nvSpPr>
        <p:spPr bwMode="auto">
          <a:xfrm>
            <a:off x="4206240" y="1463040"/>
            <a:ext cx="1188720" cy="4846320"/>
          </a:xfrm>
          <a:prstGeom prst="rect">
            <a:avLst/>
          </a:prstGeom>
          <a:solidFill>
            <a:srgbClr val="107C10">
              <a:alpha val="25000"/>
            </a:srgbClr>
          </a:solidFill>
          <a:ln w="38100">
            <a:solidFill>
              <a:srgbClr val="107C10"/>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128012927"/>
      </p:ext>
    </p:extLst>
  </p:cSld>
  <p:clrMapOvr>
    <a:masterClrMapping/>
  </p:clrMapOvr>
  <p:transition spd="slow"/>
</p:sld>
</file>

<file path=ppt/slides/slide14.xml><?xml version="1.0" encoding="utf-8"?>
<p:sld xmlns:a16="http://schemas.microsoft.com/office/drawing/2014/main" xmlns:p14="http://schemas.microsoft.com/office/powerpoint/2010/main" xmlns:dgm="http://schemas.openxmlformats.org/drawingml/2006/diagram" xmlns:adec="http://schemas.microsoft.com/office/drawing/2017/decorative"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DDFD10-6E53-47FB-AF96-67A1ED119206}"/>
              </a:ext>
            </a:extLst>
          </p:cNvPr>
          <p:cNvSpPr>
            <a:spLocks noGrp="1"/>
          </p:cNvSpPr>
          <p:nvPr>
            <p:ph type="title"/>
          </p:nvPr>
        </p:nvSpPr>
        <p:spPr>
          <a:xfrm>
            <a:off x="655637" y="320040"/>
            <a:ext cx="4352926" cy="461665"/>
          </a:xfrm>
        </p:spPr>
        <p:txBody>
          <a:bodyPr wrap="square" anchor="t">
            <a:normAutofit/>
          </a:bodyPr>
          <a:lstStyle/>
          <a:p>
            <a:r>
              <a:rPr lang="en-US"/>
              <a:t>Visual Studio Layout</a:t>
            </a:r>
          </a:p>
        </p:txBody>
      </p:sp>
      <p:graphicFrame>
        <p:nvGraphicFramePr>
          <p:cNvPr id="4" name="Diagram 3">
            <a:extLst>
              <a:ext uri="{FF2B5EF4-FFF2-40B4-BE49-F238E27FC236}">
                <a16:creationId xmlns:a16="http://schemas.microsoft.com/office/drawing/2014/main" id="{A730E632-3DA9-0870-073A-5157F4271EFC}"/>
              </a:ext>
            </a:extLst>
          </p:cNvPr>
          <p:cNvGraphicFramePr/>
          <p:nvPr>
            <p:extLst>
              <p:ext uri="{D42A27DB-BD31-4B8C-83A1-F6EECF244321}">
                <p14:modId xmlns:p14="http://schemas.microsoft.com/office/powerpoint/2010/main" val="1039697098"/>
              </p:ext>
            </p:extLst>
          </p:nvPr>
        </p:nvGraphicFramePr>
        <p:xfrm>
          <a:off x="640080" y="1005840"/>
          <a:ext cx="3200400" cy="5486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8" name="Picture 7">
            <a:extLst>
              <a:ext uri="{FF2B5EF4-FFF2-40B4-BE49-F238E27FC236}">
                <a16:creationId xmlns:a16="http://schemas.microsoft.com/office/drawing/2014/main" id="{D9FD0850-558B-3D6E-A7C8-82DC98C73B5E}"/>
              </a:ext>
            </a:extLst>
          </p:cNvPr>
          <p:cNvPicPr>
            <a:picLocks noChangeAspect="1"/>
          </p:cNvPicPr>
          <p:nvPr/>
        </p:nvPicPr>
        <p:blipFill>
          <a:blip r:embed="rId9"/>
          <a:stretch>
            <a:fillRect/>
          </a:stretch>
        </p:blipFill>
        <p:spPr>
          <a:xfrm>
            <a:off x="4023360" y="1005839"/>
            <a:ext cx="7980223" cy="5486400"/>
          </a:xfrm>
          <a:prstGeom prst="rect">
            <a:avLst/>
          </a:prstGeom>
          <a:noFill/>
        </p:spPr>
      </p:pic>
      <p:sp>
        <p:nvSpPr>
          <p:cNvPr id="5" name="Rectangle 4">
            <a:extLst>
              <a:ext uri="{FF2B5EF4-FFF2-40B4-BE49-F238E27FC236}">
                <a16:creationId xmlns:a16="http://schemas.microsoft.com/office/drawing/2014/main" id="{FD7354B6-3906-3D80-F86C-D564C25C41A1}"/>
              </a:ext>
              <a:ext uri="{C183D7F6-B498-43B3-948B-1728B52AA6E4}">
                <adec:decorative xmlns:adec="http://schemas.microsoft.com/office/drawing/2017/decorative" val="1"/>
              </a:ext>
            </a:extLst>
          </p:cNvPr>
          <p:cNvSpPr/>
          <p:nvPr/>
        </p:nvSpPr>
        <p:spPr bwMode="auto">
          <a:xfrm>
            <a:off x="5486400" y="1463040"/>
            <a:ext cx="4663440" cy="4846320"/>
          </a:xfrm>
          <a:prstGeom prst="rect">
            <a:avLst/>
          </a:prstGeom>
          <a:solidFill>
            <a:srgbClr val="D83B01">
              <a:alpha val="25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4E4B5C31-5231-5A77-5FAB-FA1764835E24}"/>
              </a:ext>
              <a:ext uri="{C183D7F6-B498-43B3-948B-1728B52AA6E4}">
                <adec:decorative xmlns:adec="http://schemas.microsoft.com/office/drawing/2017/decorative" val="1"/>
              </a:ext>
            </a:extLst>
          </p:cNvPr>
          <p:cNvSpPr/>
          <p:nvPr/>
        </p:nvSpPr>
        <p:spPr bwMode="auto">
          <a:xfrm>
            <a:off x="10241280" y="3383280"/>
            <a:ext cx="1737360" cy="2926080"/>
          </a:xfrm>
          <a:prstGeom prst="rect">
            <a:avLst/>
          </a:prstGeom>
          <a:solidFill>
            <a:srgbClr val="8661C5">
              <a:alpha val="25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ACA7D85E-CC97-CCBD-8508-96C031FB2257}"/>
              </a:ext>
              <a:ext uri="{C183D7F6-B498-43B3-948B-1728B52AA6E4}">
                <adec:decorative xmlns:adec="http://schemas.microsoft.com/office/drawing/2017/decorative" val="1"/>
              </a:ext>
            </a:extLst>
          </p:cNvPr>
          <p:cNvSpPr/>
          <p:nvPr/>
        </p:nvSpPr>
        <p:spPr bwMode="auto">
          <a:xfrm>
            <a:off x="10241280" y="1463040"/>
            <a:ext cx="1737360" cy="1737360"/>
          </a:xfrm>
          <a:prstGeom prst="rect">
            <a:avLst/>
          </a:prstGeom>
          <a:solidFill>
            <a:srgbClr val="00B0F0">
              <a:alpha val="50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4EFFF632-5D46-2410-0CC6-3229D09ADBEF}"/>
              </a:ext>
              <a:ext uri="{C183D7F6-B498-43B3-948B-1728B52AA6E4}">
                <adec:decorative xmlns:adec="http://schemas.microsoft.com/office/drawing/2017/decorative" val="1"/>
              </a:ext>
            </a:extLst>
          </p:cNvPr>
          <p:cNvSpPr/>
          <p:nvPr/>
        </p:nvSpPr>
        <p:spPr bwMode="auto">
          <a:xfrm>
            <a:off x="4206240" y="1463040"/>
            <a:ext cx="1188720" cy="4846320"/>
          </a:xfrm>
          <a:prstGeom prst="rect">
            <a:avLst/>
          </a:prstGeom>
          <a:solidFill>
            <a:srgbClr val="107C10">
              <a:alpha val="25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26636752"/>
      </p:ext>
    </p:extLst>
  </p:cSld>
  <p:clrMapOvr>
    <a:masterClrMapping/>
  </p:clrMapOvr>
  <p:transition spd="slow"/>
</p:sld>
</file>

<file path=ppt/slides/slide15.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Visual Studio</a:t>
            </a:r>
          </a:p>
        </p:txBody>
      </p:sp>
      <p:pic>
        <p:nvPicPr>
          <p:cNvPr id="5" name="Demo 01" descr="A person standing in front of a screen.">
            <a:extLst>
              <a:ext uri="{FF2B5EF4-FFF2-40B4-BE49-F238E27FC236}">
                <a16:creationId xmlns:a16="http://schemas.microsoft.com/office/drawing/2014/main" id="{5B00A5C1-9FA6-4339-A188-9262C2A8175C}"/>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734429818"/>
      </p:ext>
    </p:extLst>
  </p:cSld>
  <p:clrMapOvr>
    <a:masterClrMapping/>
  </p:clrMapOvr>
  <p:transition spd="slow"/>
</p:sld>
</file>

<file path=ppt/slides/slide16.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419208878"/>
      </p:ext>
    </p:extLst>
  </p:cSld>
  <p:clrMapOvr>
    <a:masterClrMapping/>
  </p:clrMapOvr>
  <p:transition spd="slow"/>
</p:sld>
</file>

<file path=ppt/slides/slide17.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a:prstGeom prst="rect">
            <a:avLst/>
          </a:prstGeom>
          <a:ln>
            <a:noFill/>
          </a:ln>
        </p:spPr>
        <p:txBody>
          <a:bodyPr wrap="square" anchor="t">
            <a:normAutofit/>
          </a:bodyPr>
          <a:lstStyle/>
          <a:p>
            <a:r>
              <a:rPr lang="en-US"/>
              <a:t>WPF Controls</a:t>
            </a:r>
          </a:p>
        </p:txBody>
      </p:sp>
      <p:sp>
        <p:nvSpPr>
          <p:cNvPr id="3" name="Picture Placeholder 2">
            <a:extLst>
              <a:ext uri="{FF2B5EF4-FFF2-40B4-BE49-F238E27FC236}">
                <a16:creationId xmlns:a16="http://schemas.microsoft.com/office/drawing/2014/main" id="{BCD788A8-596F-4394-AD6F-6E3BA68B7691}"/>
              </a:ext>
              <a:ext uri="{C183D7F6-B498-43B3-948B-1728B52AA6E4}">
                <adec:decorative xmlns:adec="http://schemas.microsoft.com/office/drawing/2017/decorative" val="1"/>
              </a:ext>
            </a:extLst>
          </p:cNvPr>
          <p:cNvSpPr>
            <a:spLocks noGrp="1"/>
          </p:cNvSpPr>
          <p:nvPr>
            <p:ph type="pic" sz="quarter" idx="15"/>
          </p:nvPr>
        </p:nvSpPr>
        <p:spPr/>
      </p:sp>
      <p:pic>
        <p:nvPicPr>
          <p:cNvPr id="6" name="Picture 5">
            <a:extLst>
              <a:ext uri="{FF2B5EF4-FFF2-40B4-BE49-F238E27FC236}">
                <a16:creationId xmlns:a16="http://schemas.microsoft.com/office/drawing/2014/main" id="{7AA8A8E5-7F35-49FD-8006-8BDD2A32492F}"/>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333682" y="10"/>
            <a:ext cx="6858000" cy="6861514"/>
          </a:xfrm>
          <a:prstGeom prst="rect">
            <a:avLst/>
          </a:prstGeom>
          <a:noFill/>
        </p:spPr>
      </p:pic>
    </p:spTree>
    <p:custDataLst>
      <p:tags r:id="rId1"/>
    </p:custDataLst>
    <p:extLst>
      <p:ext uri="{BB962C8B-B14F-4D97-AF65-F5344CB8AC3E}">
        <p14:creationId xmlns:p14="http://schemas.microsoft.com/office/powerpoint/2010/main" val="902272526"/>
      </p:ext>
    </p:extLst>
  </p:cSld>
  <p:clrMapOvr>
    <a:masterClrMapping/>
  </p:clrMapOvr>
  <p:transition spd="slow"/>
</p:sld>
</file>

<file path=ppt/slides/slide18.xml><?xml version="1.0" encoding="utf-8"?>
<p:sld xmlns:a16="http://schemas.microsoft.com/office/drawing/2014/main" xmlns:dgm="http://schemas.openxmlformats.org/drawingml/2006/diagram"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3CC031-E801-4D3D-B00A-683B0DA548DC}"/>
              </a:ext>
            </a:extLst>
          </p:cNvPr>
          <p:cNvSpPr>
            <a:spLocks noGrp="1"/>
          </p:cNvSpPr>
          <p:nvPr>
            <p:ph type="title"/>
          </p:nvPr>
        </p:nvSpPr>
        <p:spPr>
          <a:prstGeom prst="rect">
            <a:avLst/>
          </a:prstGeom>
          <a:ln>
            <a:noFill/>
          </a:ln>
        </p:spPr>
        <p:txBody>
          <a:bodyPr wrap="square" anchor="t">
            <a:normAutofit/>
          </a:bodyPr>
          <a:lstStyle/>
          <a:p>
            <a:r>
              <a:rPr lang="en-US"/>
              <a:t>XAML Controls</a:t>
            </a:r>
          </a:p>
        </p:txBody>
      </p:sp>
      <p:graphicFrame>
        <p:nvGraphicFramePr>
          <p:cNvPr id="5" name="Diagram 4">
            <a:extLst>
              <a:ext uri="{FF2B5EF4-FFF2-40B4-BE49-F238E27FC236}">
                <a16:creationId xmlns:a16="http://schemas.microsoft.com/office/drawing/2014/main" id="{0FC85094-162E-B0F1-506A-D4D85D132C0E}"/>
              </a:ext>
            </a:extLst>
          </p:cNvPr>
          <p:cNvGraphicFramePr/>
          <p:nvPr/>
        </p:nvGraphicFramePr>
        <p:xfrm>
          <a:off x="655638" y="641444"/>
          <a:ext cx="7792325" cy="612102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2" name="Picture 11">
            <a:extLst>
              <a:ext uri="{FF2B5EF4-FFF2-40B4-BE49-F238E27FC236}">
                <a16:creationId xmlns:a16="http://schemas.microsoft.com/office/drawing/2014/main" id="{B45A19BF-C625-115B-7EB1-3ABCC62E02CC}"/>
              </a:ext>
            </a:extLst>
          </p:cNvPr>
          <p:cNvPicPr>
            <a:picLocks noChangeAspect="1"/>
          </p:cNvPicPr>
          <p:nvPr/>
        </p:nvPicPr>
        <p:blipFill>
          <a:blip r:embed="rId9"/>
          <a:stretch>
            <a:fillRect/>
          </a:stretch>
        </p:blipFill>
        <p:spPr>
          <a:xfrm>
            <a:off x="8548956" y="-25386"/>
            <a:ext cx="3643044" cy="6908772"/>
          </a:xfrm>
          <a:prstGeom prst="rect">
            <a:avLst/>
          </a:prstGeom>
        </p:spPr>
      </p:pic>
    </p:spTree>
    <p:custDataLst>
      <p:tags r:id="rId1"/>
    </p:custDataLst>
    <p:extLst>
      <p:ext uri="{BB962C8B-B14F-4D97-AF65-F5344CB8AC3E}">
        <p14:creationId xmlns:p14="http://schemas.microsoft.com/office/powerpoint/2010/main" val="1149347324"/>
      </p:ext>
    </p:extLst>
  </p:cSld>
  <p:clrMapOvr>
    <a:masterClrMapping/>
  </p:clrMapOvr>
  <p:transition spd="slow"/>
</p:sld>
</file>

<file path=ppt/slides/slide1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76763AC-E01B-45D0-806A-1F2948DFF0A8}"/>
              </a:ext>
            </a:extLst>
          </p:cNvPr>
          <p:cNvSpPr>
            <a:spLocks noGrp="1"/>
          </p:cNvSpPr>
          <p:nvPr>
            <p:ph type="title"/>
          </p:nvPr>
        </p:nvSpPr>
        <p:spPr>
          <a:xfrm>
            <a:off x="655638" y="320040"/>
            <a:ext cx="10880725" cy="461665"/>
          </a:xfrm>
        </p:spPr>
        <p:txBody>
          <a:bodyPr wrap="square" anchor="t">
            <a:normAutofit/>
          </a:bodyPr>
          <a:lstStyle/>
          <a:p>
            <a:r>
              <a:rPr lang="en-US"/>
              <a:t>XAML Controls Visualized</a:t>
            </a:r>
          </a:p>
        </p:txBody>
      </p:sp>
      <p:pic>
        <p:nvPicPr>
          <p:cNvPr id="19" name="Picture 18">
            <a:extLst>
              <a:ext uri="{FF2B5EF4-FFF2-40B4-BE49-F238E27FC236}">
                <a16:creationId xmlns:a16="http://schemas.microsoft.com/office/drawing/2014/main" id="{232ADB15-BAC6-0C70-247F-BC45FA4861D7}"/>
              </a:ext>
            </a:extLst>
          </p:cNvPr>
          <p:cNvPicPr>
            <a:picLocks noChangeAspect="1"/>
          </p:cNvPicPr>
          <p:nvPr/>
        </p:nvPicPr>
        <p:blipFill rotWithShape="1">
          <a:blip r:embed="rId4"/>
          <a:srcRect l="805" t="1659" r="862" b="1686"/>
          <a:stretch/>
        </p:blipFill>
        <p:spPr>
          <a:xfrm>
            <a:off x="1832224" y="1005840"/>
            <a:ext cx="8411773" cy="5486400"/>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1192450783"/>
      </p:ext>
    </p:extLst>
  </p:cSld>
  <p:clrMapOvr>
    <a:masterClrMapping/>
  </p:clrMapOvr>
  <p:transition spd="slow"/>
</p:sld>
</file>

<file path=ppt/slides/slide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536575" y="288925"/>
            <a:ext cx="11655425" cy="900113"/>
          </a:xfrm>
        </p:spPr>
        <p:txBody>
          <a:bodyPr/>
          <a:lstStyle/>
          <a:p>
            <a:r>
              <a:rPr lang="en-US">
                <a:noFill/>
              </a:rPr>
              <a:t>Disclaimer</a:t>
            </a:r>
          </a:p>
        </p:txBody>
      </p:sp>
    </p:spTree>
    <p:custDataLst>
      <p:tags r:id="rId1"/>
    </p:custDataLst>
    <p:extLst>
      <p:ext uri="{BB962C8B-B14F-4D97-AF65-F5344CB8AC3E}">
        <p14:creationId xmlns:p14="http://schemas.microsoft.com/office/powerpoint/2010/main" val="4141703244"/>
      </p:ext>
    </p:extLst>
  </p:cSld>
  <p:clrMapOvr>
    <a:masterClrMapping/>
  </p:clrMapOvr>
  <p:transition spd="slow"/>
</p:sld>
</file>

<file path=ppt/slides/slide20.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76763AC-E01B-45D0-806A-1F2948DFF0A8}"/>
              </a:ext>
            </a:extLst>
          </p:cNvPr>
          <p:cNvSpPr>
            <a:spLocks noGrp="1"/>
          </p:cNvSpPr>
          <p:nvPr>
            <p:ph type="title"/>
          </p:nvPr>
        </p:nvSpPr>
        <p:spPr>
          <a:xfrm>
            <a:off x="655638" y="320040"/>
            <a:ext cx="10880725" cy="461665"/>
          </a:xfrm>
        </p:spPr>
        <p:txBody>
          <a:bodyPr wrap="square" anchor="t">
            <a:normAutofit/>
          </a:bodyPr>
          <a:lstStyle/>
          <a:p>
            <a:r>
              <a:rPr lang="en-US"/>
              <a:t>Grouping Controls</a:t>
            </a:r>
          </a:p>
        </p:txBody>
      </p:sp>
      <p:graphicFrame>
        <p:nvGraphicFramePr>
          <p:cNvPr id="2" name="Diagram 1">
            <a:extLst>
              <a:ext uri="{FF2B5EF4-FFF2-40B4-BE49-F238E27FC236}">
                <a16:creationId xmlns:a16="http://schemas.microsoft.com/office/drawing/2014/main" id="{25280BB3-37B9-ECD9-74DE-77B0B013816C}"/>
              </a:ext>
            </a:extLst>
          </p:cNvPr>
          <p:cNvGraphicFramePr/>
          <p:nvPr>
            <p:extLst>
              <p:ext uri="{D42A27DB-BD31-4B8C-83A1-F6EECF244321}">
                <p14:modId xmlns:p14="http://schemas.microsoft.com/office/powerpoint/2010/main" val="1916276466"/>
              </p:ext>
            </p:extLst>
          </p:nvPr>
        </p:nvGraphicFramePr>
        <p:xfrm>
          <a:off x="655637" y="803122"/>
          <a:ext cx="7954963" cy="57348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8" name="Picture 7">
            <a:extLst>
              <a:ext uri="{FF2B5EF4-FFF2-40B4-BE49-F238E27FC236}">
                <a16:creationId xmlns:a16="http://schemas.microsoft.com/office/drawing/2014/main" id="{D4D09CC7-8526-0FDD-98F8-E339D66EF1D5}"/>
              </a:ext>
            </a:extLst>
          </p:cNvPr>
          <p:cNvPicPr>
            <a:picLocks noChangeAspect="1"/>
          </p:cNvPicPr>
          <p:nvPr/>
        </p:nvPicPr>
        <p:blipFill>
          <a:blip r:embed="rId9"/>
          <a:stretch>
            <a:fillRect/>
          </a:stretch>
        </p:blipFill>
        <p:spPr>
          <a:xfrm>
            <a:off x="8720220" y="816063"/>
            <a:ext cx="3339987" cy="5318037"/>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215398212"/>
      </p:ext>
    </p:extLst>
  </p:cSld>
  <p:clrMapOvr>
    <a:masterClrMapping/>
  </p:clrMapOvr>
  <p:transition spd="slow"/>
</p:sld>
</file>

<file path=ppt/slides/slide22.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E64F0EF-5D00-4F19-B090-4F73F1518B0E}"/>
              </a:ext>
            </a:extLst>
          </p:cNvPr>
          <p:cNvSpPr>
            <a:spLocks noGrp="1"/>
          </p:cNvSpPr>
          <p:nvPr>
            <p:ph type="title"/>
          </p:nvPr>
        </p:nvSpPr>
        <p:spPr>
          <a:xfrm>
            <a:off x="655638" y="320040"/>
            <a:ext cx="10880725" cy="461665"/>
          </a:xfrm>
        </p:spPr>
        <p:txBody>
          <a:bodyPr/>
          <a:lstStyle/>
          <a:p>
            <a:r>
              <a:rPr lang="en-US"/>
              <a:t>GUI Design Best Practices</a:t>
            </a:r>
          </a:p>
        </p:txBody>
      </p:sp>
      <p:graphicFrame>
        <p:nvGraphicFramePr>
          <p:cNvPr id="3" name="Diagram 2">
            <a:extLst>
              <a:ext uri="{FF2B5EF4-FFF2-40B4-BE49-F238E27FC236}">
                <a16:creationId xmlns:a16="http://schemas.microsoft.com/office/drawing/2014/main" id="{FEBDE72C-DD01-8C41-F99D-BB9AE031F7AA}"/>
              </a:ext>
            </a:extLst>
          </p:cNvPr>
          <p:cNvGraphicFramePr/>
          <p:nvPr>
            <p:extLst>
              <p:ext uri="{D42A27DB-BD31-4B8C-83A1-F6EECF244321}">
                <p14:modId xmlns:p14="http://schemas.microsoft.com/office/powerpoint/2010/main" val="3012530024"/>
              </p:ext>
            </p:extLst>
          </p:nvPr>
        </p:nvGraphicFramePr>
        <p:xfrm>
          <a:off x="396240" y="1066800"/>
          <a:ext cx="6456623" cy="54711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6">
            <a:extLst>
              <a:ext uri="{FF2B5EF4-FFF2-40B4-BE49-F238E27FC236}">
                <a16:creationId xmlns:a16="http://schemas.microsoft.com/office/drawing/2014/main" id="{723E510E-ED01-A15E-D2CB-94D380EB0824}"/>
              </a:ext>
            </a:extLst>
          </p:cNvPr>
          <p:cNvPicPr>
            <a:picLocks noChangeAspect="1"/>
          </p:cNvPicPr>
          <p:nvPr/>
        </p:nvPicPr>
        <p:blipFill rotWithShape="1">
          <a:blip r:embed="rId9"/>
          <a:srcRect l="672" t="697" r="680" b="679"/>
          <a:stretch/>
        </p:blipFill>
        <p:spPr>
          <a:xfrm>
            <a:off x="7223760" y="1371600"/>
            <a:ext cx="4615256" cy="4937760"/>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1895228649"/>
      </p:ext>
    </p:extLst>
  </p:cSld>
  <p:clrMapOvr>
    <a:masterClrMapping/>
  </p:clrMapOvr>
  <p:transition spd="slow"/>
</p:sld>
</file>

<file path=ppt/slides/slide2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Simple WPF GUI</a:t>
            </a:r>
          </a:p>
        </p:txBody>
      </p:sp>
      <p:pic>
        <p:nvPicPr>
          <p:cNvPr id="5" name="Demo 01" descr="A person standing in front of a screen.">
            <a:extLst>
              <a:ext uri="{FF2B5EF4-FFF2-40B4-BE49-F238E27FC236}">
                <a16:creationId xmlns:a16="http://schemas.microsoft.com/office/drawing/2014/main" id="{ED35F469-E547-4F24-86EA-51C2BB0620EE}"/>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4211615216"/>
      </p:ext>
    </p:extLst>
  </p:cSld>
  <p:clrMapOvr>
    <a:masterClrMapping/>
  </p:clrMapOvr>
  <p:transition spd="slow"/>
</p:sld>
</file>

<file path=ppt/slides/slide24.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Basic GUI controls</a:t>
            </a:r>
          </a:p>
        </p:txBody>
      </p:sp>
      <p:pic>
        <p:nvPicPr>
          <p:cNvPr id="5" name="Demo 01" descr="A person standing in front of a screen.">
            <a:extLst>
              <a:ext uri="{FF2B5EF4-FFF2-40B4-BE49-F238E27FC236}">
                <a16:creationId xmlns:a16="http://schemas.microsoft.com/office/drawing/2014/main" id="{EDDB3D8C-DFD6-4B25-A2BE-E4792F1C35D3}"/>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443941287"/>
      </p:ext>
    </p:extLst>
  </p:cSld>
  <p:clrMapOvr>
    <a:masterClrMapping/>
  </p:clrMapOvr>
  <p:transition spd="slow"/>
</p:sld>
</file>

<file path=ppt/slides/slide25.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Advanced / Grouping GUI controls</a:t>
            </a:r>
          </a:p>
        </p:txBody>
      </p:sp>
      <p:pic>
        <p:nvPicPr>
          <p:cNvPr id="5" name="Demo 01" descr="A person standing in front of a screen.">
            <a:extLst>
              <a:ext uri="{FF2B5EF4-FFF2-40B4-BE49-F238E27FC236}">
                <a16:creationId xmlns:a16="http://schemas.microsoft.com/office/drawing/2014/main" id="{68538DB6-CF58-4192-94D0-5B13E6E40C3A}"/>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3561447839"/>
      </p:ext>
    </p:extLst>
  </p:cSld>
  <p:clrMapOvr>
    <a:masterClrMapping/>
  </p:clrMapOvr>
  <p:transition spd="slow"/>
</p:sld>
</file>

<file path=ppt/slides/slide26.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193363161"/>
      </p:ext>
    </p:extLst>
  </p:cSld>
  <p:clrMapOvr>
    <a:masterClrMapping/>
  </p:clrMapOvr>
  <p:transition spd="slow"/>
</p:sld>
</file>

<file path=ppt/slides/slide27.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a:prstGeom prst="rect">
            <a:avLst/>
          </a:prstGeom>
          <a:ln>
            <a:noFill/>
          </a:ln>
        </p:spPr>
        <p:txBody>
          <a:bodyPr wrap="square" anchor="t">
            <a:normAutofit/>
          </a:bodyPr>
          <a:lstStyle/>
          <a:p>
            <a:r>
              <a:rPr lang="en-US"/>
              <a:t>Your first GUI</a:t>
            </a:r>
          </a:p>
        </p:txBody>
      </p:sp>
      <p:pic>
        <p:nvPicPr>
          <p:cNvPr id="7" name="Picture 5">
            <a:extLst>
              <a:ext uri="{FF2B5EF4-FFF2-40B4-BE49-F238E27FC236}">
                <a16:creationId xmlns:a16="http://schemas.microsoft.com/office/drawing/2014/main" id="{33B9B48C-8C13-4A8C-AC57-774FD8F4E6A8}"/>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333682" y="10"/>
            <a:ext cx="6858000" cy="6861514"/>
          </a:xfrm>
          <a:prstGeom prst="rect">
            <a:avLst/>
          </a:prstGeom>
          <a:noFill/>
        </p:spPr>
      </p:pic>
    </p:spTree>
    <p:custDataLst>
      <p:tags r:id="rId1"/>
    </p:custDataLst>
    <p:extLst>
      <p:ext uri="{BB962C8B-B14F-4D97-AF65-F5344CB8AC3E}">
        <p14:creationId xmlns:p14="http://schemas.microsoft.com/office/powerpoint/2010/main" val="1463064717"/>
      </p:ext>
    </p:extLst>
  </p:cSld>
  <p:clrMapOvr>
    <a:masterClrMapping/>
  </p:clrMapOvr>
  <p:transition spd="slow"/>
</p:sld>
</file>

<file path=ppt/slides/slide28.xml><?xml version="1.0" encoding="utf-8"?>
<p:sld xmlns:a16="http://schemas.microsoft.com/office/drawing/2014/main"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EBDFCB-27D6-4164-8974-C60AAF2E72C4}"/>
              </a:ext>
            </a:extLst>
          </p:cNvPr>
          <p:cNvSpPr>
            <a:spLocks noGrp="1"/>
          </p:cNvSpPr>
          <p:nvPr>
            <p:ph type="title"/>
          </p:nvPr>
        </p:nvSpPr>
        <p:spPr/>
        <p:txBody>
          <a:bodyPr/>
          <a:lstStyle/>
          <a:p>
            <a:r>
              <a:rPr lang="en-US"/>
              <a:t>WPF / XAML GUI Workflow</a:t>
            </a:r>
          </a:p>
        </p:txBody>
      </p:sp>
      <p:graphicFrame>
        <p:nvGraphicFramePr>
          <p:cNvPr id="4" name="Diagram 3">
            <a:extLst>
              <a:ext uri="{FF2B5EF4-FFF2-40B4-BE49-F238E27FC236}">
                <a16:creationId xmlns:a16="http://schemas.microsoft.com/office/drawing/2014/main" id="{4588EEB5-609F-4C18-B29D-534E1ABBA92C}"/>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810250634"/>
              </p:ext>
            </p:extLst>
          </p:nvPr>
        </p:nvGraphicFramePr>
        <p:xfrm>
          <a:off x="640080" y="3749040"/>
          <a:ext cx="10972800" cy="23774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2" name="Diagram 1">
            <a:extLst>
              <a:ext uri="{FF2B5EF4-FFF2-40B4-BE49-F238E27FC236}">
                <a16:creationId xmlns:a16="http://schemas.microsoft.com/office/drawing/2014/main" id="{7570760C-0BE2-50ED-62B1-E4B6707D193B}"/>
              </a:ext>
            </a:extLst>
          </p:cNvPr>
          <p:cNvGraphicFramePr/>
          <p:nvPr>
            <p:extLst>
              <p:ext uri="{D42A27DB-BD31-4B8C-83A1-F6EECF244321}">
                <p14:modId xmlns:p14="http://schemas.microsoft.com/office/powerpoint/2010/main" val="751767707"/>
              </p:ext>
            </p:extLst>
          </p:nvPr>
        </p:nvGraphicFramePr>
        <p:xfrm>
          <a:off x="640080" y="1005840"/>
          <a:ext cx="10972800" cy="22860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1"/>
    </p:custDataLst>
    <p:extLst>
      <p:ext uri="{BB962C8B-B14F-4D97-AF65-F5344CB8AC3E}">
        <p14:creationId xmlns:p14="http://schemas.microsoft.com/office/powerpoint/2010/main" val="588746502"/>
      </p:ext>
    </p:extLst>
  </p:cSld>
  <p:clrMapOvr>
    <a:masterClrMapping/>
  </p:clrMapOvr>
  <p:transition spd="slow"/>
</p:sld>
</file>

<file path=ppt/slides/slide29.xml><?xml version="1.0" encoding="utf-8"?>
<p:sld xmlns:a16="http://schemas.microsoft.com/office/drawing/2014/main" xmlns:p14="http://schemas.microsoft.com/office/powerpoint/2010/main" xmlns:dgm="http://schemas.openxmlformats.org/drawingml/2006/diagram" xmlns:adec="http://schemas.microsoft.com/office/drawing/2017/decorative"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EBDFCB-27D6-4164-8974-C60AAF2E72C4}"/>
              </a:ext>
            </a:extLst>
          </p:cNvPr>
          <p:cNvSpPr>
            <a:spLocks noGrp="1"/>
          </p:cNvSpPr>
          <p:nvPr>
            <p:ph type="title"/>
          </p:nvPr>
        </p:nvSpPr>
        <p:spPr/>
        <p:txBody>
          <a:bodyPr/>
          <a:lstStyle/>
          <a:p>
            <a:r>
              <a:rPr lang="en-US"/>
              <a:t>Naming WPF Controls</a:t>
            </a:r>
          </a:p>
        </p:txBody>
      </p:sp>
      <p:graphicFrame>
        <p:nvGraphicFramePr>
          <p:cNvPr id="18" name="Diagram 17">
            <a:extLst>
              <a:ext uri="{FF2B5EF4-FFF2-40B4-BE49-F238E27FC236}">
                <a16:creationId xmlns:a16="http://schemas.microsoft.com/office/drawing/2014/main" id="{757FB000-A20C-9E9F-56E7-8642C3440AA5}"/>
              </a:ext>
            </a:extLst>
          </p:cNvPr>
          <p:cNvGraphicFramePr/>
          <p:nvPr>
            <p:extLst>
              <p:ext uri="{D42A27DB-BD31-4B8C-83A1-F6EECF244321}">
                <p14:modId xmlns:p14="http://schemas.microsoft.com/office/powerpoint/2010/main" val="3777216924"/>
              </p:ext>
            </p:extLst>
          </p:nvPr>
        </p:nvGraphicFramePr>
        <p:xfrm>
          <a:off x="584933" y="985883"/>
          <a:ext cx="5117367" cy="5229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5">
            <a:extLst>
              <a:ext uri="{FF2B5EF4-FFF2-40B4-BE49-F238E27FC236}">
                <a16:creationId xmlns:a16="http://schemas.microsoft.com/office/drawing/2014/main" id="{9B1B4178-8068-2203-876C-EA0E7308A6FC}"/>
              </a:ext>
            </a:extLst>
          </p:cNvPr>
          <p:cNvPicPr>
            <a:picLocks noChangeAspect="1"/>
          </p:cNvPicPr>
          <p:nvPr/>
        </p:nvPicPr>
        <p:blipFill rotWithShape="1">
          <a:blip r:embed="rId9"/>
          <a:srcRect r="18845"/>
          <a:stretch/>
        </p:blipFill>
        <p:spPr>
          <a:xfrm>
            <a:off x="5943600" y="3840480"/>
            <a:ext cx="5753100" cy="2834640"/>
          </a:xfrm>
          <a:prstGeom prst="rect">
            <a:avLst/>
          </a:prstGeom>
          <a:ln>
            <a:noFill/>
          </a:ln>
          <a:effectLst>
            <a:outerShdw blurRad="292100" dist="139700" dir="2700000" algn="tl" rotWithShape="0">
              <a:srgbClr val="333333">
                <a:alpha val="65000"/>
              </a:srgbClr>
            </a:outerShdw>
          </a:effectLst>
        </p:spPr>
      </p:pic>
      <p:pic>
        <p:nvPicPr>
          <p:cNvPr id="2" name="Picture 1">
            <a:extLst>
              <a:ext uri="{FF2B5EF4-FFF2-40B4-BE49-F238E27FC236}">
                <a16:creationId xmlns:a16="http://schemas.microsoft.com/office/drawing/2014/main" id="{290166B7-9A44-38D4-6B3C-EC7DCD4BFA6F}"/>
              </a:ext>
            </a:extLst>
          </p:cNvPr>
          <p:cNvPicPr>
            <a:picLocks noChangeAspect="1"/>
          </p:cNvPicPr>
          <p:nvPr/>
        </p:nvPicPr>
        <p:blipFill rotWithShape="1">
          <a:blip r:embed="rId10"/>
          <a:srcRect l="672" t="697" r="680" b="679"/>
          <a:stretch/>
        </p:blipFill>
        <p:spPr>
          <a:xfrm>
            <a:off x="5943600" y="914400"/>
            <a:ext cx="2564032" cy="2743200"/>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D0687D22-AF18-2A8C-6E0D-F1C3C9DFAA44}"/>
              </a:ext>
            </a:extLst>
          </p:cNvPr>
          <p:cNvPicPr>
            <a:picLocks noChangeAspect="1"/>
          </p:cNvPicPr>
          <p:nvPr/>
        </p:nvPicPr>
        <p:blipFill rotWithShape="1">
          <a:blip r:embed="rId11"/>
          <a:srcRect r="16910" b="39366"/>
          <a:stretch/>
        </p:blipFill>
        <p:spPr>
          <a:xfrm>
            <a:off x="8595360" y="914400"/>
            <a:ext cx="3139964" cy="2743200"/>
          </a:xfrm>
          <a:prstGeom prst="rect">
            <a:avLst/>
          </a:prstGeom>
          <a:ln>
            <a:noFill/>
          </a:ln>
          <a:effectLst>
            <a:outerShdw blurRad="292100" dist="139700" dir="2700000" algn="tl" rotWithShape="0">
              <a:srgbClr val="333333">
                <a:alpha val="65000"/>
              </a:srgbClr>
            </a:outerShdw>
          </a:effectLst>
        </p:spPr>
      </p:pic>
      <p:sp>
        <p:nvSpPr>
          <p:cNvPr id="9" name="Rectangle 8">
            <a:extLst>
              <a:ext uri="{FF2B5EF4-FFF2-40B4-BE49-F238E27FC236}">
                <a16:creationId xmlns:a16="http://schemas.microsoft.com/office/drawing/2014/main" id="{79912F58-B1ED-2B76-3D88-2D8D47C9AB0E}"/>
              </a:ext>
              <a:ext uri="{C183D7F6-B498-43B3-948B-1728B52AA6E4}">
                <adec:decorative xmlns:adec="http://schemas.microsoft.com/office/drawing/2017/decorative" val="1"/>
              </a:ext>
            </a:extLst>
          </p:cNvPr>
          <p:cNvSpPr/>
          <p:nvPr/>
        </p:nvSpPr>
        <p:spPr bwMode="auto">
          <a:xfrm>
            <a:off x="7589520" y="4892040"/>
            <a:ext cx="2057400" cy="228600"/>
          </a:xfrm>
          <a:prstGeom prst="rect">
            <a:avLst/>
          </a:prstGeom>
          <a:noFill/>
          <a:ln w="38100">
            <a:solidFill>
              <a:srgbClr val="D83B0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30FFBE83-38F4-317F-F1BD-57A995A5BE39}"/>
              </a:ext>
              <a:ext uri="{C183D7F6-B498-43B3-948B-1728B52AA6E4}">
                <adec:decorative xmlns:adec="http://schemas.microsoft.com/office/drawing/2017/decorative" val="1"/>
              </a:ext>
            </a:extLst>
          </p:cNvPr>
          <p:cNvSpPr/>
          <p:nvPr/>
        </p:nvSpPr>
        <p:spPr bwMode="auto">
          <a:xfrm>
            <a:off x="8961120" y="1143000"/>
            <a:ext cx="1143000" cy="228600"/>
          </a:xfrm>
          <a:prstGeom prst="rect">
            <a:avLst/>
          </a:prstGeom>
          <a:noFill/>
          <a:ln w="38100">
            <a:solidFill>
              <a:srgbClr val="D83B0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178451749"/>
      </p:ext>
    </p:extLst>
  </p:cSld>
  <p:clrMapOvr>
    <a:masterClrMapping/>
  </p:clrMapOvr>
  <p:transition spd="slow"/>
</p:sld>
</file>

<file path=ppt/slides/slide3.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p:txBody>
          <a:bodyPr/>
          <a:lstStyle/>
          <a:p>
            <a:r>
              <a:rPr lang="en-US"/>
              <a:t>Agenda</a:t>
            </a:r>
          </a:p>
        </p:txBody>
      </p:sp>
      <p:graphicFrame>
        <p:nvGraphicFramePr>
          <p:cNvPr id="6" name="Diagram 5">
            <a:extLst>
              <a:ext uri="{FF2B5EF4-FFF2-40B4-BE49-F238E27FC236}">
                <a16:creationId xmlns:a16="http://schemas.microsoft.com/office/drawing/2014/main" id="{C609BA77-89B1-E939-5D79-B3825FDE3292}"/>
              </a:ext>
            </a:extLst>
          </p:cNvPr>
          <p:cNvGraphicFramePr/>
          <p:nvPr>
            <p:extLst>
              <p:ext uri="{D42A27DB-BD31-4B8C-83A1-F6EECF244321}">
                <p14:modId xmlns:p14="http://schemas.microsoft.com/office/powerpoint/2010/main" val="340430187"/>
              </p:ext>
            </p:extLst>
          </p:nvPr>
        </p:nvGraphicFramePr>
        <p:xfrm>
          <a:off x="5008563" y="630238"/>
          <a:ext cx="6527800" cy="559752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262249998"/>
      </p:ext>
    </p:extLst>
  </p:cSld>
  <p:clrMapOvr>
    <a:masterClrMapping/>
  </p:clrMapOvr>
  <p:transition spd="slow"/>
</p:sld>
</file>

<file path=ppt/slides/slide30.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DB6A2D-390E-47D4-9003-4B0FBA264034}"/>
              </a:ext>
            </a:extLst>
          </p:cNvPr>
          <p:cNvSpPr>
            <a:spLocks noGrp="1"/>
          </p:cNvSpPr>
          <p:nvPr>
            <p:ph type="title"/>
          </p:nvPr>
        </p:nvSpPr>
        <p:spPr/>
        <p:txBody>
          <a:bodyPr/>
          <a:lstStyle/>
          <a:p>
            <a:r>
              <a:rPr lang="en-US"/>
              <a:t>Load XAML Into PowerShell</a:t>
            </a:r>
          </a:p>
        </p:txBody>
      </p:sp>
      <p:sp>
        <p:nvSpPr>
          <p:cNvPr id="13" name="Code Box">
            <a:extLst>
              <a:ext uri="{FF2B5EF4-FFF2-40B4-BE49-F238E27FC236}">
                <a16:creationId xmlns:a16="http://schemas.microsoft.com/office/drawing/2014/main" id="{656CC01F-87E8-421C-9E91-56BFC84B030C}"/>
              </a:ext>
            </a:extLst>
          </p:cNvPr>
          <p:cNvSpPr/>
          <p:nvPr>
            <p:custDataLst>
              <p:tags r:id="rId2"/>
            </p:custDataLst>
          </p:nvPr>
        </p:nvSpPr>
        <p:spPr>
          <a:xfrm>
            <a:off x="640079" y="2377439"/>
            <a:ext cx="10972800" cy="4389120"/>
          </a:xfrm>
          <a:prstGeom prst="rect">
            <a:avLst/>
          </a:prstGeom>
          <a:solidFill>
            <a:srgbClr val="012456"/>
          </a:solidFill>
        </p:spPr>
        <p:txBody>
          <a:bodyPr wrap="square">
            <a:noAutofit/>
          </a:bodyPr>
          <a:lstStyle/>
          <a:p>
            <a:r>
              <a:rPr lang="en-US" sz="2000">
                <a:solidFill>
                  <a:srgbClr val="98FB98"/>
                </a:solidFill>
                <a:latin typeface="Lucida Console" panose="020B0609040504020204" pitchFamily="49" charset="0"/>
              </a:rPr>
              <a:t># Add WPF assemblies</a:t>
            </a:r>
            <a:endParaRPr lang="en-US" sz="2000">
              <a:solidFill>
                <a:srgbClr val="F5F5F5"/>
              </a:solidFill>
              <a:latin typeface="Lucida Console" panose="020B0609040504020204" pitchFamily="49" charset="0"/>
            </a:endParaRPr>
          </a:p>
          <a:p>
            <a:r>
              <a:rPr lang="en-US" sz="2000">
                <a:solidFill>
                  <a:srgbClr val="E0FFFF"/>
                </a:solidFill>
                <a:latin typeface="Lucida Console" panose="020B0609040504020204" pitchFamily="49" charset="0"/>
              </a:rPr>
              <a:t>Add-Type</a:t>
            </a:r>
            <a:r>
              <a:rPr lang="en-US" sz="2000">
                <a:solidFill>
                  <a:srgbClr val="F5F5F5"/>
                </a:solidFill>
                <a:latin typeface="Lucida Console" panose="020B0609040504020204" pitchFamily="49" charset="0"/>
              </a:rPr>
              <a:t> </a:t>
            </a:r>
            <a:r>
              <a:rPr lang="en-US" sz="2000">
                <a:solidFill>
                  <a:srgbClr val="FFE4B5"/>
                </a:solidFill>
                <a:latin typeface="Lucida Console" panose="020B0609040504020204" pitchFamily="49" charset="0"/>
              </a:rPr>
              <a:t>-</a:t>
            </a:r>
            <a:r>
              <a:rPr lang="en-US" sz="2000" err="1">
                <a:solidFill>
                  <a:srgbClr val="FFE4B5"/>
                </a:solidFill>
                <a:latin typeface="Lucida Console" panose="020B0609040504020204" pitchFamily="49" charset="0"/>
              </a:rPr>
              <a:t>AssemblyName</a:t>
            </a:r>
            <a:r>
              <a:rPr lang="en-US" sz="2000">
                <a:solidFill>
                  <a:srgbClr val="F5F5F5"/>
                </a:solidFill>
                <a:latin typeface="Lucida Console" panose="020B0609040504020204" pitchFamily="49" charset="0"/>
              </a:rPr>
              <a:t> </a:t>
            </a:r>
            <a:r>
              <a:rPr lang="en-US" sz="2000" err="1">
                <a:solidFill>
                  <a:srgbClr val="EE82EE"/>
                </a:solidFill>
                <a:latin typeface="Lucida Console" panose="020B0609040504020204" pitchFamily="49" charset="0"/>
              </a:rPr>
              <a:t>PresentationCore</a:t>
            </a:r>
            <a:r>
              <a:rPr lang="en-US" sz="2000">
                <a:solidFill>
                  <a:srgbClr val="D3D3D3"/>
                </a:solidFill>
                <a:latin typeface="Lucida Console" panose="020B0609040504020204" pitchFamily="49" charset="0"/>
              </a:rPr>
              <a:t>, </a:t>
            </a:r>
            <a:r>
              <a:rPr lang="en-US" sz="2000" err="1">
                <a:solidFill>
                  <a:srgbClr val="EE82EE"/>
                </a:solidFill>
                <a:latin typeface="Lucida Console" panose="020B0609040504020204" pitchFamily="49" charset="0"/>
              </a:rPr>
              <a:t>PresentationFramework</a:t>
            </a:r>
            <a:endParaRPr lang="en-US" sz="2000">
              <a:solidFill>
                <a:srgbClr val="F5F5F5"/>
              </a:solidFill>
              <a:latin typeface="Lucida Console" panose="020B0609040504020204" pitchFamily="49" charset="0"/>
            </a:endParaRPr>
          </a:p>
          <a:p>
            <a:endParaRPr lang="en-US" sz="2000">
              <a:solidFill>
                <a:srgbClr val="F5F5F5"/>
              </a:solidFill>
              <a:latin typeface="Lucida Console" panose="020B0609040504020204" pitchFamily="49" charset="0"/>
            </a:endParaRPr>
          </a:p>
          <a:p>
            <a:r>
              <a:rPr lang="en-US" sz="2000">
                <a:solidFill>
                  <a:srgbClr val="98FB98"/>
                </a:solidFill>
                <a:latin typeface="Lucida Console" panose="020B0609040504020204" pitchFamily="49" charset="0"/>
              </a:rPr>
              <a:t># Cleanup XAML options</a:t>
            </a:r>
            <a:endParaRPr lang="en-US" sz="2000">
              <a:solidFill>
                <a:srgbClr val="F5F5F5"/>
              </a:solidFill>
              <a:latin typeface="Lucida Console" panose="020B0609040504020204" pitchFamily="49" charset="0"/>
            </a:endParaRPr>
          </a:p>
          <a:p>
            <a:r>
              <a:rPr lang="en-US" sz="2000">
                <a:solidFill>
                  <a:srgbClr val="FF4500"/>
                </a:solidFill>
                <a:latin typeface="Lucida Console" panose="020B0609040504020204" pitchFamily="49" charset="0"/>
              </a:rPr>
              <a:t>$XAML</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XML</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a:t>
            </a:r>
            <a:r>
              <a:rPr lang="en-US" sz="2000">
                <a:solidFill>
                  <a:srgbClr val="E0FFFF"/>
                </a:solidFill>
                <a:latin typeface="Lucida Console" panose="020B0609040504020204" pitchFamily="49" charset="0"/>
              </a:rPr>
              <a:t>Get-Content</a:t>
            </a:r>
            <a:r>
              <a:rPr lang="en-US" sz="2000">
                <a:solidFill>
                  <a:srgbClr val="F5F5F5"/>
                </a:solidFill>
                <a:latin typeface="Lucida Console" panose="020B0609040504020204" pitchFamily="49" charset="0"/>
              </a:rPr>
              <a:t> </a:t>
            </a:r>
            <a:r>
              <a:rPr lang="en-US" sz="2000">
                <a:solidFill>
                  <a:srgbClr val="FFE4B5"/>
                </a:solidFill>
                <a:latin typeface="Lucida Console" panose="020B0609040504020204" pitchFamily="49" charset="0"/>
              </a:rPr>
              <a:t>-Path</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a:t>
            </a:r>
            <a:r>
              <a:rPr lang="en-US" sz="2000" err="1">
                <a:solidFill>
                  <a:srgbClr val="DB7093"/>
                </a:solidFill>
                <a:latin typeface="Lucida Console" panose="020B0609040504020204" pitchFamily="49" charset="0"/>
              </a:rPr>
              <a:t>PSScriptRoot</a:t>
            </a:r>
            <a:r>
              <a:rPr lang="en-US" sz="2000">
                <a:solidFill>
                  <a:srgbClr val="DB7093"/>
                </a:solidFill>
                <a:latin typeface="Lucida Console" panose="020B0609040504020204" pitchFamily="49" charset="0"/>
              </a:rPr>
              <a:t>\</a:t>
            </a:r>
            <a:r>
              <a:rPr lang="en-US" sz="2000" err="1">
                <a:solidFill>
                  <a:srgbClr val="DB7093"/>
                </a:solidFill>
                <a:latin typeface="Lucida Console" panose="020B0609040504020204" pitchFamily="49" charset="0"/>
              </a:rPr>
              <a:t>MainWindow.xaml</a:t>
            </a:r>
            <a:r>
              <a:rPr lang="en-US" sz="2000">
                <a:solidFill>
                  <a:srgbClr val="DB709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E4B5"/>
                </a:solidFill>
                <a:latin typeface="Lucida Console" panose="020B0609040504020204" pitchFamily="49" charset="0"/>
              </a:rPr>
              <a:t>-Raw</a:t>
            </a:r>
            <a:r>
              <a:rPr lang="en-US" sz="2000">
                <a:solidFill>
                  <a:srgbClr val="F5F5F5"/>
                </a:solidFill>
                <a:latin typeface="Lucida Console" panose="020B0609040504020204" pitchFamily="49" charset="0"/>
              </a:rPr>
              <a:t>)</a:t>
            </a:r>
          </a:p>
          <a:p>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XAML</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Window</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RemoveAttribute</a:t>
            </a:r>
            <a:r>
              <a:rPr lang="en-US" sz="2000">
                <a:solidFill>
                  <a:srgbClr val="F5F5F5"/>
                </a:solidFill>
                <a:latin typeface="Lucida Console" panose="020B0609040504020204" pitchFamily="49" charset="0"/>
              </a:rPr>
              <a:t>(</a:t>
            </a:r>
            <a:r>
              <a:rPr lang="en-US" sz="2000">
                <a:solidFill>
                  <a:srgbClr val="DB7093"/>
                </a:solidFill>
                <a:latin typeface="Lucida Console" panose="020B0609040504020204" pitchFamily="49" charset="0"/>
              </a:rPr>
              <a:t>'</a:t>
            </a:r>
            <a:r>
              <a:rPr lang="en-US" sz="2000" err="1">
                <a:solidFill>
                  <a:srgbClr val="DB7093"/>
                </a:solidFill>
                <a:latin typeface="Lucida Console" panose="020B0609040504020204" pitchFamily="49" charset="0"/>
              </a:rPr>
              <a:t>x:Class</a:t>
            </a:r>
            <a:r>
              <a:rPr lang="en-US" sz="2000">
                <a:solidFill>
                  <a:srgbClr val="DB7093"/>
                </a:solidFill>
                <a:latin typeface="Lucida Console" panose="020B0609040504020204" pitchFamily="49" charset="0"/>
              </a:rPr>
              <a:t>'</a:t>
            </a:r>
            <a:r>
              <a:rPr lang="en-US" sz="2000">
                <a:solidFill>
                  <a:srgbClr val="F5F5F5"/>
                </a:solidFill>
                <a:latin typeface="Lucida Console" panose="020B0609040504020204" pitchFamily="49" charset="0"/>
              </a:rPr>
              <a:t>)</a:t>
            </a:r>
          </a:p>
          <a:p>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XAML</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Window</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RemoveAttribute</a:t>
            </a:r>
            <a:r>
              <a:rPr lang="en-US" sz="2000">
                <a:solidFill>
                  <a:srgbClr val="F5F5F5"/>
                </a:solidFill>
                <a:latin typeface="Lucida Console" panose="020B0609040504020204" pitchFamily="49" charset="0"/>
              </a:rPr>
              <a:t>(</a:t>
            </a:r>
            <a:r>
              <a:rPr lang="en-US" sz="2000">
                <a:solidFill>
                  <a:srgbClr val="DB7093"/>
                </a:solidFill>
                <a:latin typeface="Lucida Console" panose="020B0609040504020204" pitchFamily="49" charset="0"/>
              </a:rPr>
              <a:t>'</a:t>
            </a:r>
            <a:r>
              <a:rPr lang="en-US" sz="2000" err="1">
                <a:solidFill>
                  <a:srgbClr val="DB7093"/>
                </a:solidFill>
                <a:latin typeface="Lucida Console" panose="020B0609040504020204" pitchFamily="49" charset="0"/>
              </a:rPr>
              <a:t>xmlns:local</a:t>
            </a:r>
            <a:r>
              <a:rPr lang="en-US" sz="2000">
                <a:solidFill>
                  <a:srgbClr val="DB7093"/>
                </a:solidFill>
                <a:latin typeface="Lucida Console" panose="020B0609040504020204" pitchFamily="49" charset="0"/>
              </a:rPr>
              <a:t>'</a:t>
            </a:r>
            <a:r>
              <a:rPr lang="en-US" sz="2000">
                <a:solidFill>
                  <a:srgbClr val="F5F5F5"/>
                </a:solidFill>
                <a:latin typeface="Lucida Console" panose="020B0609040504020204" pitchFamily="49" charset="0"/>
              </a:rPr>
              <a:t>)</a:t>
            </a:r>
          </a:p>
          <a:p>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XAML</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Window</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RemoveAttribute</a:t>
            </a:r>
            <a:r>
              <a:rPr lang="en-US" sz="2000">
                <a:solidFill>
                  <a:srgbClr val="F5F5F5"/>
                </a:solidFill>
                <a:latin typeface="Lucida Console" panose="020B0609040504020204" pitchFamily="49" charset="0"/>
              </a:rPr>
              <a:t>(</a:t>
            </a:r>
            <a:r>
              <a:rPr lang="en-US" sz="2000">
                <a:solidFill>
                  <a:srgbClr val="DB7093"/>
                </a:solidFill>
                <a:latin typeface="Lucida Console" panose="020B0609040504020204" pitchFamily="49" charset="0"/>
              </a:rPr>
              <a:t>'</a:t>
            </a:r>
            <a:r>
              <a:rPr lang="en-US" sz="2000" err="1">
                <a:solidFill>
                  <a:srgbClr val="DB7093"/>
                </a:solidFill>
                <a:latin typeface="Lucida Console" panose="020B0609040504020204" pitchFamily="49" charset="0"/>
              </a:rPr>
              <a:t>xmlns:d</a:t>
            </a:r>
            <a:r>
              <a:rPr lang="en-US" sz="2000">
                <a:solidFill>
                  <a:srgbClr val="DB7093"/>
                </a:solidFill>
                <a:latin typeface="Lucida Console" panose="020B0609040504020204" pitchFamily="49" charset="0"/>
              </a:rPr>
              <a:t>'</a:t>
            </a:r>
            <a:r>
              <a:rPr lang="en-US" sz="2000">
                <a:solidFill>
                  <a:srgbClr val="F5F5F5"/>
                </a:solidFill>
                <a:latin typeface="Lucida Console" panose="020B0609040504020204" pitchFamily="49" charset="0"/>
              </a:rPr>
              <a:t>)</a:t>
            </a:r>
          </a:p>
          <a:p>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XAML</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Window</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RemoveAttribute</a:t>
            </a:r>
            <a:r>
              <a:rPr lang="en-US" sz="2000">
                <a:solidFill>
                  <a:srgbClr val="F5F5F5"/>
                </a:solidFill>
                <a:latin typeface="Lucida Console" panose="020B0609040504020204" pitchFamily="49" charset="0"/>
              </a:rPr>
              <a:t>(</a:t>
            </a:r>
            <a:r>
              <a:rPr lang="en-US" sz="2000">
                <a:solidFill>
                  <a:srgbClr val="DB7093"/>
                </a:solidFill>
                <a:latin typeface="Lucida Console" panose="020B0609040504020204" pitchFamily="49" charset="0"/>
              </a:rPr>
              <a:t>'</a:t>
            </a:r>
            <a:r>
              <a:rPr lang="en-US" sz="2000" err="1">
                <a:solidFill>
                  <a:srgbClr val="DB7093"/>
                </a:solidFill>
                <a:latin typeface="Lucida Console" panose="020B0609040504020204" pitchFamily="49" charset="0"/>
              </a:rPr>
              <a:t>xmlns:mc</a:t>
            </a:r>
            <a:r>
              <a:rPr lang="en-US" sz="2000">
                <a:solidFill>
                  <a:srgbClr val="DB7093"/>
                </a:solidFill>
                <a:latin typeface="Lucida Console" panose="020B0609040504020204" pitchFamily="49" charset="0"/>
              </a:rPr>
              <a:t>'</a:t>
            </a:r>
            <a:r>
              <a:rPr lang="en-US" sz="2000">
                <a:solidFill>
                  <a:srgbClr val="F5F5F5"/>
                </a:solidFill>
                <a:latin typeface="Lucida Console" panose="020B0609040504020204" pitchFamily="49" charset="0"/>
              </a:rPr>
              <a:t>)</a:t>
            </a:r>
          </a:p>
          <a:p>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XAML</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Window</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RemoveAttribute</a:t>
            </a:r>
            <a:r>
              <a:rPr lang="en-US" sz="2000">
                <a:solidFill>
                  <a:srgbClr val="F5F5F5"/>
                </a:solidFill>
                <a:latin typeface="Lucida Console" panose="020B0609040504020204" pitchFamily="49" charset="0"/>
              </a:rPr>
              <a:t>(</a:t>
            </a:r>
            <a:r>
              <a:rPr lang="en-US" sz="2000">
                <a:solidFill>
                  <a:srgbClr val="DB7093"/>
                </a:solidFill>
                <a:latin typeface="Lucida Console" panose="020B0609040504020204" pitchFamily="49" charset="0"/>
              </a:rPr>
              <a:t>'</a:t>
            </a:r>
            <a:r>
              <a:rPr lang="en-US" sz="2000" err="1">
                <a:solidFill>
                  <a:srgbClr val="DB7093"/>
                </a:solidFill>
                <a:latin typeface="Lucida Console" panose="020B0609040504020204" pitchFamily="49" charset="0"/>
              </a:rPr>
              <a:t>mc:Ignorable</a:t>
            </a:r>
            <a:r>
              <a:rPr lang="en-US" sz="2000">
                <a:solidFill>
                  <a:srgbClr val="DB7093"/>
                </a:solidFill>
                <a:latin typeface="Lucida Console" panose="020B0609040504020204" pitchFamily="49" charset="0"/>
              </a:rPr>
              <a:t>'</a:t>
            </a:r>
            <a:r>
              <a:rPr lang="en-US" sz="2000">
                <a:solidFill>
                  <a:srgbClr val="F5F5F5"/>
                </a:solidFill>
                <a:latin typeface="Lucida Console" panose="020B0609040504020204" pitchFamily="49" charset="0"/>
              </a:rPr>
              <a:t>)</a:t>
            </a:r>
          </a:p>
          <a:p>
            <a:endParaRPr lang="en-US" sz="2000">
              <a:solidFill>
                <a:srgbClr val="F5F5F5"/>
              </a:solidFill>
              <a:latin typeface="Lucida Console" panose="020B0609040504020204" pitchFamily="49" charset="0"/>
            </a:endParaRPr>
          </a:p>
          <a:p>
            <a:r>
              <a:rPr lang="en-US" sz="2000">
                <a:solidFill>
                  <a:srgbClr val="98FB98"/>
                </a:solidFill>
                <a:latin typeface="Lucida Console" panose="020B0609040504020204" pitchFamily="49" charset="0"/>
              </a:rPr>
              <a:t># Read XML as XAML</a:t>
            </a:r>
            <a:endParaRPr lang="en-US" sz="2000">
              <a:solidFill>
                <a:srgbClr val="F5F5F5"/>
              </a:solidFill>
              <a:latin typeface="Lucida Console" panose="020B0609040504020204" pitchFamily="49" charset="0"/>
            </a:endParaRPr>
          </a:p>
          <a:p>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XAMLreader</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New-Object</a:t>
            </a:r>
            <a:r>
              <a:rPr lang="en-US" sz="2000">
                <a:solidFill>
                  <a:srgbClr val="F5F5F5"/>
                </a:solidFill>
                <a:latin typeface="Lucida Console" panose="020B0609040504020204" pitchFamily="49" charset="0"/>
              </a:rPr>
              <a:t> </a:t>
            </a:r>
            <a:r>
              <a:rPr lang="en-US" sz="2000" err="1">
                <a:solidFill>
                  <a:srgbClr val="EE82EE"/>
                </a:solidFill>
                <a:latin typeface="Lucida Console" panose="020B0609040504020204" pitchFamily="49" charset="0"/>
              </a:rPr>
              <a:t>System.Xml.XmlNodeReader</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XAML</a:t>
            </a:r>
            <a:endParaRPr lang="en-US" sz="2000">
              <a:solidFill>
                <a:srgbClr val="F5F5F5"/>
              </a:solidFill>
              <a:latin typeface="Lucida Console" panose="020B0609040504020204" pitchFamily="49" charset="0"/>
            </a:endParaRPr>
          </a:p>
          <a:p>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Rawform</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err="1">
                <a:solidFill>
                  <a:srgbClr val="8FBC8F"/>
                </a:solidFill>
                <a:latin typeface="Lucida Console" panose="020B0609040504020204" pitchFamily="49" charset="0"/>
              </a:rPr>
              <a:t>Windows.Markup.XamlReader</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Load(</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XAMLreader</a:t>
            </a:r>
            <a:r>
              <a:rPr lang="en-US" sz="2000">
                <a:solidFill>
                  <a:srgbClr val="F5F5F5"/>
                </a:solidFill>
                <a:latin typeface="Lucida Console" panose="020B0609040504020204" pitchFamily="49" charset="0"/>
              </a:rPr>
              <a:t>) </a:t>
            </a:r>
          </a:p>
        </p:txBody>
      </p:sp>
      <p:graphicFrame>
        <p:nvGraphicFramePr>
          <p:cNvPr id="5" name="Diagram 4">
            <a:extLst>
              <a:ext uri="{FF2B5EF4-FFF2-40B4-BE49-F238E27FC236}">
                <a16:creationId xmlns:a16="http://schemas.microsoft.com/office/drawing/2014/main" id="{5A8FE4A7-2147-08C1-0E85-5FCE0452886F}"/>
              </a:ext>
            </a:extLst>
          </p:cNvPr>
          <p:cNvGraphicFramePr/>
          <p:nvPr>
            <p:extLst>
              <p:ext uri="{D42A27DB-BD31-4B8C-83A1-F6EECF244321}">
                <p14:modId xmlns:p14="http://schemas.microsoft.com/office/powerpoint/2010/main" val="1534415902"/>
              </p:ext>
            </p:extLst>
          </p:nvPr>
        </p:nvGraphicFramePr>
        <p:xfrm>
          <a:off x="640080" y="1005840"/>
          <a:ext cx="10972800" cy="128016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2239498325"/>
      </p:ext>
    </p:extLst>
  </p:cSld>
  <p:clrMapOvr>
    <a:masterClrMapping/>
  </p:clrMapOvr>
  <p:transition spd="slow"/>
</p:sld>
</file>

<file path=ppt/slides/slide31.xml><?xml version="1.0" encoding="utf-8"?>
<p:sld xmlns:a16="http://schemas.microsoft.com/office/drawing/2014/main" xmlns:dgm="http://schemas.openxmlformats.org/drawingml/2006/diagram"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DB6A2D-390E-47D4-9003-4B0FBA264034}"/>
              </a:ext>
            </a:extLst>
          </p:cNvPr>
          <p:cNvSpPr>
            <a:spLocks noGrp="1"/>
          </p:cNvSpPr>
          <p:nvPr>
            <p:ph type="title"/>
          </p:nvPr>
        </p:nvSpPr>
        <p:spPr/>
        <p:txBody>
          <a:bodyPr/>
          <a:lstStyle/>
          <a:p>
            <a:r>
              <a:rPr lang="en-US"/>
              <a:t>Creating $GUI Hash Table</a:t>
            </a:r>
          </a:p>
        </p:txBody>
      </p:sp>
      <p:sp>
        <p:nvSpPr>
          <p:cNvPr id="7" name="Code Box">
            <a:extLst>
              <a:ext uri="{FF2B5EF4-FFF2-40B4-BE49-F238E27FC236}">
                <a16:creationId xmlns:a16="http://schemas.microsoft.com/office/drawing/2014/main" id="{91CCF221-F767-49B9-9CD9-076467D04D53}"/>
              </a:ext>
            </a:extLst>
          </p:cNvPr>
          <p:cNvSpPr/>
          <p:nvPr>
            <p:custDataLst>
              <p:tags r:id="rId2"/>
            </p:custDataLst>
          </p:nvPr>
        </p:nvSpPr>
        <p:spPr>
          <a:xfrm>
            <a:off x="182880" y="1645920"/>
            <a:ext cx="11887200" cy="5029200"/>
          </a:xfrm>
          <a:prstGeom prst="rect">
            <a:avLst/>
          </a:prstGeom>
          <a:solidFill>
            <a:srgbClr val="012456"/>
          </a:solidFill>
        </p:spPr>
        <p:txBody>
          <a:bodyPr wrap="square" lIns="91440" rIns="91440">
            <a:noAutofit/>
          </a:bodyPr>
          <a:lstStyle/>
          <a:p>
            <a:r>
              <a:rPr lang="en-US" sz="2000">
                <a:solidFill>
                  <a:srgbClr val="98FB98"/>
                </a:solidFill>
                <a:latin typeface="Lucida Console" panose="020B0609040504020204" pitchFamily="49" charset="0"/>
              </a:rPr>
              <a:t># Add XML namespace manager</a:t>
            </a:r>
            <a:endParaRPr lang="en-US" sz="2000">
              <a:solidFill>
                <a:srgbClr val="F5F5F5"/>
              </a:solidFill>
              <a:latin typeface="Lucida Console" panose="020B0609040504020204" pitchFamily="49" charset="0"/>
            </a:endParaRPr>
          </a:p>
          <a:p>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XmlNamespaceManager</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err="1">
                <a:solidFill>
                  <a:srgbClr val="8FBC8F"/>
                </a:solidFill>
                <a:latin typeface="Lucida Console" panose="020B0609040504020204" pitchFamily="49" charset="0"/>
              </a:rPr>
              <a:t>System.Xml.XmlNamespaceManager</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New(</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XAML</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NameTable</a:t>
            </a:r>
            <a:r>
              <a:rPr lang="en-US" sz="2000">
                <a:solidFill>
                  <a:srgbClr val="F5F5F5"/>
                </a:solidFill>
                <a:latin typeface="Lucida Console" panose="020B0609040504020204" pitchFamily="49" charset="0"/>
              </a:rPr>
              <a:t>)</a:t>
            </a:r>
          </a:p>
          <a:p>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XmlNamespaceManager</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AddNamespace</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a:t>
            </a:r>
            <a:r>
              <a:rPr lang="en-US" sz="2000" err="1">
                <a:solidFill>
                  <a:srgbClr val="DB7093"/>
                </a:solidFill>
                <a:latin typeface="Lucida Console" panose="020B0609040504020204" pitchFamily="49" charset="0"/>
              </a:rPr>
              <a:t>x’</a:t>
            </a:r>
            <a:r>
              <a:rPr lang="en-US" sz="2000" err="1">
                <a:solidFill>
                  <a:srgbClr val="D3D3D3"/>
                </a:solidFill>
                <a:latin typeface="Lucida Console" panose="020B0609040504020204" pitchFamily="49" charset="0"/>
              </a:rPr>
              <a:t>,</a:t>
            </a:r>
            <a:r>
              <a:rPr lang="en-US" sz="2000" err="1">
                <a:solidFill>
                  <a:srgbClr val="DB7093"/>
                </a:solidFill>
                <a:latin typeface="Lucida Console" panose="020B0609040504020204" pitchFamily="49" charset="0"/>
              </a:rPr>
              <a:t>'http</a:t>
            </a:r>
            <a:r>
              <a:rPr lang="en-US" sz="2000">
                <a:solidFill>
                  <a:srgbClr val="DB7093"/>
                </a:solidFill>
                <a:latin typeface="Lucida Console" panose="020B0609040504020204" pitchFamily="49" charset="0"/>
              </a:rPr>
              <a:t>://schemas.microsoft.com/</a:t>
            </a:r>
            <a:r>
              <a:rPr lang="en-US" sz="2000" err="1">
                <a:solidFill>
                  <a:srgbClr val="DB7093"/>
                </a:solidFill>
                <a:latin typeface="Lucida Console" panose="020B0609040504020204" pitchFamily="49" charset="0"/>
              </a:rPr>
              <a:t>winfx</a:t>
            </a:r>
            <a:r>
              <a:rPr lang="en-US" sz="2000">
                <a:solidFill>
                  <a:srgbClr val="DB7093"/>
                </a:solidFill>
                <a:latin typeface="Lucida Console" panose="020B0609040504020204" pitchFamily="49" charset="0"/>
              </a:rPr>
              <a:t>/2006/</a:t>
            </a:r>
            <a:r>
              <a:rPr lang="en-US" sz="2000" err="1">
                <a:solidFill>
                  <a:srgbClr val="DB7093"/>
                </a:solidFill>
                <a:latin typeface="Lucida Console" panose="020B0609040504020204" pitchFamily="49" charset="0"/>
              </a:rPr>
              <a:t>xaml</a:t>
            </a:r>
            <a:r>
              <a:rPr lang="en-US" sz="2000">
                <a:solidFill>
                  <a:srgbClr val="DB7093"/>
                </a:solidFill>
                <a:latin typeface="Lucida Console" panose="020B0609040504020204" pitchFamily="49" charset="0"/>
              </a:rPr>
              <a:t>'</a:t>
            </a:r>
            <a:r>
              <a:rPr lang="en-US" sz="2000">
                <a:solidFill>
                  <a:srgbClr val="F5F5F5"/>
                </a:solidFill>
                <a:latin typeface="Lucida Console" panose="020B0609040504020204" pitchFamily="49" charset="0"/>
              </a:rPr>
              <a:t>)</a:t>
            </a:r>
          </a:p>
          <a:p>
            <a:endParaRPr lang="en-US" sz="2000">
              <a:solidFill>
                <a:srgbClr val="F5F5F5"/>
              </a:solidFill>
              <a:latin typeface="Lucida Console" panose="020B0609040504020204" pitchFamily="49" charset="0"/>
            </a:endParaRPr>
          </a:p>
          <a:p>
            <a:r>
              <a:rPr lang="en-US" sz="2000">
                <a:solidFill>
                  <a:srgbClr val="98FB98"/>
                </a:solidFill>
                <a:latin typeface="Lucida Console" panose="020B0609040504020204" pitchFamily="49" charset="0"/>
              </a:rPr>
              <a:t># Create hash table containing a representation of all controls</a:t>
            </a:r>
            <a:endParaRPr lang="en-US" sz="2000">
              <a:solidFill>
                <a:srgbClr val="F5F5F5"/>
              </a:solidFill>
              <a:latin typeface="Lucida Console" panose="020B0609040504020204" pitchFamily="49" charset="0"/>
            </a:endParaRPr>
          </a:p>
          <a:p>
            <a:r>
              <a:rPr lang="en-US" sz="2000">
                <a:solidFill>
                  <a:srgbClr val="FF4500"/>
                </a:solidFill>
                <a:latin typeface="Lucida Console" panose="020B0609040504020204" pitchFamily="49" charset="0"/>
              </a:rPr>
              <a:t>$GUI</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p>
          <a:p>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NamedNodes</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XAML</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SelectNodes</a:t>
            </a:r>
            <a:r>
              <a:rPr lang="en-US" sz="2000">
                <a:solidFill>
                  <a:srgbClr val="F5F5F5"/>
                </a:solidFill>
                <a:latin typeface="Lucida Console" panose="020B0609040504020204" pitchFamily="49" charset="0"/>
              </a:rPr>
              <a:t>(</a:t>
            </a:r>
            <a:r>
              <a:rPr lang="en-US" sz="2000">
                <a:solidFill>
                  <a:srgbClr val="DB7093"/>
                </a:solidFill>
                <a:latin typeface="Lucida Console" panose="020B0609040504020204" pitchFamily="49" charset="0"/>
              </a:rPr>
              <a:t>"//*[@x:Name]"</a:t>
            </a:r>
            <a:r>
              <a:rPr lang="en-US" sz="2000">
                <a:solidFill>
                  <a:srgbClr val="D3D3D3"/>
                </a:solidFill>
                <a:latin typeface="Lucida Console" panose="020B0609040504020204" pitchFamily="49" charset="0"/>
              </a:rPr>
              <a:t>,</a:t>
            </a:r>
            <a:r>
              <a:rPr lang="en-US" sz="2000">
                <a:solidFill>
                  <a:srgbClr val="FF4500"/>
                </a:solidFill>
                <a:latin typeface="Lucida Console" panose="020B0609040504020204" pitchFamily="49" charset="0"/>
              </a:rPr>
              <a:t>$XmlNamespaceManager</a:t>
            </a:r>
            <a:r>
              <a:rPr lang="en-US" sz="2000">
                <a:solidFill>
                  <a:srgbClr val="F5F5F5"/>
                </a:solidFill>
                <a:latin typeface="Lucida Console" panose="020B0609040504020204" pitchFamily="49" charset="0"/>
              </a:rPr>
              <a:t>)</a:t>
            </a:r>
          </a:p>
          <a:p>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NamedNodes</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err="1">
                <a:solidFill>
                  <a:srgbClr val="E0FFFF"/>
                </a:solidFill>
                <a:latin typeface="Lucida Console" panose="020B0609040504020204" pitchFamily="49" charset="0"/>
              </a:rPr>
              <a:t>ForEach</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GUI</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Add</a:t>
            </a:r>
            <a:r>
              <a:rPr lang="en-US" sz="2000">
                <a:solidFill>
                  <a:srgbClr val="F5F5F5"/>
                </a:solidFill>
                <a:latin typeface="Lucida Console" panose="020B0609040504020204" pitchFamily="49" charset="0"/>
              </a:rPr>
              <a:t>(</a:t>
            </a:r>
            <a:r>
              <a:rPr lang="en-US" sz="2000">
                <a:solidFill>
                  <a:srgbClr val="FF4500"/>
                </a:solidFill>
                <a:latin typeface="Lucida Console" panose="020B0609040504020204" pitchFamily="49" charset="0"/>
              </a:rPr>
              <a:t>$_</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Name</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Rawform</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FindName</a:t>
            </a:r>
            <a:r>
              <a:rPr lang="en-US" sz="2000">
                <a:solidFill>
                  <a:srgbClr val="F5F5F5"/>
                </a:solidFill>
                <a:latin typeface="Lucida Console" panose="020B0609040504020204" pitchFamily="49" charset="0"/>
              </a:rPr>
              <a:t>(</a:t>
            </a:r>
            <a:r>
              <a:rPr lang="en-US" sz="2000">
                <a:solidFill>
                  <a:srgbClr val="FF4500"/>
                </a:solidFill>
                <a:latin typeface="Lucida Console" panose="020B0609040504020204" pitchFamily="49" charset="0"/>
              </a:rPr>
              <a:t>$_</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Name))}</a:t>
            </a:r>
          </a:p>
          <a:p>
            <a:endParaRPr lang="en-US" sz="2000">
              <a:solidFill>
                <a:srgbClr val="F5F5F5"/>
              </a:solidFill>
              <a:latin typeface="Lucida Console" panose="020B0609040504020204" pitchFamily="49" charset="0"/>
            </a:endParaRPr>
          </a:p>
          <a:p>
            <a:r>
              <a:rPr lang="en-US" sz="2000">
                <a:solidFill>
                  <a:srgbClr val="98FB98"/>
                </a:solidFill>
                <a:latin typeface="Lucida Console" panose="020B0609040504020204" pitchFamily="49" charset="0"/>
              </a:rPr>
              <a:t># PowerShell Code (Ex. populate combo boxes &amp; link up buttons)</a:t>
            </a:r>
          </a:p>
          <a:p>
            <a:r>
              <a:rPr lang="en-US" sz="2000">
                <a:solidFill>
                  <a:schemeClr val="bg2">
                    <a:lumMod val="75000"/>
                  </a:schemeClr>
                </a:solidFill>
                <a:latin typeface="Lucida Console" panose="020B0609040504020204" pitchFamily="49" charset="0"/>
              </a:rPr>
              <a:t>Foreach($Service in get-service) {$GUI["</a:t>
            </a:r>
            <a:r>
              <a:rPr lang="en-US" sz="2000" err="1">
                <a:solidFill>
                  <a:schemeClr val="bg2">
                    <a:lumMod val="75000"/>
                  </a:schemeClr>
                </a:solidFill>
                <a:latin typeface="Lucida Console" panose="020B0609040504020204" pitchFamily="49" charset="0"/>
              </a:rPr>
              <a:t>ComboBox</a:t>
            </a:r>
            <a:r>
              <a:rPr lang="en-US" sz="2000">
                <a:solidFill>
                  <a:schemeClr val="bg2">
                    <a:lumMod val="75000"/>
                  </a:schemeClr>
                </a:solidFill>
                <a:latin typeface="Lucida Console" panose="020B0609040504020204" pitchFamily="49" charset="0"/>
              </a:rPr>
              <a:t>"].</a:t>
            </a:r>
            <a:r>
              <a:rPr lang="en-US" sz="2000" err="1">
                <a:solidFill>
                  <a:schemeClr val="bg2">
                    <a:lumMod val="75000"/>
                  </a:schemeClr>
                </a:solidFill>
                <a:latin typeface="Lucida Console" panose="020B0609040504020204" pitchFamily="49" charset="0"/>
              </a:rPr>
              <a:t>Items.Add</a:t>
            </a:r>
            <a:r>
              <a:rPr lang="en-US" sz="2000">
                <a:solidFill>
                  <a:schemeClr val="bg2">
                    <a:lumMod val="75000"/>
                  </a:schemeClr>
                </a:solidFill>
                <a:latin typeface="Lucida Console" panose="020B0609040504020204" pitchFamily="49" charset="0"/>
              </a:rPr>
              <a:t>($</a:t>
            </a:r>
            <a:r>
              <a:rPr lang="en-US" sz="2000" err="1">
                <a:solidFill>
                  <a:schemeClr val="bg2">
                    <a:lumMod val="75000"/>
                  </a:schemeClr>
                </a:solidFill>
                <a:latin typeface="Lucida Console" panose="020B0609040504020204" pitchFamily="49" charset="0"/>
              </a:rPr>
              <a:t>Service.Name</a:t>
            </a:r>
            <a:r>
              <a:rPr lang="en-US" sz="2000">
                <a:solidFill>
                  <a:schemeClr val="bg2">
                    <a:lumMod val="75000"/>
                  </a:schemeClr>
                </a:solidFill>
                <a:latin typeface="Lucida Console" panose="020B0609040504020204" pitchFamily="49" charset="0"/>
              </a:rPr>
              <a:t>)}</a:t>
            </a:r>
          </a:p>
          <a:p>
            <a:r>
              <a:rPr lang="en-US" sz="2000">
                <a:solidFill>
                  <a:schemeClr val="bg2">
                    <a:lumMod val="75000"/>
                  </a:schemeClr>
                </a:solidFill>
                <a:latin typeface="Lucida Console" panose="020B0609040504020204" pitchFamily="49" charset="0"/>
              </a:rPr>
              <a:t>$GUI["Button"].</a:t>
            </a:r>
            <a:r>
              <a:rPr lang="en-US" sz="2000" err="1">
                <a:solidFill>
                  <a:schemeClr val="bg2">
                    <a:lumMod val="75000"/>
                  </a:schemeClr>
                </a:solidFill>
                <a:latin typeface="Lucida Console" panose="020B0609040504020204" pitchFamily="49" charset="0"/>
              </a:rPr>
              <a:t>Add_Click</a:t>
            </a:r>
            <a:r>
              <a:rPr lang="en-US" sz="2000">
                <a:solidFill>
                  <a:schemeClr val="bg2">
                    <a:lumMod val="75000"/>
                  </a:schemeClr>
                </a:solidFill>
                <a:latin typeface="Lucida Console" panose="020B0609040504020204" pitchFamily="49" charset="0"/>
              </a:rPr>
              <a:t>({Get-Service $GUI["</a:t>
            </a:r>
            <a:r>
              <a:rPr lang="en-US" sz="2000" err="1">
                <a:solidFill>
                  <a:schemeClr val="bg2">
                    <a:lumMod val="75000"/>
                  </a:schemeClr>
                </a:solidFill>
                <a:latin typeface="Lucida Console" panose="020B0609040504020204" pitchFamily="49" charset="0"/>
              </a:rPr>
              <a:t>ComboBox</a:t>
            </a:r>
            <a:r>
              <a:rPr lang="en-US" sz="2000">
                <a:solidFill>
                  <a:schemeClr val="bg2">
                    <a:lumMod val="75000"/>
                  </a:schemeClr>
                </a:solidFill>
                <a:latin typeface="Lucida Console" panose="020B0609040504020204" pitchFamily="49" charset="0"/>
              </a:rPr>
              <a:t>"].</a:t>
            </a:r>
            <a:r>
              <a:rPr lang="en-US" sz="2000" err="1">
                <a:solidFill>
                  <a:schemeClr val="bg2">
                    <a:lumMod val="75000"/>
                  </a:schemeClr>
                </a:solidFill>
                <a:latin typeface="Lucida Console" panose="020B0609040504020204" pitchFamily="49" charset="0"/>
              </a:rPr>
              <a:t>SelectedItem</a:t>
            </a:r>
            <a:r>
              <a:rPr lang="en-US" sz="2000">
                <a:solidFill>
                  <a:schemeClr val="bg2">
                    <a:lumMod val="75000"/>
                  </a:schemeClr>
                </a:solidFill>
                <a:latin typeface="Lucida Console" panose="020B0609040504020204" pitchFamily="49" charset="0"/>
              </a:rPr>
              <a:t>})</a:t>
            </a:r>
          </a:p>
          <a:p>
            <a:endParaRPr lang="en-US" sz="2000">
              <a:solidFill>
                <a:srgbClr val="98FB98"/>
              </a:solidFill>
              <a:latin typeface="Lucida Console" panose="020B0609040504020204" pitchFamily="49" charset="0"/>
            </a:endParaRPr>
          </a:p>
          <a:p>
            <a:r>
              <a:rPr lang="en-US" sz="2000">
                <a:solidFill>
                  <a:srgbClr val="98FB98"/>
                </a:solidFill>
                <a:latin typeface="Lucida Console" panose="020B0609040504020204" pitchFamily="49" charset="0"/>
              </a:rPr>
              <a:t># Show GUI</a:t>
            </a:r>
            <a:endParaRPr lang="en-US" sz="2000">
              <a:solidFill>
                <a:srgbClr val="F5F5F5"/>
              </a:solidFill>
              <a:latin typeface="Lucida Console" panose="020B0609040504020204" pitchFamily="49" charset="0"/>
            </a:endParaRPr>
          </a:p>
          <a:p>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Rawform</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ShowDialog</a:t>
            </a:r>
            <a:r>
              <a:rPr lang="en-US" sz="2000">
                <a:solidFill>
                  <a:srgbClr val="F5F5F5"/>
                </a:solidFill>
                <a:latin typeface="Lucida Console" panose="020B0609040504020204" pitchFamily="49" charset="0"/>
              </a:rPr>
              <a:t>() </a:t>
            </a:r>
          </a:p>
        </p:txBody>
      </p:sp>
      <p:graphicFrame>
        <p:nvGraphicFramePr>
          <p:cNvPr id="6" name="Diagram 5">
            <a:extLst>
              <a:ext uri="{FF2B5EF4-FFF2-40B4-BE49-F238E27FC236}">
                <a16:creationId xmlns:a16="http://schemas.microsoft.com/office/drawing/2014/main" id="{FCA1D9CC-C608-A338-3D9F-9625B499C82B}"/>
              </a:ext>
            </a:extLst>
          </p:cNvPr>
          <p:cNvGraphicFramePr/>
          <p:nvPr/>
        </p:nvGraphicFramePr>
        <p:xfrm>
          <a:off x="584933" y="985884"/>
          <a:ext cx="10951430" cy="46166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893985659"/>
      </p:ext>
    </p:extLst>
  </p:cSld>
  <p:clrMapOvr>
    <a:masterClrMapping/>
  </p:clrMapOvr>
  <p:transition spd="slow"/>
</p:sld>
</file>

<file path=ppt/slides/slide3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Dissecting </a:t>
            </a:r>
            <a:r>
              <a:rPr lang="en-US" err="1"/>
              <a:t>MyFirstGUI</a:t>
            </a:r>
            <a:endParaRPr lang="en-US"/>
          </a:p>
        </p:txBody>
      </p:sp>
      <p:pic>
        <p:nvPicPr>
          <p:cNvPr id="5" name="Demo 01" descr="A person standing in front of a screen.">
            <a:extLst>
              <a:ext uri="{FF2B5EF4-FFF2-40B4-BE49-F238E27FC236}">
                <a16:creationId xmlns:a16="http://schemas.microsoft.com/office/drawing/2014/main" id="{324793F8-1540-4E23-984E-3B5795C84EE2}"/>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4123937909"/>
      </p:ext>
    </p:extLst>
  </p:cSld>
  <p:clrMapOvr>
    <a:masterClrMapping/>
  </p:clrMapOvr>
  <p:transition spd="slow"/>
</p:sld>
</file>

<file path=ppt/slides/slide3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4119655572"/>
      </p:ext>
    </p:extLst>
  </p:cSld>
  <p:clrMapOvr>
    <a:masterClrMapping/>
  </p:clrMapOvr>
  <p:transition spd="slow"/>
</p:sld>
</file>

<file path=ppt/slides/slide34.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a:t>Advanced GUI Design</a:t>
            </a:r>
          </a:p>
        </p:txBody>
      </p:sp>
      <p:pic>
        <p:nvPicPr>
          <p:cNvPr id="5" name="Picture Placeholder 4">
            <a:extLst>
              <a:ext uri="{FF2B5EF4-FFF2-40B4-BE49-F238E27FC236}">
                <a16:creationId xmlns:a16="http://schemas.microsoft.com/office/drawing/2014/main" id="{EDD6B87B-1E5C-42DF-B7AC-697C445A3EC9}"/>
              </a:ext>
              <a:ext uri="{C183D7F6-B498-43B3-948B-1728B52AA6E4}">
                <adec:decorative xmlns:adec="http://schemas.microsoft.com/office/drawing/2017/decorative" val="1"/>
              </a:ext>
            </a:extLst>
          </p:cNvPr>
          <p:cNvPicPr>
            <a:picLocks noGrp="1" noChangeAspect="1"/>
          </p:cNvPicPr>
          <p:nvPr>
            <p:ph type="pic" sz="quarter" idx="15"/>
          </p:nvPr>
        </p:nvPicPr>
        <p:blipFill rotWithShape="1">
          <a:blip r:embed="rId5" cstate="screen">
            <a:extLst>
              <a:ext uri="{28A0092B-C50C-407E-A947-70E740481C1C}">
                <a14:useLocalDpi xmlns:a14="http://schemas.microsoft.com/office/drawing/2010/main"/>
              </a:ext>
            </a:extLst>
          </a:blip>
          <a:srcRect l="23" r="23"/>
          <a:stretch/>
        </p:blipFill>
        <p:spPr>
          <a:prstGeom prst="rect">
            <a:avLst/>
          </a:prstGeom>
          <a:noFill/>
        </p:spPr>
      </p:pic>
    </p:spTree>
    <p:custDataLst>
      <p:tags r:id="rId1"/>
    </p:custDataLst>
    <p:extLst>
      <p:ext uri="{BB962C8B-B14F-4D97-AF65-F5344CB8AC3E}">
        <p14:creationId xmlns:p14="http://schemas.microsoft.com/office/powerpoint/2010/main" val="3663859322"/>
      </p:ext>
    </p:extLst>
  </p:cSld>
  <p:clrMapOvr>
    <a:masterClrMapping/>
  </p:clrMapOvr>
  <p:transition spd="slow"/>
</p:sld>
</file>

<file path=ppt/slides/slide35.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Advanced GUI Design</a:t>
            </a:r>
          </a:p>
        </p:txBody>
      </p:sp>
      <p:pic>
        <p:nvPicPr>
          <p:cNvPr id="8" name="Demo 01" descr="A person standing in front of a screen.">
            <a:extLst>
              <a:ext uri="{FF2B5EF4-FFF2-40B4-BE49-F238E27FC236}">
                <a16:creationId xmlns:a16="http://schemas.microsoft.com/office/drawing/2014/main" id="{AED6BC03-7E9F-4619-A93A-9DB1E7CF91D3}"/>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3100324021"/>
      </p:ext>
    </p:extLst>
  </p:cSld>
  <p:clrMapOvr>
    <a:masterClrMapping/>
  </p:clrMapOvr>
  <p:transition spd="slow"/>
</p:sld>
</file>

<file path=ppt/slides/slide36.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18869525"/>
      </p:ext>
    </p:extLst>
  </p:cSld>
  <p:clrMapOvr>
    <a:masterClrMapping/>
  </p:clrMapOvr>
  <p:transition spd="slow"/>
</p:sld>
</file>

<file path=ppt/slides/slide37.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F4CB322-106D-4597-AD6E-DC7D761D1942}"/>
              </a:ext>
            </a:extLst>
          </p:cNvPr>
          <p:cNvSpPr>
            <a:spLocks noGrp="1"/>
          </p:cNvSpPr>
          <p:nvPr>
            <p:ph type="title"/>
          </p:nvPr>
        </p:nvSpPr>
        <p:spPr/>
        <p:txBody>
          <a:bodyPr/>
          <a:lstStyle/>
          <a:p>
            <a:r>
              <a:rPr lang="en-US"/>
              <a:t>Code Behind a Form</a:t>
            </a:r>
          </a:p>
        </p:txBody>
      </p:sp>
      <p:sp>
        <p:nvSpPr>
          <p:cNvPr id="10" name="Picture Placeholder 9">
            <a:extLst>
              <a:ext uri="{FF2B5EF4-FFF2-40B4-BE49-F238E27FC236}">
                <a16:creationId xmlns:a16="http://schemas.microsoft.com/office/drawing/2014/main" id="{BD3DB74B-603E-4FE1-BD4C-D85A62A70527}"/>
              </a:ext>
              <a:ext uri="{C183D7F6-B498-43B3-948B-1728B52AA6E4}">
                <adec:decorative xmlns:adec="http://schemas.microsoft.com/office/drawing/2017/decorative" val="1"/>
              </a:ext>
            </a:extLst>
          </p:cNvPr>
          <p:cNvSpPr>
            <a:spLocks noGrp="1"/>
          </p:cNvSpPr>
          <p:nvPr>
            <p:ph type="pic" sz="quarter" idx="15"/>
          </p:nvPr>
        </p:nvSpPr>
        <p:spPr/>
      </p:sp>
      <p:pic>
        <p:nvPicPr>
          <p:cNvPr id="8" name="Picture 5">
            <a:extLst>
              <a:ext uri="{FF2B5EF4-FFF2-40B4-BE49-F238E27FC236}">
                <a16:creationId xmlns:a16="http://schemas.microsoft.com/office/drawing/2014/main" id="{2A2DF49E-00C9-4A44-BD49-929AE40FFE99}"/>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333682" y="10"/>
            <a:ext cx="6858000" cy="6861514"/>
          </a:xfrm>
          <a:prstGeom prst="rect">
            <a:avLst/>
          </a:prstGeom>
          <a:noFill/>
        </p:spPr>
      </p:pic>
    </p:spTree>
    <p:custDataLst>
      <p:tags r:id="rId1"/>
    </p:custDataLst>
    <p:extLst>
      <p:ext uri="{BB962C8B-B14F-4D97-AF65-F5344CB8AC3E}">
        <p14:creationId xmlns:p14="http://schemas.microsoft.com/office/powerpoint/2010/main" val="4048261989"/>
      </p:ext>
    </p:extLst>
  </p:cSld>
  <p:clrMapOvr>
    <a:masterClrMapping/>
  </p:clrMapOvr>
  <p:transition spd="slow"/>
</p:sld>
</file>

<file path=ppt/slides/slide38.xml><?xml version="1.0" encoding="utf-8"?>
<p:sld xmlns:a16="http://schemas.microsoft.com/office/drawing/2014/main"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E89D95-6FCA-45C6-981C-9C1CE7F8DD25}"/>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Using Controls and Events</a:t>
            </a:r>
          </a:p>
        </p:txBody>
      </p:sp>
      <p:graphicFrame>
        <p:nvGraphicFramePr>
          <p:cNvPr id="2" name="Text Placeholder 5">
            <a:extLst>
              <a:ext uri="{FF2B5EF4-FFF2-40B4-BE49-F238E27FC236}">
                <a16:creationId xmlns:a16="http://schemas.microsoft.com/office/drawing/2014/main" id="{D78879B1-3866-DE7B-42F6-0AF9A9244D0A}"/>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324944047"/>
              </p:ext>
            </p:extLst>
          </p:nvPr>
        </p:nvGraphicFramePr>
        <p:xfrm>
          <a:off x="655637" y="781705"/>
          <a:ext cx="10880726" cy="551878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920008909"/>
      </p:ext>
    </p:extLst>
  </p:cSld>
  <p:clrMapOvr>
    <a:masterClrMapping/>
  </p:clrMapOvr>
  <p:transition spd="slow"/>
</p:sld>
</file>

<file path=ppt/slides/slide39.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743E29-3932-4EB8-86D4-F83F46D63AC3}"/>
              </a:ext>
            </a:extLst>
          </p:cNvPr>
          <p:cNvSpPr>
            <a:spLocks noGrp="1"/>
          </p:cNvSpPr>
          <p:nvPr>
            <p:ph type="title"/>
          </p:nvPr>
        </p:nvSpPr>
        <p:spPr/>
        <p:txBody>
          <a:bodyPr/>
          <a:lstStyle/>
          <a:p>
            <a:r>
              <a:rPr lang="en-US"/>
              <a:t>Control Properties</a:t>
            </a:r>
          </a:p>
        </p:txBody>
      </p:sp>
      <p:sp>
        <p:nvSpPr>
          <p:cNvPr id="6" name="Code Box">
            <a:extLst>
              <a:ext uri="{FF2B5EF4-FFF2-40B4-BE49-F238E27FC236}">
                <a16:creationId xmlns:a16="http://schemas.microsoft.com/office/drawing/2014/main" id="{2A0549CE-2EE0-4B10-9C62-1F5857D11F46}"/>
              </a:ext>
            </a:extLst>
          </p:cNvPr>
          <p:cNvSpPr/>
          <p:nvPr>
            <p:custDataLst>
              <p:tags r:id="rId2"/>
            </p:custDataLst>
          </p:nvPr>
        </p:nvSpPr>
        <p:spPr>
          <a:xfrm>
            <a:off x="640080" y="4336869"/>
            <a:ext cx="10972800" cy="2286000"/>
          </a:xfrm>
          <a:prstGeom prst="rect">
            <a:avLst/>
          </a:prstGeom>
          <a:solidFill>
            <a:srgbClr val="012456"/>
          </a:solidFill>
        </p:spPr>
        <p:txBody>
          <a:bodyPr wrap="square">
            <a:noAutofit/>
          </a:bodyPr>
          <a:lstStyle/>
          <a:p>
            <a:r>
              <a:rPr lang="en-US" sz="2000">
                <a:solidFill>
                  <a:srgbClr val="FF4500"/>
                </a:solidFill>
                <a:latin typeface="Lucida Console" panose="020B0609040504020204" pitchFamily="49" charset="0"/>
              </a:rPr>
              <a:t>$Service</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get-service</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GUI</a:t>
            </a:r>
            <a:r>
              <a:rPr lang="en-US" sz="2000">
                <a:solidFill>
                  <a:srgbClr val="D3D3D3"/>
                </a:solidFill>
                <a:latin typeface="Lucida Console" panose="020B0609040504020204" pitchFamily="49" charset="0"/>
              </a:rPr>
              <a:t>[</a:t>
            </a:r>
            <a:r>
              <a:rPr lang="en-US" sz="2000">
                <a:solidFill>
                  <a:srgbClr val="DB7093"/>
                </a:solidFill>
                <a:latin typeface="Lucida Console" panose="020B0609040504020204" pitchFamily="49" charset="0"/>
              </a:rPr>
              <a:t>"</a:t>
            </a:r>
            <a:r>
              <a:rPr lang="en-US" sz="2000" err="1">
                <a:solidFill>
                  <a:srgbClr val="DB7093"/>
                </a:solidFill>
                <a:latin typeface="Lucida Console" panose="020B0609040504020204" pitchFamily="49" charset="0"/>
              </a:rPr>
              <a:t>ServiceComboBox</a:t>
            </a:r>
            <a:r>
              <a:rPr lang="en-US" sz="2000">
                <a:solidFill>
                  <a:srgbClr val="DB7093"/>
                </a:solidFill>
                <a:latin typeface="Lucida Console" panose="020B0609040504020204" pitchFamily="49" charset="0"/>
              </a:rPr>
              <a:t>"</a:t>
            </a:r>
            <a:r>
              <a:rPr lang="en-US" sz="2000">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SelectedItem</a:t>
            </a:r>
            <a:endParaRPr lang="en-US" sz="2000">
              <a:solidFill>
                <a:srgbClr val="F5F5F5"/>
              </a:solidFill>
              <a:latin typeface="Lucida Console" panose="020B0609040504020204" pitchFamily="49" charset="0"/>
            </a:endParaRPr>
          </a:p>
          <a:p>
            <a:r>
              <a:rPr lang="en-US" sz="2000">
                <a:solidFill>
                  <a:srgbClr val="FF4500"/>
                </a:solidFill>
                <a:latin typeface="Lucida Console" panose="020B0609040504020204" pitchFamily="49" charset="0"/>
              </a:rPr>
              <a:t>$Service</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get-service</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GUI</a:t>
            </a:r>
            <a:r>
              <a:rPr lang="en-US" sz="2000">
                <a:solidFill>
                  <a:srgbClr val="D3D3D3"/>
                </a:solidFill>
                <a:latin typeface="Lucida Console" panose="020B0609040504020204" pitchFamily="49" charset="0"/>
              </a:rPr>
              <a:t>[</a:t>
            </a:r>
            <a:r>
              <a:rPr lang="en-US" sz="2000">
                <a:solidFill>
                  <a:srgbClr val="DB7093"/>
                </a:solidFill>
                <a:latin typeface="Lucida Console" panose="020B0609040504020204" pitchFamily="49" charset="0"/>
              </a:rPr>
              <a:t>"</a:t>
            </a:r>
            <a:r>
              <a:rPr lang="en-US" sz="2000" err="1">
                <a:solidFill>
                  <a:srgbClr val="DB7093"/>
                </a:solidFill>
                <a:latin typeface="Lucida Console" panose="020B0609040504020204" pitchFamily="49" charset="0"/>
              </a:rPr>
              <a:t>TextBox</a:t>
            </a:r>
            <a:r>
              <a:rPr lang="en-US" sz="2000">
                <a:solidFill>
                  <a:srgbClr val="DB7093"/>
                </a:solidFill>
                <a:latin typeface="Lucida Console" panose="020B0609040504020204" pitchFamily="49" charset="0"/>
              </a:rPr>
              <a:t>"</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Text</a:t>
            </a:r>
          </a:p>
          <a:p>
            <a:r>
              <a:rPr lang="en-US" sz="2000">
                <a:solidFill>
                  <a:srgbClr val="E0FFFF"/>
                </a:solidFill>
                <a:latin typeface="Lucida Console" panose="020B0609040504020204" pitchFamily="49" charset="0"/>
              </a:rPr>
              <a:t>Foreach</a:t>
            </a:r>
            <a:r>
              <a:rPr lang="en-US" sz="2000">
                <a:solidFill>
                  <a:srgbClr val="F5F5F5"/>
                </a:solidFill>
                <a:latin typeface="Lucida Console" panose="020B0609040504020204" pitchFamily="49" charset="0"/>
              </a:rPr>
              <a:t>(</a:t>
            </a:r>
            <a:r>
              <a:rPr lang="en-US" sz="2000">
                <a:solidFill>
                  <a:srgbClr val="FF4500"/>
                </a:solidFill>
                <a:latin typeface="Lucida Console" panose="020B0609040504020204" pitchFamily="49" charset="0"/>
              </a:rPr>
              <a:t>$Service</a:t>
            </a:r>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in</a:t>
            </a:r>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get-service</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void</a:t>
            </a:r>
            <a:r>
              <a:rPr lang="en-US" sz="2000">
                <a:solidFill>
                  <a:srgbClr val="D3D3D3"/>
                </a:solidFill>
                <a:latin typeface="Lucida Console" panose="020B0609040504020204" pitchFamily="49" charset="0"/>
              </a:rPr>
              <a:t>]</a:t>
            </a:r>
            <a:r>
              <a:rPr lang="en-US" sz="2000">
                <a:solidFill>
                  <a:srgbClr val="FF4500"/>
                </a:solidFill>
                <a:latin typeface="Lucida Console" panose="020B0609040504020204" pitchFamily="49" charset="0"/>
              </a:rPr>
              <a:t>$GUI</a:t>
            </a:r>
            <a:r>
              <a:rPr lang="en-US" sz="2000">
                <a:solidFill>
                  <a:srgbClr val="D3D3D3"/>
                </a:solidFill>
                <a:latin typeface="Lucida Console" panose="020B0609040504020204" pitchFamily="49" charset="0"/>
              </a:rPr>
              <a:t>[</a:t>
            </a:r>
            <a:r>
              <a:rPr lang="en-US" sz="2000">
                <a:solidFill>
                  <a:srgbClr val="DB7093"/>
                </a:solidFill>
                <a:latin typeface="Lucida Console" panose="020B0609040504020204" pitchFamily="49" charset="0"/>
              </a:rPr>
              <a:t>"</a:t>
            </a:r>
            <a:r>
              <a:rPr lang="en-US" sz="2000" err="1">
                <a:solidFill>
                  <a:srgbClr val="DB7093"/>
                </a:solidFill>
                <a:latin typeface="Lucida Console" panose="020B0609040504020204" pitchFamily="49" charset="0"/>
              </a:rPr>
              <a:t>ServiceComboBox</a:t>
            </a:r>
            <a:r>
              <a:rPr lang="en-US" sz="2000">
                <a:solidFill>
                  <a:srgbClr val="DB7093"/>
                </a:solidFill>
                <a:latin typeface="Lucida Console" panose="020B0609040504020204" pitchFamily="49" charset="0"/>
              </a:rPr>
              <a:t>"</a:t>
            </a:r>
            <a:r>
              <a:rPr lang="en-US" sz="2000">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Items</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Add</a:t>
            </a:r>
            <a:r>
              <a:rPr lang="en-US" sz="2000">
                <a:solidFill>
                  <a:srgbClr val="F5F5F5"/>
                </a:solidFill>
                <a:latin typeface="Lucida Console" panose="020B0609040504020204" pitchFamily="49" charset="0"/>
              </a:rPr>
              <a:t>(</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Service</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Name</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a:t>
            </a:r>
          </a:p>
          <a:p>
            <a:r>
              <a:rPr lang="en-US" sz="2000">
                <a:solidFill>
                  <a:srgbClr val="FF4500"/>
                </a:solidFill>
                <a:latin typeface="Lucida Console" panose="020B0609040504020204" pitchFamily="49" charset="0"/>
              </a:rPr>
              <a:t>$GUI</a:t>
            </a:r>
            <a:r>
              <a:rPr lang="en-US" sz="2000">
                <a:solidFill>
                  <a:srgbClr val="D3D3D3"/>
                </a:solidFill>
                <a:latin typeface="Lucida Console" panose="020B0609040504020204" pitchFamily="49" charset="0"/>
              </a:rPr>
              <a:t>[</a:t>
            </a:r>
            <a:r>
              <a:rPr lang="en-US" sz="2000">
                <a:solidFill>
                  <a:srgbClr val="DB7093"/>
                </a:solidFill>
                <a:latin typeface="Lucida Console" panose="020B0609040504020204" pitchFamily="49" charset="0"/>
              </a:rPr>
              <a:t>"</a:t>
            </a:r>
            <a:r>
              <a:rPr lang="en-US" sz="2000" err="1">
                <a:solidFill>
                  <a:srgbClr val="DB7093"/>
                </a:solidFill>
                <a:latin typeface="Lucida Console" panose="020B0609040504020204" pitchFamily="49" charset="0"/>
              </a:rPr>
              <a:t>ImageBox</a:t>
            </a:r>
            <a:r>
              <a:rPr lang="en-US" sz="2000">
                <a:solidFill>
                  <a:srgbClr val="DB7093"/>
                </a:solidFill>
                <a:latin typeface="Lucida Console" panose="020B0609040504020204" pitchFamily="49" charset="0"/>
              </a:rPr>
              <a:t>"</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source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SScriptRoot</a:t>
            </a:r>
            <a:r>
              <a:rPr lang="en-US" sz="2000">
                <a:solidFill>
                  <a:srgbClr val="DB7093"/>
                </a:solidFill>
                <a:latin typeface="Lucida Console" panose="020B0609040504020204" pitchFamily="49" charset="0"/>
              </a:rPr>
              <a:t>\Yes.png"</a:t>
            </a:r>
            <a:endParaRPr lang="en-US" sz="2000">
              <a:solidFill>
                <a:srgbClr val="F5F5F5"/>
              </a:solidFill>
              <a:latin typeface="Lucida Console" panose="020B0609040504020204" pitchFamily="49" charset="0"/>
            </a:endParaRPr>
          </a:p>
          <a:p>
            <a:endParaRPr lang="en-US" sz="2000">
              <a:solidFill>
                <a:srgbClr val="F5F5F5"/>
              </a:solidFill>
              <a:latin typeface="Lucida Console" panose="020B0609040504020204" pitchFamily="49" charset="0"/>
            </a:endParaRPr>
          </a:p>
        </p:txBody>
      </p:sp>
      <p:graphicFrame>
        <p:nvGraphicFramePr>
          <p:cNvPr id="7" name="Diagram 6">
            <a:extLst>
              <a:ext uri="{FF2B5EF4-FFF2-40B4-BE49-F238E27FC236}">
                <a16:creationId xmlns:a16="http://schemas.microsoft.com/office/drawing/2014/main" id="{ADB6608F-9D5F-0B31-7FEF-E2D890D7A354}"/>
              </a:ext>
            </a:extLst>
          </p:cNvPr>
          <p:cNvGraphicFramePr/>
          <p:nvPr>
            <p:extLst>
              <p:ext uri="{D42A27DB-BD31-4B8C-83A1-F6EECF244321}">
                <p14:modId xmlns:p14="http://schemas.microsoft.com/office/powerpoint/2010/main" val="2442935437"/>
              </p:ext>
            </p:extLst>
          </p:nvPr>
        </p:nvGraphicFramePr>
        <p:xfrm>
          <a:off x="640080" y="2926080"/>
          <a:ext cx="10972800" cy="128016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2" name="Content Placeholder 1">
            <a:extLst>
              <a:ext uri="{FF2B5EF4-FFF2-40B4-BE49-F238E27FC236}">
                <a16:creationId xmlns:a16="http://schemas.microsoft.com/office/drawing/2014/main" id="{B7D65274-413A-1632-E69C-BBA7F2DF0F34}"/>
              </a:ext>
            </a:extLst>
          </p:cNvPr>
          <p:cNvGraphicFramePr>
            <a:graphicFrameLocks noGrp="1"/>
          </p:cNvGraphicFramePr>
          <p:nvPr>
            <p:ph sz="quarter" idx="13"/>
            <p:extLst>
              <p:ext uri="{D42A27DB-BD31-4B8C-83A1-F6EECF244321}">
                <p14:modId xmlns:p14="http://schemas.microsoft.com/office/powerpoint/2010/main" val="1768201698"/>
              </p:ext>
            </p:extLst>
          </p:nvPr>
        </p:nvGraphicFramePr>
        <p:xfrm>
          <a:off x="640080" y="1005840"/>
          <a:ext cx="10972800" cy="265176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custDataLst>
      <p:tags r:id="rId1"/>
    </p:custDataLst>
    <p:extLst>
      <p:ext uri="{BB962C8B-B14F-4D97-AF65-F5344CB8AC3E}">
        <p14:creationId xmlns:p14="http://schemas.microsoft.com/office/powerpoint/2010/main" val="533226779"/>
      </p:ext>
    </p:extLst>
  </p:cSld>
  <p:clrMapOvr>
    <a:masterClrMapping/>
  </p:clrMapOvr>
  <p:transition spd="slow"/>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9">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a:t>Windows Presentation Framework Introduction</a:t>
            </a:r>
          </a:p>
        </p:txBody>
      </p:sp>
    </p:spTree>
    <p:custDataLst>
      <p:tags r:id="rId1"/>
    </p:custDataLst>
    <p:extLst>
      <p:ext uri="{BB962C8B-B14F-4D97-AF65-F5344CB8AC3E}">
        <p14:creationId xmlns:p14="http://schemas.microsoft.com/office/powerpoint/2010/main" val="2683990092"/>
      </p:ext>
    </p:extLst>
  </p:cSld>
  <p:clrMapOvr>
    <a:masterClrMapping/>
  </p:clrMapOvr>
  <p:transition spd="slow"/>
</p:sld>
</file>

<file path=ppt/slides/slide40.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743E29-3932-4EB8-86D4-F83F46D63AC3}"/>
              </a:ext>
            </a:extLst>
          </p:cNvPr>
          <p:cNvSpPr>
            <a:spLocks noGrp="1"/>
          </p:cNvSpPr>
          <p:nvPr>
            <p:ph type="title"/>
          </p:nvPr>
        </p:nvSpPr>
        <p:spPr/>
        <p:txBody>
          <a:bodyPr/>
          <a:lstStyle/>
          <a:p>
            <a:r>
              <a:rPr lang="en-US"/>
              <a:t>Finding Property Names</a:t>
            </a:r>
          </a:p>
        </p:txBody>
      </p:sp>
      <p:graphicFrame>
        <p:nvGraphicFramePr>
          <p:cNvPr id="8" name="Content Placeholder 7">
            <a:extLst>
              <a:ext uri="{FF2B5EF4-FFF2-40B4-BE49-F238E27FC236}">
                <a16:creationId xmlns:a16="http://schemas.microsoft.com/office/drawing/2014/main" id="{795D17DE-EA0F-0749-C119-6FEB2AF5A6A1}"/>
              </a:ext>
            </a:extLst>
          </p:cNvPr>
          <p:cNvGraphicFramePr>
            <a:graphicFrameLocks noGrp="1"/>
          </p:cNvGraphicFramePr>
          <p:nvPr>
            <p:ph sz="quarter" idx="13"/>
            <p:extLst>
              <p:ext uri="{D42A27DB-BD31-4B8C-83A1-F6EECF244321}">
                <p14:modId xmlns:p14="http://schemas.microsoft.com/office/powerpoint/2010/main" val="4149135596"/>
              </p:ext>
            </p:extLst>
          </p:nvPr>
        </p:nvGraphicFramePr>
        <p:xfrm>
          <a:off x="640080" y="1005840"/>
          <a:ext cx="7132320" cy="9144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Code Box">
            <a:extLst>
              <a:ext uri="{FF2B5EF4-FFF2-40B4-BE49-F238E27FC236}">
                <a16:creationId xmlns:a16="http://schemas.microsoft.com/office/drawing/2014/main" id="{2A0549CE-2EE0-4B10-9C62-1F5857D11F46}"/>
              </a:ext>
            </a:extLst>
          </p:cNvPr>
          <p:cNvSpPr/>
          <p:nvPr>
            <p:custDataLst>
              <p:tags r:id="rId2"/>
            </p:custDataLst>
          </p:nvPr>
        </p:nvSpPr>
        <p:spPr>
          <a:xfrm>
            <a:off x="640080" y="4297680"/>
            <a:ext cx="7132320" cy="2377440"/>
          </a:xfrm>
          <a:prstGeom prst="rect">
            <a:avLst/>
          </a:prstGeom>
          <a:solidFill>
            <a:srgbClr val="012456"/>
          </a:solidFill>
        </p:spPr>
        <p:txBody>
          <a:bodyPr wrap="square">
            <a:noAutofit/>
          </a:bodyPr>
          <a:lstStyle/>
          <a:p>
            <a:r>
              <a:rPr lang="en-US" sz="1600">
                <a:solidFill>
                  <a:srgbClr val="FF4500"/>
                </a:solidFill>
                <a:latin typeface="Lucida Console" panose="020B0609040504020204" pitchFamily="49" charset="0"/>
              </a:rPr>
              <a:t>$GUI</a:t>
            </a:r>
            <a:r>
              <a:rPr lang="en-US" sz="1600">
                <a:solidFill>
                  <a:srgbClr val="D3D3D3"/>
                </a:solidFill>
                <a:latin typeface="Lucida Console" panose="020B0609040504020204" pitchFamily="49" charset="0"/>
              </a:rPr>
              <a:t>[</a:t>
            </a:r>
            <a:r>
              <a:rPr lang="en-US" sz="1600">
                <a:solidFill>
                  <a:srgbClr val="DB7093"/>
                </a:solidFill>
                <a:latin typeface="Lucida Console" panose="020B0609040504020204" pitchFamily="49" charset="0"/>
              </a:rPr>
              <a:t>“</a:t>
            </a:r>
            <a:r>
              <a:rPr lang="en-US" sz="1600" err="1">
                <a:solidFill>
                  <a:srgbClr val="DB7093"/>
                </a:solidFill>
                <a:latin typeface="Lucida Console" panose="020B0609040504020204" pitchFamily="49" charset="0"/>
              </a:rPr>
              <a:t>MyTextBox</a:t>
            </a:r>
            <a:r>
              <a:rPr lang="en-US" sz="1600">
                <a:solidFill>
                  <a:srgbClr val="DB7093"/>
                </a:solidFill>
                <a:latin typeface="Lucida Console" panose="020B0609040504020204" pitchFamily="49" charset="0"/>
              </a:rPr>
              <a:t>"</a:t>
            </a:r>
            <a:r>
              <a:rPr lang="en-US" sz="1600">
                <a:solidFill>
                  <a:srgbClr val="D3D3D3"/>
                </a:solidFill>
                <a:latin typeface="Lucida Console" panose="020B0609040504020204" pitchFamily="49" charset="0"/>
              </a:rPr>
              <a:t>] </a:t>
            </a:r>
            <a:r>
              <a:rPr lang="en-US" sz="1600">
                <a:solidFill>
                  <a:srgbClr val="F5F5F5"/>
                </a:solidFill>
                <a:latin typeface="Lucida Console" panose="020B0609040504020204" pitchFamily="49" charset="0"/>
              </a:rPr>
              <a:t>| Get-Member</a:t>
            </a:r>
          </a:p>
          <a:p>
            <a:r>
              <a:rPr lang="en-US" sz="1600">
                <a:solidFill>
                  <a:srgbClr val="F5F5F5"/>
                </a:solidFill>
                <a:latin typeface="Lucida Console" panose="020B0609040504020204" pitchFamily="49" charset="0"/>
              </a:rPr>
              <a:t>    TypeName: </a:t>
            </a:r>
            <a:r>
              <a:rPr lang="en-US" sz="1600" err="1">
                <a:solidFill>
                  <a:srgbClr val="F5F5F5"/>
                </a:solidFill>
                <a:latin typeface="Lucida Console" panose="020B0609040504020204" pitchFamily="49" charset="0"/>
              </a:rPr>
              <a:t>System.Windows.Controls.TextBox</a:t>
            </a:r>
            <a:endParaRPr lang="en-US" sz="1600">
              <a:solidFill>
                <a:srgbClr val="F5F5F5"/>
              </a:solidFill>
              <a:latin typeface="Lucida Console" panose="020B0609040504020204" pitchFamily="49" charset="0"/>
            </a:endParaRPr>
          </a:p>
          <a:p>
            <a:endParaRPr lang="en-US" sz="1600">
              <a:solidFill>
                <a:srgbClr val="F5F5F5"/>
              </a:solidFill>
              <a:latin typeface="Lucida Console" panose="020B0609040504020204" pitchFamily="49" charset="0"/>
            </a:endParaRPr>
          </a:p>
          <a:p>
            <a:r>
              <a:rPr lang="en-US" sz="1600">
                <a:solidFill>
                  <a:srgbClr val="F5F5F5"/>
                </a:solidFill>
                <a:latin typeface="Lucida Console" panose="020B0609040504020204" pitchFamily="49" charset="0"/>
              </a:rPr>
              <a:t>Name        </a:t>
            </a:r>
            <a:r>
              <a:rPr lang="en-US" sz="1600" err="1">
                <a:solidFill>
                  <a:srgbClr val="F5F5F5"/>
                </a:solidFill>
                <a:latin typeface="Lucida Console" panose="020B0609040504020204" pitchFamily="49" charset="0"/>
              </a:rPr>
              <a:t>MemberType</a:t>
            </a:r>
            <a:r>
              <a:rPr lang="en-US" sz="1600">
                <a:solidFill>
                  <a:srgbClr val="F5F5F5"/>
                </a:solidFill>
                <a:latin typeface="Lucida Console" panose="020B0609040504020204" pitchFamily="49" charset="0"/>
              </a:rPr>
              <a:t>    Definition                      </a:t>
            </a:r>
          </a:p>
          <a:p>
            <a:r>
              <a:rPr lang="en-US" sz="1600">
                <a:solidFill>
                  <a:srgbClr val="F5F5F5"/>
                </a:solidFill>
                <a:latin typeface="Lucida Console" panose="020B0609040504020204" pitchFamily="49" charset="0"/>
              </a:rPr>
              <a:t>----        ----------    ----------                      </a:t>
            </a:r>
          </a:p>
          <a:p>
            <a:r>
              <a:rPr lang="en-US" sz="1600" err="1">
                <a:solidFill>
                  <a:srgbClr val="F5F5F5"/>
                </a:solidFill>
                <a:latin typeface="Lucida Console" panose="020B0609040504020204" pitchFamily="49" charset="0"/>
              </a:rPr>
              <a:t>FontSize</a:t>
            </a:r>
            <a:r>
              <a:rPr lang="en-US" sz="1600">
                <a:solidFill>
                  <a:srgbClr val="F5F5F5"/>
                </a:solidFill>
                <a:latin typeface="Lucida Console" panose="020B0609040504020204" pitchFamily="49" charset="0"/>
              </a:rPr>
              <a:t>    Property      double </a:t>
            </a:r>
            <a:r>
              <a:rPr lang="en-US" sz="1600" err="1">
                <a:solidFill>
                  <a:srgbClr val="F5F5F5"/>
                </a:solidFill>
                <a:latin typeface="Lucida Console" panose="020B0609040504020204" pitchFamily="49" charset="0"/>
              </a:rPr>
              <a:t>FontSize</a:t>
            </a:r>
            <a:r>
              <a:rPr lang="en-US" sz="1600">
                <a:solidFill>
                  <a:srgbClr val="F5F5F5"/>
                </a:solidFill>
                <a:latin typeface="Lucida Console" panose="020B0609040504020204" pitchFamily="49" charset="0"/>
              </a:rPr>
              <a:t> {</a:t>
            </a:r>
            <a:r>
              <a:rPr lang="en-US" sz="1600" err="1">
                <a:solidFill>
                  <a:srgbClr val="F5F5F5"/>
                </a:solidFill>
                <a:latin typeface="Lucida Console" panose="020B0609040504020204" pitchFamily="49" charset="0"/>
              </a:rPr>
              <a:t>get;set</a:t>
            </a:r>
            <a:r>
              <a:rPr lang="en-US" sz="1600">
                <a:solidFill>
                  <a:srgbClr val="F5F5F5"/>
                </a:solidFill>
                <a:latin typeface="Lucida Console" panose="020B0609040504020204" pitchFamily="49" charset="0"/>
              </a:rPr>
              <a:t>;}      </a:t>
            </a:r>
          </a:p>
          <a:p>
            <a:r>
              <a:rPr lang="en-US" sz="1600" err="1">
                <a:solidFill>
                  <a:srgbClr val="F5F5F5"/>
                </a:solidFill>
                <a:latin typeface="Lucida Console" panose="020B0609040504020204" pitchFamily="49" charset="0"/>
              </a:rPr>
              <a:t>IsEnabled</a:t>
            </a:r>
            <a:r>
              <a:rPr lang="en-US" sz="1600">
                <a:solidFill>
                  <a:srgbClr val="F5F5F5"/>
                </a:solidFill>
                <a:latin typeface="Lucida Console" panose="020B0609040504020204" pitchFamily="49" charset="0"/>
              </a:rPr>
              <a:t>   Property      bool </a:t>
            </a:r>
            <a:r>
              <a:rPr lang="en-US" sz="1600" err="1">
                <a:solidFill>
                  <a:srgbClr val="F5F5F5"/>
                </a:solidFill>
                <a:latin typeface="Lucida Console" panose="020B0609040504020204" pitchFamily="49" charset="0"/>
              </a:rPr>
              <a:t>IsEnabled</a:t>
            </a:r>
            <a:r>
              <a:rPr lang="en-US" sz="1600">
                <a:solidFill>
                  <a:srgbClr val="F5F5F5"/>
                </a:solidFill>
                <a:latin typeface="Lucida Console" panose="020B0609040504020204" pitchFamily="49" charset="0"/>
              </a:rPr>
              <a:t> {</a:t>
            </a:r>
            <a:r>
              <a:rPr lang="en-US" sz="1600" err="1">
                <a:solidFill>
                  <a:srgbClr val="F5F5F5"/>
                </a:solidFill>
                <a:latin typeface="Lucida Console" panose="020B0609040504020204" pitchFamily="49" charset="0"/>
              </a:rPr>
              <a:t>get;set</a:t>
            </a:r>
            <a:r>
              <a:rPr lang="en-US" sz="1600">
                <a:solidFill>
                  <a:srgbClr val="F5F5F5"/>
                </a:solidFill>
                <a:latin typeface="Lucida Console" panose="020B0609040504020204" pitchFamily="49" charset="0"/>
              </a:rPr>
              <a:t>;}       </a:t>
            </a:r>
          </a:p>
          <a:p>
            <a:r>
              <a:rPr lang="en-US" sz="1600">
                <a:solidFill>
                  <a:srgbClr val="F5F5F5"/>
                </a:solidFill>
                <a:latin typeface="Lucida Console" panose="020B0609040504020204" pitchFamily="49" charset="0"/>
              </a:rPr>
              <a:t>Name        Property      string Name {</a:t>
            </a:r>
            <a:r>
              <a:rPr lang="en-US" sz="1600" err="1">
                <a:solidFill>
                  <a:srgbClr val="F5F5F5"/>
                </a:solidFill>
                <a:latin typeface="Lucida Console" panose="020B0609040504020204" pitchFamily="49" charset="0"/>
              </a:rPr>
              <a:t>get;set</a:t>
            </a:r>
            <a:r>
              <a:rPr lang="en-US" sz="1600">
                <a:solidFill>
                  <a:srgbClr val="F5F5F5"/>
                </a:solidFill>
                <a:latin typeface="Lucida Console" panose="020B0609040504020204" pitchFamily="49" charset="0"/>
              </a:rPr>
              <a:t>;}          </a:t>
            </a:r>
          </a:p>
          <a:p>
            <a:r>
              <a:rPr lang="en-US" sz="1600">
                <a:solidFill>
                  <a:srgbClr val="F5F5F5"/>
                </a:solidFill>
                <a:latin typeface="Lucida Console" panose="020B0609040504020204" pitchFamily="49" charset="0"/>
              </a:rPr>
              <a:t>Text        Property      string Text {</a:t>
            </a:r>
            <a:r>
              <a:rPr lang="en-US" sz="1600" err="1">
                <a:solidFill>
                  <a:srgbClr val="F5F5F5"/>
                </a:solidFill>
                <a:latin typeface="Lucida Console" panose="020B0609040504020204" pitchFamily="49" charset="0"/>
              </a:rPr>
              <a:t>get;set</a:t>
            </a:r>
            <a:r>
              <a:rPr lang="en-US" sz="1600">
                <a:solidFill>
                  <a:srgbClr val="F5F5F5"/>
                </a:solidFill>
                <a:latin typeface="Lucida Console" panose="020B0609040504020204" pitchFamily="49" charset="0"/>
              </a:rPr>
              <a:t>;}          </a:t>
            </a:r>
          </a:p>
        </p:txBody>
      </p:sp>
      <p:pic>
        <p:nvPicPr>
          <p:cNvPr id="4" name="Picture 3">
            <a:extLst>
              <a:ext uri="{FF2B5EF4-FFF2-40B4-BE49-F238E27FC236}">
                <a16:creationId xmlns:a16="http://schemas.microsoft.com/office/drawing/2014/main" id="{191E1749-8D2A-4B2A-47F2-45F99DCAF77A}"/>
              </a:ext>
            </a:extLst>
          </p:cNvPr>
          <p:cNvPicPr>
            <a:picLocks noChangeAspect="1"/>
          </p:cNvPicPr>
          <p:nvPr/>
        </p:nvPicPr>
        <p:blipFill>
          <a:blip r:embed="rId10"/>
          <a:stretch>
            <a:fillRect/>
          </a:stretch>
        </p:blipFill>
        <p:spPr>
          <a:xfrm>
            <a:off x="8229600" y="640080"/>
            <a:ext cx="3544905" cy="6042451"/>
          </a:xfrm>
          <a:prstGeom prst="rect">
            <a:avLst/>
          </a:prstGeom>
        </p:spPr>
      </p:pic>
      <p:pic>
        <p:nvPicPr>
          <p:cNvPr id="5" name="Picture 4">
            <a:extLst>
              <a:ext uri="{FF2B5EF4-FFF2-40B4-BE49-F238E27FC236}">
                <a16:creationId xmlns:a16="http://schemas.microsoft.com/office/drawing/2014/main" id="{15632131-76F6-83E7-550A-CD42EF44BB5C}"/>
              </a:ext>
            </a:extLst>
          </p:cNvPr>
          <p:cNvPicPr>
            <a:picLocks noChangeAspect="1"/>
          </p:cNvPicPr>
          <p:nvPr/>
        </p:nvPicPr>
        <p:blipFill rotWithShape="1">
          <a:blip r:embed="rId11"/>
          <a:srcRect l="4046" t="-1" r="681" b="38122"/>
          <a:stretch/>
        </p:blipFill>
        <p:spPr>
          <a:xfrm>
            <a:off x="640080" y="2011680"/>
            <a:ext cx="7132320" cy="2172495"/>
          </a:xfrm>
          <a:prstGeom prst="rect">
            <a:avLst/>
          </a:prstGeom>
        </p:spPr>
      </p:pic>
    </p:spTree>
    <p:custDataLst>
      <p:tags r:id="rId1"/>
    </p:custDataLst>
    <p:extLst>
      <p:ext uri="{BB962C8B-B14F-4D97-AF65-F5344CB8AC3E}">
        <p14:creationId xmlns:p14="http://schemas.microsoft.com/office/powerpoint/2010/main" val="3038463798"/>
      </p:ext>
    </p:extLst>
  </p:cSld>
  <p:clrMapOvr>
    <a:masterClrMapping/>
  </p:clrMapOvr>
  <p:transition spd="slow"/>
</p:sld>
</file>

<file path=ppt/slides/slide41.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743E29-3932-4EB8-86D4-F83F46D63AC3}"/>
              </a:ext>
            </a:extLst>
          </p:cNvPr>
          <p:cNvSpPr>
            <a:spLocks noGrp="1"/>
          </p:cNvSpPr>
          <p:nvPr>
            <p:ph type="title"/>
          </p:nvPr>
        </p:nvSpPr>
        <p:spPr/>
        <p:txBody>
          <a:bodyPr/>
          <a:lstStyle/>
          <a:p>
            <a:r>
              <a:rPr lang="en-US"/>
              <a:t>Control Events</a:t>
            </a:r>
          </a:p>
        </p:txBody>
      </p:sp>
      <p:sp>
        <p:nvSpPr>
          <p:cNvPr id="6" name="Code Box">
            <a:extLst>
              <a:ext uri="{FF2B5EF4-FFF2-40B4-BE49-F238E27FC236}">
                <a16:creationId xmlns:a16="http://schemas.microsoft.com/office/drawing/2014/main" id="{2A0549CE-2EE0-4B10-9C62-1F5857D11F46}"/>
              </a:ext>
            </a:extLst>
          </p:cNvPr>
          <p:cNvSpPr/>
          <p:nvPr>
            <p:custDataLst>
              <p:tags r:id="rId2"/>
            </p:custDataLst>
          </p:nvPr>
        </p:nvSpPr>
        <p:spPr>
          <a:xfrm>
            <a:off x="640080" y="4206240"/>
            <a:ext cx="10972800" cy="2560320"/>
          </a:xfrm>
          <a:prstGeom prst="rect">
            <a:avLst/>
          </a:prstGeom>
          <a:solidFill>
            <a:srgbClr val="012456"/>
          </a:solidFill>
        </p:spPr>
        <p:txBody>
          <a:bodyPr wrap="square">
            <a:noAutofit/>
          </a:bodyPr>
          <a:lstStyle/>
          <a:p>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ComboSB</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p>
          <a:p>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service</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get-service</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GUI</a:t>
            </a:r>
            <a:r>
              <a:rPr lang="en-US" sz="2000">
                <a:solidFill>
                  <a:srgbClr val="D3D3D3"/>
                </a:solidFill>
                <a:latin typeface="Lucida Console" panose="020B0609040504020204" pitchFamily="49" charset="0"/>
              </a:rPr>
              <a:t>[</a:t>
            </a:r>
            <a:r>
              <a:rPr lang="en-US" sz="2000">
                <a:solidFill>
                  <a:srgbClr val="DB7093"/>
                </a:solidFill>
                <a:latin typeface="Lucida Console" panose="020B0609040504020204" pitchFamily="49" charset="0"/>
              </a:rPr>
              <a:t>"</a:t>
            </a:r>
            <a:r>
              <a:rPr lang="en-US" sz="2000" err="1">
                <a:solidFill>
                  <a:srgbClr val="DB7093"/>
                </a:solidFill>
                <a:latin typeface="Lucida Console" panose="020B0609040504020204" pitchFamily="49" charset="0"/>
              </a:rPr>
              <a:t>ServiceComboBox</a:t>
            </a:r>
            <a:r>
              <a:rPr lang="en-US" sz="2000">
                <a:solidFill>
                  <a:srgbClr val="DB7093"/>
                </a:solidFill>
                <a:latin typeface="Lucida Console" panose="020B0609040504020204" pitchFamily="49" charset="0"/>
              </a:rPr>
              <a:t>"</a:t>
            </a:r>
            <a:r>
              <a:rPr lang="en-US" sz="2000">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SelectedItem</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if</a:t>
            </a:r>
            <a:r>
              <a:rPr lang="en-US" sz="2000">
                <a:solidFill>
                  <a:srgbClr val="F5F5F5"/>
                </a:solidFill>
                <a:latin typeface="Lucida Console" panose="020B0609040504020204" pitchFamily="49" charset="0"/>
              </a:rPr>
              <a:t>(</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service</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status</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eq</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running"</a:t>
            </a:r>
            <a:r>
              <a:rPr lang="en-US" sz="2000">
                <a:solidFill>
                  <a:srgbClr val="F5F5F5"/>
                </a:solidFill>
                <a:latin typeface="Lucida Console" panose="020B0609040504020204" pitchFamily="49" charset="0"/>
              </a:rPr>
              <a:t>) </a:t>
            </a:r>
          </a:p>
          <a:p>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GUI</a:t>
            </a:r>
            <a:r>
              <a:rPr lang="en-US" sz="2000">
                <a:solidFill>
                  <a:srgbClr val="D3D3D3"/>
                </a:solidFill>
                <a:latin typeface="Lucida Console" panose="020B0609040504020204" pitchFamily="49" charset="0"/>
              </a:rPr>
              <a:t>[</a:t>
            </a:r>
            <a:r>
              <a:rPr lang="en-US" sz="2000">
                <a:solidFill>
                  <a:srgbClr val="DB7093"/>
                </a:solidFill>
                <a:latin typeface="Lucida Console" panose="020B0609040504020204" pitchFamily="49" charset="0"/>
              </a:rPr>
              <a:t>"</a:t>
            </a:r>
            <a:r>
              <a:rPr lang="en-US" sz="2000" err="1">
                <a:solidFill>
                  <a:srgbClr val="DB7093"/>
                </a:solidFill>
                <a:latin typeface="Lucida Console" panose="020B0609040504020204" pitchFamily="49" charset="0"/>
              </a:rPr>
              <a:t>ImageBox</a:t>
            </a:r>
            <a:r>
              <a:rPr lang="en-US" sz="2000">
                <a:solidFill>
                  <a:srgbClr val="DB7093"/>
                </a:solidFill>
                <a:latin typeface="Lucida Console" panose="020B0609040504020204" pitchFamily="49" charset="0"/>
              </a:rPr>
              <a:t>"</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Source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SScriptRoot</a:t>
            </a:r>
            <a:r>
              <a:rPr lang="en-US" sz="2000">
                <a:solidFill>
                  <a:srgbClr val="DB7093"/>
                </a:solidFill>
                <a:latin typeface="Lucida Console" panose="020B0609040504020204" pitchFamily="49" charset="0"/>
              </a:rPr>
              <a:t>\running.png”</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else</a:t>
            </a:r>
          </a:p>
          <a:p>
            <a:r>
              <a:rPr lang="en-US" sz="2000">
                <a:solidFill>
                  <a:srgbClr val="E0FFFF"/>
                </a:solidFill>
                <a:latin typeface="Lucida Console" panose="020B0609040504020204" pitchFamily="49" charset="0"/>
              </a:rPr>
              <a:t>	</a:t>
            </a:r>
            <a:r>
              <a:rPr lang="en-US" sz="2000">
                <a:solidFill>
                  <a:srgbClr val="F5F5F5"/>
                </a:solidFill>
                <a:latin typeface="Lucida Console" panose="020B0609040504020204" pitchFamily="49" charset="0"/>
              </a:rPr>
              <a:t>{</a:t>
            </a:r>
            <a:r>
              <a:rPr lang="en-US" sz="2000">
                <a:solidFill>
                  <a:srgbClr val="FF4500"/>
                </a:solidFill>
                <a:latin typeface="Lucida Console" panose="020B0609040504020204" pitchFamily="49" charset="0"/>
              </a:rPr>
              <a:t>$GUI</a:t>
            </a:r>
            <a:r>
              <a:rPr lang="en-US" sz="2000">
                <a:solidFill>
                  <a:srgbClr val="D3D3D3"/>
                </a:solidFill>
                <a:latin typeface="Lucida Console" panose="020B0609040504020204" pitchFamily="49" charset="0"/>
              </a:rPr>
              <a:t>[</a:t>
            </a:r>
            <a:r>
              <a:rPr lang="en-US" sz="2000">
                <a:solidFill>
                  <a:srgbClr val="DB7093"/>
                </a:solidFill>
                <a:latin typeface="Lucida Console" panose="020B0609040504020204" pitchFamily="49" charset="0"/>
              </a:rPr>
              <a:t>"</a:t>
            </a:r>
            <a:r>
              <a:rPr lang="en-US" sz="2000" err="1">
                <a:solidFill>
                  <a:srgbClr val="DB7093"/>
                </a:solidFill>
                <a:latin typeface="Lucida Console" panose="020B0609040504020204" pitchFamily="49" charset="0"/>
              </a:rPr>
              <a:t>ImageBox</a:t>
            </a:r>
            <a:r>
              <a:rPr lang="en-US" sz="2000">
                <a:solidFill>
                  <a:srgbClr val="DB7093"/>
                </a:solidFill>
                <a:latin typeface="Lucida Console" panose="020B0609040504020204" pitchFamily="49" charset="0"/>
              </a:rPr>
              <a:t>"</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Source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SScriptRoot</a:t>
            </a:r>
            <a:r>
              <a:rPr lang="en-US" sz="2000">
                <a:solidFill>
                  <a:srgbClr val="DB7093"/>
                </a:solidFill>
                <a:latin typeface="Lucida Console" panose="020B0609040504020204" pitchFamily="49" charset="0"/>
              </a:rPr>
              <a:t>\stopped.png"</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a:t>
            </a:r>
          </a:p>
          <a:p>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void</a:t>
            </a:r>
            <a:r>
              <a:rPr lang="en-US" sz="2000">
                <a:solidFill>
                  <a:srgbClr val="D3D3D3"/>
                </a:solidFill>
                <a:latin typeface="Lucida Console" panose="020B0609040504020204" pitchFamily="49" charset="0"/>
              </a:rPr>
              <a:t>]</a:t>
            </a:r>
            <a:r>
              <a:rPr lang="en-US" sz="2000">
                <a:solidFill>
                  <a:srgbClr val="FF4500"/>
                </a:solidFill>
                <a:latin typeface="Lucida Console" panose="020B0609040504020204" pitchFamily="49" charset="0"/>
              </a:rPr>
              <a:t>$GUI</a:t>
            </a:r>
            <a:r>
              <a:rPr lang="en-US" sz="2000">
                <a:solidFill>
                  <a:srgbClr val="D3D3D3"/>
                </a:solidFill>
                <a:latin typeface="Lucida Console" panose="020B0609040504020204" pitchFamily="49" charset="0"/>
              </a:rPr>
              <a:t>[</a:t>
            </a:r>
            <a:r>
              <a:rPr lang="en-US" sz="2000">
                <a:solidFill>
                  <a:srgbClr val="DB7093"/>
                </a:solidFill>
                <a:latin typeface="Lucida Console" panose="020B0609040504020204" pitchFamily="49" charset="0"/>
              </a:rPr>
              <a:t>"</a:t>
            </a:r>
            <a:r>
              <a:rPr lang="en-US" sz="2000" err="1">
                <a:solidFill>
                  <a:srgbClr val="DB7093"/>
                </a:solidFill>
                <a:latin typeface="Lucida Console" panose="020B0609040504020204" pitchFamily="49" charset="0"/>
              </a:rPr>
              <a:t>ServiceComboBox</a:t>
            </a:r>
            <a:r>
              <a:rPr lang="en-US" sz="2000">
                <a:solidFill>
                  <a:srgbClr val="DB7093"/>
                </a:solidFill>
                <a:latin typeface="Lucida Console" panose="020B0609040504020204" pitchFamily="49" charset="0"/>
              </a:rPr>
              <a:t>"</a:t>
            </a:r>
            <a:r>
              <a:rPr lang="en-US" sz="2000">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add_SelectionChanged</a:t>
            </a:r>
            <a:r>
              <a:rPr lang="en-US" sz="2000">
                <a:solidFill>
                  <a:srgbClr val="F5F5F5"/>
                </a:solidFill>
                <a:latin typeface="Lucida Console" panose="020B0609040504020204" pitchFamily="49" charset="0"/>
              </a:rPr>
              <a:t>(</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ComboSB</a:t>
            </a:r>
            <a:r>
              <a:rPr lang="en-US" sz="2000">
                <a:solidFill>
                  <a:srgbClr val="F5F5F5"/>
                </a:solidFill>
                <a:latin typeface="Lucida Console" panose="020B0609040504020204" pitchFamily="49" charset="0"/>
              </a:rPr>
              <a:t>) </a:t>
            </a:r>
          </a:p>
        </p:txBody>
      </p:sp>
      <p:graphicFrame>
        <p:nvGraphicFramePr>
          <p:cNvPr id="7" name="Diagram 6">
            <a:extLst>
              <a:ext uri="{FF2B5EF4-FFF2-40B4-BE49-F238E27FC236}">
                <a16:creationId xmlns:a16="http://schemas.microsoft.com/office/drawing/2014/main" id="{ADB6608F-9D5F-0B31-7FEF-E2D890D7A354}"/>
              </a:ext>
            </a:extLst>
          </p:cNvPr>
          <p:cNvGraphicFramePr/>
          <p:nvPr>
            <p:extLst>
              <p:ext uri="{D42A27DB-BD31-4B8C-83A1-F6EECF244321}">
                <p14:modId xmlns:p14="http://schemas.microsoft.com/office/powerpoint/2010/main" val="3300593669"/>
              </p:ext>
            </p:extLst>
          </p:nvPr>
        </p:nvGraphicFramePr>
        <p:xfrm>
          <a:off x="640080" y="2834640"/>
          <a:ext cx="10972800" cy="128016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2" name="Content Placeholder 1">
            <a:extLst>
              <a:ext uri="{FF2B5EF4-FFF2-40B4-BE49-F238E27FC236}">
                <a16:creationId xmlns:a16="http://schemas.microsoft.com/office/drawing/2014/main" id="{B7D65274-413A-1632-E69C-BBA7F2DF0F34}"/>
              </a:ext>
            </a:extLst>
          </p:cNvPr>
          <p:cNvGraphicFramePr>
            <a:graphicFrameLocks noGrp="1"/>
          </p:cNvGraphicFramePr>
          <p:nvPr>
            <p:ph sz="quarter" idx="13"/>
            <p:extLst>
              <p:ext uri="{D42A27DB-BD31-4B8C-83A1-F6EECF244321}">
                <p14:modId xmlns:p14="http://schemas.microsoft.com/office/powerpoint/2010/main" val="1587440868"/>
              </p:ext>
            </p:extLst>
          </p:nvPr>
        </p:nvGraphicFramePr>
        <p:xfrm>
          <a:off x="640080" y="1005840"/>
          <a:ext cx="10972800" cy="265176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custDataLst>
      <p:tags r:id="rId1"/>
    </p:custDataLst>
    <p:extLst>
      <p:ext uri="{BB962C8B-B14F-4D97-AF65-F5344CB8AC3E}">
        <p14:creationId xmlns:p14="http://schemas.microsoft.com/office/powerpoint/2010/main" val="4080793692"/>
      </p:ext>
    </p:extLst>
  </p:cSld>
  <p:clrMapOvr>
    <a:masterClrMapping/>
  </p:clrMapOvr>
  <p:transition spd="slow"/>
</p:sld>
</file>

<file path=ppt/slides/slide42.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93E31AB-D60E-FB15-719B-9427093EA806}"/>
              </a:ext>
            </a:extLst>
          </p:cNvPr>
          <p:cNvPicPr>
            <a:picLocks noChangeAspect="1"/>
          </p:cNvPicPr>
          <p:nvPr/>
        </p:nvPicPr>
        <p:blipFill rotWithShape="1">
          <a:blip r:embed="rId5"/>
          <a:srcRect l="2246" r="12046" b="63029"/>
          <a:stretch/>
        </p:blipFill>
        <p:spPr>
          <a:xfrm>
            <a:off x="640080" y="1920240"/>
            <a:ext cx="7772400" cy="2184356"/>
          </a:xfrm>
          <a:prstGeom prst="rect">
            <a:avLst/>
          </a:prstGeom>
        </p:spPr>
      </p:pic>
      <p:sp>
        <p:nvSpPr>
          <p:cNvPr id="3" name="Title 2">
            <a:extLst>
              <a:ext uri="{FF2B5EF4-FFF2-40B4-BE49-F238E27FC236}">
                <a16:creationId xmlns:a16="http://schemas.microsoft.com/office/drawing/2014/main" id="{79743E29-3932-4EB8-86D4-F83F46D63AC3}"/>
              </a:ext>
            </a:extLst>
          </p:cNvPr>
          <p:cNvSpPr>
            <a:spLocks noGrp="1"/>
          </p:cNvSpPr>
          <p:nvPr>
            <p:ph type="title"/>
          </p:nvPr>
        </p:nvSpPr>
        <p:spPr/>
        <p:txBody>
          <a:bodyPr/>
          <a:lstStyle/>
          <a:p>
            <a:r>
              <a:rPr lang="en-US"/>
              <a:t>Finding Event Names</a:t>
            </a:r>
          </a:p>
        </p:txBody>
      </p:sp>
      <p:graphicFrame>
        <p:nvGraphicFramePr>
          <p:cNvPr id="8" name="Content Placeholder 7">
            <a:extLst>
              <a:ext uri="{FF2B5EF4-FFF2-40B4-BE49-F238E27FC236}">
                <a16:creationId xmlns:a16="http://schemas.microsoft.com/office/drawing/2014/main" id="{795D17DE-EA0F-0749-C119-6FEB2AF5A6A1}"/>
              </a:ext>
            </a:extLst>
          </p:cNvPr>
          <p:cNvGraphicFramePr>
            <a:graphicFrameLocks noGrp="1"/>
          </p:cNvGraphicFramePr>
          <p:nvPr>
            <p:ph sz="quarter" idx="13"/>
            <p:extLst>
              <p:ext uri="{D42A27DB-BD31-4B8C-83A1-F6EECF244321}">
                <p14:modId xmlns:p14="http://schemas.microsoft.com/office/powerpoint/2010/main" val="378713885"/>
              </p:ext>
            </p:extLst>
          </p:nvPr>
        </p:nvGraphicFramePr>
        <p:xfrm>
          <a:off x="640080" y="1005840"/>
          <a:ext cx="7772400" cy="9144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Code Box">
            <a:extLst>
              <a:ext uri="{FF2B5EF4-FFF2-40B4-BE49-F238E27FC236}">
                <a16:creationId xmlns:a16="http://schemas.microsoft.com/office/drawing/2014/main" id="{2A0549CE-2EE0-4B10-9C62-1F5857D11F46}"/>
              </a:ext>
            </a:extLst>
          </p:cNvPr>
          <p:cNvSpPr/>
          <p:nvPr>
            <p:custDataLst>
              <p:tags r:id="rId2"/>
            </p:custDataLst>
          </p:nvPr>
        </p:nvSpPr>
        <p:spPr>
          <a:xfrm>
            <a:off x="640078" y="4206240"/>
            <a:ext cx="7772400" cy="2560320"/>
          </a:xfrm>
          <a:prstGeom prst="rect">
            <a:avLst/>
          </a:prstGeom>
          <a:solidFill>
            <a:srgbClr val="012456"/>
          </a:solidFill>
        </p:spPr>
        <p:txBody>
          <a:bodyPr wrap="square">
            <a:noAutofit/>
          </a:bodyPr>
          <a:lstStyle/>
          <a:p>
            <a:r>
              <a:rPr lang="en-US" sz="2000">
                <a:solidFill>
                  <a:srgbClr val="FF4500"/>
                </a:solidFill>
                <a:latin typeface="Lucida Console" panose="020B0609040504020204" pitchFamily="49" charset="0"/>
              </a:rPr>
              <a:t>$GUI</a:t>
            </a:r>
            <a:r>
              <a:rPr lang="en-US" sz="2000">
                <a:solidFill>
                  <a:srgbClr val="D3D3D3"/>
                </a:solidFill>
                <a:latin typeface="Lucida Console" panose="020B0609040504020204" pitchFamily="49" charset="0"/>
              </a:rPr>
              <a:t>[</a:t>
            </a:r>
            <a:r>
              <a:rPr lang="en-US" sz="2000">
                <a:solidFill>
                  <a:srgbClr val="DB7093"/>
                </a:solidFill>
                <a:latin typeface="Lucida Console" panose="020B0609040504020204" pitchFamily="49" charset="0"/>
              </a:rPr>
              <a:t>"</a:t>
            </a:r>
            <a:r>
              <a:rPr lang="en-US" sz="2000" err="1">
                <a:solidFill>
                  <a:srgbClr val="DB7093"/>
                </a:solidFill>
                <a:latin typeface="Lucida Console" panose="020B0609040504020204" pitchFamily="49" charset="0"/>
              </a:rPr>
              <a:t>ServiceComboBox</a:t>
            </a:r>
            <a:r>
              <a:rPr lang="en-US" sz="2000">
                <a:solidFill>
                  <a:srgbClr val="DB7093"/>
                </a:solidFill>
                <a:latin typeface="Lucida Console" panose="020B0609040504020204" pitchFamily="49" charset="0"/>
              </a:rPr>
              <a:t>"</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p>
          <a:p>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Get-Member</a:t>
            </a:r>
            <a:r>
              <a:rPr lang="en-US" sz="2000">
                <a:solidFill>
                  <a:srgbClr val="F5F5F5"/>
                </a:solidFill>
                <a:latin typeface="Lucida Console" panose="020B0609040504020204" pitchFamily="49" charset="0"/>
              </a:rPr>
              <a:t> </a:t>
            </a:r>
            <a:r>
              <a:rPr lang="en-US" sz="2000">
                <a:solidFill>
                  <a:srgbClr val="FFE4B5"/>
                </a:solidFill>
                <a:latin typeface="Lucida Console" panose="020B0609040504020204" pitchFamily="49" charset="0"/>
              </a:rPr>
              <a:t>-</a:t>
            </a:r>
            <a:r>
              <a:rPr lang="en-US" sz="2000" err="1">
                <a:solidFill>
                  <a:srgbClr val="FFE4B5"/>
                </a:solidFill>
                <a:latin typeface="Lucida Console" panose="020B0609040504020204" pitchFamily="49" charset="0"/>
              </a:rPr>
              <a:t>MemberType</a:t>
            </a:r>
            <a:r>
              <a:rPr lang="en-US" sz="2000">
                <a:solidFill>
                  <a:srgbClr val="F5F5F5"/>
                </a:solidFill>
                <a:latin typeface="Lucida Console" panose="020B0609040504020204" pitchFamily="49" charset="0"/>
              </a:rPr>
              <a:t> </a:t>
            </a:r>
            <a:r>
              <a:rPr lang="en-US" sz="2000">
                <a:solidFill>
                  <a:srgbClr val="EE82EE"/>
                </a:solidFill>
                <a:latin typeface="Lucida Console" panose="020B0609040504020204" pitchFamily="49" charset="0"/>
              </a:rPr>
              <a:t>Event</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 s</a:t>
            </a:r>
            <a:r>
              <a:rPr lang="en-US" sz="2000">
                <a:solidFill>
                  <a:srgbClr val="E0FFFF"/>
                </a:solidFill>
                <a:latin typeface="Lucida Console" panose="020B0609040504020204" pitchFamily="49" charset="0"/>
              </a:rPr>
              <a:t>elect</a:t>
            </a:r>
            <a:r>
              <a:rPr lang="en-US" sz="2000">
                <a:solidFill>
                  <a:srgbClr val="F5F5F5"/>
                </a:solidFill>
                <a:latin typeface="Lucida Console" panose="020B0609040504020204" pitchFamily="49" charset="0"/>
              </a:rPr>
              <a:t> </a:t>
            </a:r>
            <a:r>
              <a:rPr lang="en-US" sz="2000">
                <a:solidFill>
                  <a:srgbClr val="EE82EE"/>
                </a:solidFill>
                <a:latin typeface="Lucida Console" panose="020B0609040504020204" pitchFamily="49" charset="0"/>
              </a:rPr>
              <a:t>name</a:t>
            </a:r>
            <a:endParaRPr lang="en-US" sz="2000">
              <a:solidFill>
                <a:srgbClr val="F5F5F5"/>
              </a:solidFill>
              <a:latin typeface="Lucida Console" panose="020B0609040504020204" pitchFamily="49" charset="0"/>
            </a:endParaRPr>
          </a:p>
          <a:p>
            <a:r>
              <a:rPr lang="en-US" sz="2000">
                <a:solidFill>
                  <a:srgbClr val="E0FFFF"/>
                </a:solidFill>
                <a:latin typeface="Lucida Console" panose="020B0609040504020204" pitchFamily="49" charset="0"/>
              </a:rPr>
              <a:t>Name</a:t>
            </a:r>
            <a:endParaRPr lang="en-US" sz="2000">
              <a:solidFill>
                <a:srgbClr val="F5F5F5"/>
              </a:solidFill>
              <a:latin typeface="Lucida Console" panose="020B0609040504020204" pitchFamily="49" charset="0"/>
            </a:endParaRPr>
          </a:p>
          <a:p>
            <a:r>
              <a:rPr lang="en-US" sz="2000">
                <a:solidFill>
                  <a:srgbClr val="D3D3D3"/>
                </a:solidFill>
                <a:latin typeface="Lucida Console" panose="020B0609040504020204" pitchFamily="49" charset="0"/>
              </a:rPr>
              <a:t>----</a:t>
            </a:r>
            <a:endParaRPr lang="en-US" sz="2000">
              <a:solidFill>
                <a:srgbClr val="F5F5F5"/>
              </a:solidFill>
              <a:latin typeface="Lucida Console" panose="020B0609040504020204" pitchFamily="49" charset="0"/>
            </a:endParaRPr>
          </a:p>
          <a:p>
            <a:r>
              <a:rPr lang="en-US" sz="2000" err="1">
                <a:solidFill>
                  <a:srgbClr val="E0FFFF"/>
                </a:solidFill>
                <a:latin typeface="Lucida Console" panose="020B0609040504020204" pitchFamily="49" charset="0"/>
              </a:rPr>
              <a:t>ContextMenuClosing</a:t>
            </a:r>
            <a:endParaRPr lang="en-US" sz="2000">
              <a:solidFill>
                <a:srgbClr val="F5F5F5"/>
              </a:solidFill>
              <a:latin typeface="Lucida Console" panose="020B0609040504020204" pitchFamily="49" charset="0"/>
            </a:endParaRPr>
          </a:p>
          <a:p>
            <a:r>
              <a:rPr lang="en-US" sz="2000" err="1">
                <a:solidFill>
                  <a:srgbClr val="E0FFFF"/>
                </a:solidFill>
                <a:latin typeface="Lucida Console" panose="020B0609040504020204" pitchFamily="49" charset="0"/>
              </a:rPr>
              <a:t>ContextMenuOpening</a:t>
            </a:r>
            <a:endParaRPr lang="en-US" sz="2000">
              <a:solidFill>
                <a:srgbClr val="F5F5F5"/>
              </a:solidFill>
              <a:latin typeface="Lucida Console" panose="020B0609040504020204" pitchFamily="49" charset="0"/>
            </a:endParaRPr>
          </a:p>
          <a:p>
            <a:r>
              <a:rPr lang="en-US" sz="2000" err="1">
                <a:solidFill>
                  <a:srgbClr val="E0FFFF"/>
                </a:solidFill>
                <a:latin typeface="Lucida Console" panose="020B0609040504020204" pitchFamily="49" charset="0"/>
              </a:rPr>
              <a:t>DataContextChanged</a:t>
            </a:r>
            <a:endParaRPr lang="en-US" sz="2000">
              <a:solidFill>
                <a:srgbClr val="F5F5F5"/>
              </a:solidFill>
              <a:latin typeface="Lucida Console" panose="020B0609040504020204" pitchFamily="49" charset="0"/>
            </a:endParaRPr>
          </a:p>
          <a:p>
            <a:r>
              <a:rPr lang="en-US" sz="2000" err="1">
                <a:solidFill>
                  <a:srgbClr val="E0FFFF"/>
                </a:solidFill>
                <a:latin typeface="Lucida Console" panose="020B0609040504020204" pitchFamily="49" charset="0"/>
              </a:rPr>
              <a:t>DragEnter</a:t>
            </a:r>
            <a:endParaRPr lang="en-US" sz="2000">
              <a:solidFill>
                <a:srgbClr val="EE82EE"/>
              </a:solidFill>
              <a:latin typeface="Lucida Console" panose="020B0609040504020204" pitchFamily="49" charset="0"/>
            </a:endParaRPr>
          </a:p>
        </p:txBody>
      </p:sp>
      <p:pic>
        <p:nvPicPr>
          <p:cNvPr id="7" name="Picture 6">
            <a:extLst>
              <a:ext uri="{FF2B5EF4-FFF2-40B4-BE49-F238E27FC236}">
                <a16:creationId xmlns:a16="http://schemas.microsoft.com/office/drawing/2014/main" id="{77742739-B57D-44FC-5446-23B7835C2E43}"/>
              </a:ext>
            </a:extLst>
          </p:cNvPr>
          <p:cNvPicPr>
            <a:picLocks noChangeAspect="1"/>
          </p:cNvPicPr>
          <p:nvPr/>
        </p:nvPicPr>
        <p:blipFill>
          <a:blip r:embed="rId11"/>
          <a:stretch>
            <a:fillRect/>
          </a:stretch>
        </p:blipFill>
        <p:spPr>
          <a:xfrm>
            <a:off x="8686800" y="640080"/>
            <a:ext cx="3306229" cy="6126480"/>
          </a:xfrm>
          <a:prstGeom prst="rect">
            <a:avLst/>
          </a:prstGeom>
        </p:spPr>
      </p:pic>
    </p:spTree>
    <p:custDataLst>
      <p:tags r:id="rId1"/>
    </p:custDataLst>
    <p:extLst>
      <p:ext uri="{BB962C8B-B14F-4D97-AF65-F5344CB8AC3E}">
        <p14:creationId xmlns:p14="http://schemas.microsoft.com/office/powerpoint/2010/main" val="2014299987"/>
      </p:ext>
    </p:extLst>
  </p:cSld>
  <p:clrMapOvr>
    <a:masterClrMapping/>
  </p:clrMapOvr>
  <p:transition spd="slow"/>
</p:sld>
</file>

<file path=ppt/slides/slide4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4036C7-79DB-4182-9EC7-6CDB43C83CDE}"/>
              </a:ext>
            </a:extLst>
          </p:cNvPr>
          <p:cNvSpPr>
            <a:spLocks noGrp="1"/>
          </p:cNvSpPr>
          <p:nvPr>
            <p:ph type="title"/>
          </p:nvPr>
        </p:nvSpPr>
        <p:spPr>
          <a:xfrm>
            <a:off x="655638" y="280851"/>
            <a:ext cx="10880725" cy="461665"/>
          </a:xfrm>
        </p:spPr>
        <p:txBody>
          <a:bodyPr/>
          <a:lstStyle/>
          <a:p>
            <a:r>
              <a:rPr lang="en-US"/>
              <a:t>Example – Using Controls and Events</a:t>
            </a:r>
          </a:p>
        </p:txBody>
      </p:sp>
      <p:sp>
        <p:nvSpPr>
          <p:cNvPr id="10" name="Code Box">
            <a:extLst>
              <a:ext uri="{FF2B5EF4-FFF2-40B4-BE49-F238E27FC236}">
                <a16:creationId xmlns:a16="http://schemas.microsoft.com/office/drawing/2014/main" id="{9CE68515-1E15-4161-B149-EF4E4A0BD6E7}"/>
              </a:ext>
            </a:extLst>
          </p:cNvPr>
          <p:cNvSpPr>
            <a:spLocks/>
          </p:cNvSpPr>
          <p:nvPr>
            <p:custDataLst>
              <p:tags r:id="rId2"/>
            </p:custDataLst>
          </p:nvPr>
        </p:nvSpPr>
        <p:spPr>
          <a:xfrm>
            <a:off x="182880" y="1005840"/>
            <a:ext cx="8503920" cy="5669280"/>
          </a:xfrm>
          <a:prstGeom prst="rect">
            <a:avLst/>
          </a:prstGeom>
          <a:solidFill>
            <a:srgbClr val="012456"/>
          </a:solidFill>
        </p:spPr>
        <p:txBody>
          <a:bodyPr wrap="square">
            <a:noAutofit/>
          </a:bodyPr>
          <a:lstStyle/>
          <a:p>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ButtonSB</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GUI</a:t>
            </a:r>
            <a:r>
              <a:rPr lang="en-US" sz="1800">
                <a:solidFill>
                  <a:srgbClr val="D3D3D3"/>
                </a:solidFill>
                <a:latin typeface="Lucida Console" panose="020B0609040504020204" pitchFamily="49" charset="0"/>
              </a:rPr>
              <a:t>[</a:t>
            </a:r>
            <a:r>
              <a:rPr lang="en-US" sz="1800">
                <a:solidFill>
                  <a:srgbClr val="DB7093"/>
                </a:solidFill>
                <a:latin typeface="Lucida Console" panose="020B0609040504020204" pitchFamily="49" charset="0"/>
              </a:rPr>
              <a:t>"</a:t>
            </a:r>
            <a:r>
              <a:rPr lang="en-US" sz="1800" err="1">
                <a:solidFill>
                  <a:srgbClr val="DB7093"/>
                </a:solidFill>
                <a:latin typeface="Lucida Console" panose="020B0609040504020204" pitchFamily="49" charset="0"/>
              </a:rPr>
              <a:t>DisplayListBox</a:t>
            </a:r>
            <a:r>
              <a:rPr lang="en-US" sz="1800">
                <a:solidFill>
                  <a:srgbClr val="DB7093"/>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Items</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Clear</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if</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a:t>
            </a:r>
            <a:r>
              <a:rPr lang="en-US" sz="1800">
                <a:solidFill>
                  <a:srgbClr val="E0FFFF"/>
                </a:solidFill>
                <a:latin typeface="Lucida Console" panose="020B0609040504020204" pitchFamily="49" charset="0"/>
              </a:rPr>
              <a:t>Test-Path</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GUI</a:t>
            </a:r>
            <a:r>
              <a:rPr lang="en-US" sz="1800">
                <a:solidFill>
                  <a:srgbClr val="D3D3D3"/>
                </a:solidFill>
                <a:latin typeface="Lucida Console" panose="020B0609040504020204" pitchFamily="49" charset="0"/>
              </a:rPr>
              <a:t>[</a:t>
            </a:r>
            <a:r>
              <a:rPr lang="en-US" sz="1800">
                <a:solidFill>
                  <a:srgbClr val="DB7093"/>
                </a:solidFill>
                <a:latin typeface="Lucida Console" panose="020B0609040504020204" pitchFamily="49" charset="0"/>
              </a:rPr>
              <a:t>"Path"</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text))</a:t>
            </a:r>
          </a:p>
          <a:p>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GUI</a:t>
            </a:r>
            <a:r>
              <a:rPr lang="en-US" sz="1800">
                <a:solidFill>
                  <a:srgbClr val="D3D3D3"/>
                </a:solidFill>
                <a:latin typeface="Lucida Console" panose="020B0609040504020204" pitchFamily="49" charset="0"/>
              </a:rPr>
              <a:t>[</a:t>
            </a:r>
            <a:r>
              <a:rPr lang="en-US" sz="1800">
                <a:solidFill>
                  <a:srgbClr val="DB7093"/>
                </a:solidFill>
                <a:latin typeface="Lucida Console" panose="020B0609040504020204" pitchFamily="49" charset="0"/>
              </a:rPr>
              <a:t>"</a:t>
            </a:r>
            <a:r>
              <a:rPr lang="en-US" sz="1800" err="1">
                <a:solidFill>
                  <a:srgbClr val="DB7093"/>
                </a:solidFill>
                <a:latin typeface="Lucida Console" panose="020B0609040504020204" pitchFamily="49" charset="0"/>
              </a:rPr>
              <a:t>DisplayListBox</a:t>
            </a:r>
            <a:r>
              <a:rPr lang="en-US" sz="1800">
                <a:solidFill>
                  <a:srgbClr val="DB7093"/>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Items</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Add</a:t>
            </a:r>
            <a:r>
              <a:rPr lang="en-US" sz="1800">
                <a:solidFill>
                  <a:srgbClr val="F5F5F5"/>
                </a:solidFill>
                <a:latin typeface="Lucida Console" panose="020B0609040504020204" pitchFamily="49" charset="0"/>
              </a:rPr>
              <a:t>(</a:t>
            </a:r>
            <a:r>
              <a:rPr lang="en-US" sz="1800">
                <a:solidFill>
                  <a:srgbClr val="DB7093"/>
                </a:solidFill>
                <a:latin typeface="Lucida Console" panose="020B0609040504020204" pitchFamily="49" charset="0"/>
              </a:rPr>
              <a:t>"INVALID PATH"</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return</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if</a:t>
            </a:r>
            <a:r>
              <a:rPr lang="en-US" sz="1800">
                <a:solidFill>
                  <a:srgbClr val="F5F5F5"/>
                </a:solidFill>
                <a:latin typeface="Lucida Console" panose="020B0609040504020204" pitchFamily="49" charset="0"/>
              </a:rPr>
              <a:t>(</a:t>
            </a:r>
            <a:r>
              <a:rPr lang="en-US" sz="1800">
                <a:solidFill>
                  <a:srgbClr val="FF4500"/>
                </a:solidFill>
                <a:latin typeface="Lucida Console" panose="020B0609040504020204" pitchFamily="49" charset="0"/>
              </a:rPr>
              <a:t>$GUI</a:t>
            </a:r>
            <a:r>
              <a:rPr lang="en-US" sz="1800">
                <a:solidFill>
                  <a:srgbClr val="D3D3D3"/>
                </a:solidFill>
                <a:latin typeface="Lucida Console" panose="020B0609040504020204" pitchFamily="49" charset="0"/>
              </a:rPr>
              <a:t>[</a:t>
            </a:r>
            <a:r>
              <a:rPr lang="en-US" sz="1800">
                <a:solidFill>
                  <a:srgbClr val="DB7093"/>
                </a:solidFill>
                <a:latin typeface="Lucida Console" panose="020B0609040504020204" pitchFamily="49" charset="0"/>
              </a:rPr>
              <a:t>"</a:t>
            </a:r>
            <a:r>
              <a:rPr lang="en-US" sz="1800" err="1">
                <a:solidFill>
                  <a:srgbClr val="DB7093"/>
                </a:solidFill>
                <a:latin typeface="Lucida Console" panose="020B0609040504020204" pitchFamily="49" charset="0"/>
              </a:rPr>
              <a:t>FileRadioButton</a:t>
            </a:r>
            <a:r>
              <a:rPr lang="en-US" sz="1800">
                <a:solidFill>
                  <a:srgbClr val="DB7093"/>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isChecked</a:t>
            </a:r>
            <a:r>
              <a:rPr lang="en-US" sz="1800">
                <a:solidFill>
                  <a:srgbClr val="F5F5F5"/>
                </a:solidFill>
                <a:latin typeface="Lucida Console" panose="020B0609040504020204" pitchFamily="49" charset="0"/>
              </a:rPr>
              <a:t>)</a:t>
            </a:r>
          </a:p>
          <a:p>
            <a:r>
              <a:rPr lang="en-US">
                <a:solidFill>
                  <a:srgbClr val="F5F5F5"/>
                </a:solidFill>
                <a:latin typeface="Lucida Console" panose="020B0609040504020204" pitchFamily="49" charset="0"/>
              </a:rPr>
              <a:t>  </a:t>
            </a:r>
            <a:r>
              <a:rPr lang="en-US" sz="1800">
                <a:solidFill>
                  <a:srgbClr val="F5F5F5"/>
                </a:solidFill>
                <a:latin typeface="Lucida Console" panose="020B0609040504020204" pitchFamily="49" charset="0"/>
              </a:rPr>
              <a:t>{</a:t>
            </a:r>
            <a:r>
              <a:rPr lang="en-US" sz="1800">
                <a:solidFill>
                  <a:srgbClr val="FF4500"/>
                </a:solidFill>
                <a:latin typeface="Lucida Console" panose="020B0609040504020204" pitchFamily="49" charset="0"/>
              </a:rPr>
              <a:t>$data</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Get-</a:t>
            </a:r>
            <a:r>
              <a:rPr lang="en-US" sz="1800" err="1">
                <a:solidFill>
                  <a:srgbClr val="E0FFFF"/>
                </a:solidFill>
                <a:latin typeface="Lucida Console" panose="020B0609040504020204" pitchFamily="49" charset="0"/>
              </a:rPr>
              <a:t>ChildItem</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Path</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GUI</a:t>
            </a:r>
            <a:r>
              <a:rPr lang="en-US" sz="1800">
                <a:solidFill>
                  <a:srgbClr val="D3D3D3"/>
                </a:solidFill>
                <a:latin typeface="Lucida Console" panose="020B0609040504020204" pitchFamily="49" charset="0"/>
              </a:rPr>
              <a:t>[</a:t>
            </a:r>
            <a:r>
              <a:rPr lang="en-US" sz="1800">
                <a:solidFill>
                  <a:srgbClr val="DB7093"/>
                </a:solidFill>
                <a:latin typeface="Lucida Console" panose="020B0609040504020204" pitchFamily="49" charset="0"/>
              </a:rPr>
              <a:t>"Path"</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text </a:t>
            </a:r>
            <a:r>
              <a:rPr lang="en-US" sz="1800">
                <a:solidFill>
                  <a:srgbClr val="FFE4B5"/>
                </a:solidFill>
                <a:latin typeface="Lucida Console" panose="020B0609040504020204" pitchFamily="49" charset="0"/>
              </a:rPr>
              <a:t>-file</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else</a:t>
            </a:r>
          </a:p>
          <a:p>
            <a:r>
              <a:rPr lang="en-US">
                <a:solidFill>
                  <a:srgbClr val="E0FFFF"/>
                </a:solidFill>
                <a:latin typeface="Lucida Console" panose="020B0609040504020204" pitchFamily="49" charset="0"/>
              </a:rPr>
              <a:t>  </a:t>
            </a:r>
            <a:r>
              <a:rPr lang="en-US" sz="1800">
                <a:solidFill>
                  <a:srgbClr val="F5F5F5"/>
                </a:solidFill>
                <a:latin typeface="Lucida Console" panose="020B0609040504020204" pitchFamily="49" charset="0"/>
              </a:rPr>
              <a:t>{</a:t>
            </a:r>
            <a:r>
              <a:rPr lang="en-US" sz="1800">
                <a:solidFill>
                  <a:srgbClr val="FF4500"/>
                </a:solidFill>
                <a:latin typeface="Lucida Console" panose="020B0609040504020204" pitchFamily="49" charset="0"/>
              </a:rPr>
              <a:t>$data</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Get-</a:t>
            </a:r>
            <a:r>
              <a:rPr lang="en-US" sz="1800" err="1">
                <a:solidFill>
                  <a:srgbClr val="E0FFFF"/>
                </a:solidFill>
                <a:latin typeface="Lucida Console" panose="020B0609040504020204" pitchFamily="49" charset="0"/>
              </a:rPr>
              <a:t>ChildItem</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Path</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GUI</a:t>
            </a:r>
            <a:r>
              <a:rPr lang="en-US" sz="1800">
                <a:solidFill>
                  <a:srgbClr val="D3D3D3"/>
                </a:solidFill>
                <a:latin typeface="Lucida Console" panose="020B0609040504020204" pitchFamily="49" charset="0"/>
              </a:rPr>
              <a:t>[</a:t>
            </a:r>
            <a:r>
              <a:rPr lang="en-US" sz="1800">
                <a:solidFill>
                  <a:srgbClr val="DB7093"/>
                </a:solidFill>
                <a:latin typeface="Lucida Console" panose="020B0609040504020204" pitchFamily="49" charset="0"/>
              </a:rPr>
              <a:t>"Path"</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text </a:t>
            </a:r>
            <a:r>
              <a:rPr lang="en-US" sz="1800">
                <a:solidFill>
                  <a:srgbClr val="FFE4B5"/>
                </a:solidFill>
                <a:latin typeface="Lucida Console" panose="020B0609040504020204" pitchFamily="49" charset="0"/>
              </a:rPr>
              <a:t>-Directory</a:t>
            </a:r>
            <a:r>
              <a:rPr lang="en-US" sz="1800">
                <a:solidFill>
                  <a:srgbClr val="F5F5F5"/>
                </a:solidFill>
                <a:latin typeface="Lucida Console" panose="020B0609040504020204" pitchFamily="49" charset="0"/>
              </a:rPr>
              <a:t>}</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foreach</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name</a:t>
            </a:r>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in</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data</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GUI</a:t>
            </a:r>
            <a:r>
              <a:rPr lang="en-US" sz="1800">
                <a:solidFill>
                  <a:srgbClr val="D3D3D3"/>
                </a:solidFill>
                <a:latin typeface="Lucida Console" panose="020B0609040504020204" pitchFamily="49" charset="0"/>
              </a:rPr>
              <a:t>[</a:t>
            </a:r>
            <a:r>
              <a:rPr lang="en-US" sz="1800">
                <a:solidFill>
                  <a:srgbClr val="DB7093"/>
                </a:solidFill>
                <a:latin typeface="Lucida Console" panose="020B0609040504020204" pitchFamily="49" charset="0"/>
              </a:rPr>
              <a:t>"</a:t>
            </a:r>
            <a:r>
              <a:rPr lang="en-US" sz="1800" err="1">
                <a:solidFill>
                  <a:srgbClr val="DB7093"/>
                </a:solidFill>
                <a:latin typeface="Lucida Console" panose="020B0609040504020204" pitchFamily="49" charset="0"/>
              </a:rPr>
              <a:t>DisplayListBox</a:t>
            </a:r>
            <a:r>
              <a:rPr lang="en-US" sz="1800">
                <a:solidFill>
                  <a:srgbClr val="DB7093"/>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Items</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add</a:t>
            </a:r>
            <a:r>
              <a:rPr lang="en-US" sz="1800">
                <a:solidFill>
                  <a:srgbClr val="F5F5F5"/>
                </a:solidFill>
                <a:latin typeface="Lucida Console" panose="020B0609040504020204" pitchFamily="49" charset="0"/>
              </a:rPr>
              <a:t>(</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name</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Name</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a:t>
            </a:r>
          </a:p>
          <a:p>
            <a:endParaRPr lang="en-US" sz="1800">
              <a:solidFill>
                <a:srgbClr val="F5F5F5"/>
              </a:solidFill>
              <a:latin typeface="Lucida Console" panose="020B0609040504020204" pitchFamily="49" charset="0"/>
            </a:endParaRPr>
          </a:p>
          <a:p>
            <a:r>
              <a:rPr lang="en-US" sz="1800">
                <a:solidFill>
                  <a:srgbClr val="FF4500"/>
                </a:solidFill>
                <a:latin typeface="Lucida Console" panose="020B0609040504020204" pitchFamily="49" charset="0"/>
              </a:rPr>
              <a:t>$GUI</a:t>
            </a:r>
            <a:r>
              <a:rPr lang="en-US" sz="1800">
                <a:solidFill>
                  <a:srgbClr val="D3D3D3"/>
                </a:solidFill>
                <a:latin typeface="Lucida Console" panose="020B0609040504020204" pitchFamily="49" charset="0"/>
              </a:rPr>
              <a:t>[</a:t>
            </a:r>
            <a:r>
              <a:rPr lang="en-US" sz="1800">
                <a:solidFill>
                  <a:srgbClr val="DB7093"/>
                </a:solidFill>
                <a:latin typeface="Lucida Console" panose="020B0609040504020204" pitchFamily="49" charset="0"/>
              </a:rPr>
              <a:t>"</a:t>
            </a:r>
            <a:r>
              <a:rPr lang="en-US" sz="1800" err="1">
                <a:solidFill>
                  <a:srgbClr val="DB7093"/>
                </a:solidFill>
                <a:latin typeface="Lucida Console" panose="020B0609040504020204" pitchFamily="49" charset="0"/>
              </a:rPr>
              <a:t>SearchButton</a:t>
            </a:r>
            <a:r>
              <a:rPr lang="en-US" sz="1800">
                <a:solidFill>
                  <a:srgbClr val="DB7093"/>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Add_Click</a:t>
            </a:r>
            <a:r>
              <a:rPr lang="en-US" sz="1800">
                <a:solidFill>
                  <a:srgbClr val="F5F5F5"/>
                </a:solidFill>
                <a:latin typeface="Lucida Console" panose="020B0609040504020204" pitchFamily="49" charset="0"/>
              </a:rPr>
              <a:t>(</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ButtonSB</a:t>
            </a:r>
            <a:r>
              <a:rPr lang="en-US" sz="1800">
                <a:solidFill>
                  <a:srgbClr val="F5F5F5"/>
                </a:solidFill>
                <a:latin typeface="Lucida Console" panose="020B0609040504020204" pitchFamily="49" charset="0"/>
              </a:rPr>
              <a:t>) </a:t>
            </a:r>
          </a:p>
          <a:p>
            <a:endParaRPr lang="en-US" sz="2000"/>
          </a:p>
        </p:txBody>
      </p:sp>
      <p:pic>
        <p:nvPicPr>
          <p:cNvPr id="4" name="Picture 3">
            <a:extLst>
              <a:ext uri="{FF2B5EF4-FFF2-40B4-BE49-F238E27FC236}">
                <a16:creationId xmlns:a16="http://schemas.microsoft.com/office/drawing/2014/main" id="{AA55C324-830A-F9A6-8566-DFED92BF8322}"/>
              </a:ext>
            </a:extLst>
          </p:cNvPr>
          <p:cNvPicPr>
            <a:picLocks noChangeAspect="1"/>
          </p:cNvPicPr>
          <p:nvPr/>
        </p:nvPicPr>
        <p:blipFill>
          <a:blip r:embed="rId5"/>
          <a:stretch>
            <a:fillRect/>
          </a:stretch>
        </p:blipFill>
        <p:spPr>
          <a:xfrm>
            <a:off x="8778240" y="1005840"/>
            <a:ext cx="3330571" cy="5669280"/>
          </a:xfrm>
          <a:prstGeom prst="rect">
            <a:avLst/>
          </a:prstGeom>
        </p:spPr>
      </p:pic>
    </p:spTree>
    <p:custDataLst>
      <p:tags r:id="rId1"/>
    </p:custDataLst>
    <p:extLst>
      <p:ext uri="{BB962C8B-B14F-4D97-AF65-F5344CB8AC3E}">
        <p14:creationId xmlns:p14="http://schemas.microsoft.com/office/powerpoint/2010/main" val="2755451968"/>
      </p:ext>
    </p:extLst>
  </p:cSld>
  <p:clrMapOvr>
    <a:masterClrMapping/>
  </p:clrMapOvr>
  <p:transition spd="slow"/>
</p:sld>
</file>

<file path=ppt/slides/slide44.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Code Behind a Form</a:t>
            </a:r>
          </a:p>
          <a:p>
            <a:endParaRPr lang="en-US"/>
          </a:p>
        </p:txBody>
      </p:sp>
      <p:pic>
        <p:nvPicPr>
          <p:cNvPr id="8" name="Demo 01" descr="A person standing in front of a screen.">
            <a:extLst>
              <a:ext uri="{FF2B5EF4-FFF2-40B4-BE49-F238E27FC236}">
                <a16:creationId xmlns:a16="http://schemas.microsoft.com/office/drawing/2014/main" id="{AE785C6F-3571-4388-998A-02309DA462CF}"/>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2963664668"/>
      </p:ext>
    </p:extLst>
  </p:cSld>
  <p:clrMapOvr>
    <a:masterClrMapping/>
  </p:clrMapOvr>
  <p:transition spd="slow"/>
</p:sld>
</file>

<file path=ppt/slides/slide45.xml><?xml version="1.0" encoding="utf-8"?>
<p:sld xmlns:a16="http://schemas.microsoft.com/office/drawing/2014/main"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743E29-3932-4EB8-86D4-F83F46D63AC3}"/>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Data Binding</a:t>
            </a:r>
          </a:p>
        </p:txBody>
      </p:sp>
      <p:graphicFrame>
        <p:nvGraphicFramePr>
          <p:cNvPr id="10" name="Text Placeholder 7">
            <a:extLst>
              <a:ext uri="{FF2B5EF4-FFF2-40B4-BE49-F238E27FC236}">
                <a16:creationId xmlns:a16="http://schemas.microsoft.com/office/drawing/2014/main" id="{25FC2934-EBB8-4C70-B506-5EC4BC6FE603}"/>
              </a:ext>
              <a:ext uri="{C183D7F6-B498-43B3-948B-1728B52AA6E4}">
                <adec:decorative xmlns:adec="http://schemas.microsoft.com/office/drawing/2017/decorative" val="1"/>
              </a:ext>
            </a:extLst>
          </p:cNvPr>
          <p:cNvGraphicFramePr>
            <a:graphicFrameLocks noGrp="1"/>
          </p:cNvGraphicFramePr>
          <p:nvPr>
            <p:ph sz="quarter" idx="13"/>
            <p:extLst>
              <p:ext uri="{D42A27DB-BD31-4B8C-83A1-F6EECF244321}">
                <p14:modId xmlns:p14="http://schemas.microsoft.com/office/powerpoint/2010/main" val="3253107912"/>
              </p:ext>
            </p:extLst>
          </p:nvPr>
        </p:nvGraphicFramePr>
        <p:xfrm>
          <a:off x="640080" y="1005840"/>
          <a:ext cx="10972800" cy="5486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275487735"/>
      </p:ext>
    </p:extLst>
  </p:cSld>
  <p:clrMapOvr>
    <a:masterClrMapping/>
  </p:clrMapOvr>
  <p:transition spd="slow"/>
</p:sld>
</file>

<file path=ppt/slides/slide4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743E29-3932-4EB8-86D4-F83F46D63AC3}"/>
              </a:ext>
            </a:extLst>
          </p:cNvPr>
          <p:cNvSpPr>
            <a:spLocks noGrp="1"/>
          </p:cNvSpPr>
          <p:nvPr>
            <p:ph type="title"/>
          </p:nvPr>
        </p:nvSpPr>
        <p:spPr/>
        <p:txBody>
          <a:bodyPr/>
          <a:lstStyle/>
          <a:p>
            <a:r>
              <a:rPr lang="en-US"/>
              <a:t>XAML Based Data Binding</a:t>
            </a:r>
          </a:p>
        </p:txBody>
      </p:sp>
      <p:graphicFrame>
        <p:nvGraphicFramePr>
          <p:cNvPr id="9" name="Content Placeholder 8">
            <a:extLst>
              <a:ext uri="{FF2B5EF4-FFF2-40B4-BE49-F238E27FC236}">
                <a16:creationId xmlns:a16="http://schemas.microsoft.com/office/drawing/2014/main" id="{203A39C7-A3BE-E059-A062-5185B97B7FAE}"/>
              </a:ext>
            </a:extLst>
          </p:cNvPr>
          <p:cNvGraphicFramePr>
            <a:graphicFrameLocks noGrp="1"/>
          </p:cNvGraphicFramePr>
          <p:nvPr>
            <p:ph sz="quarter" idx="13"/>
            <p:extLst>
              <p:ext uri="{D42A27DB-BD31-4B8C-83A1-F6EECF244321}">
                <p14:modId xmlns:p14="http://schemas.microsoft.com/office/powerpoint/2010/main" val="2996559788"/>
              </p:ext>
            </p:extLst>
          </p:nvPr>
        </p:nvGraphicFramePr>
        <p:xfrm>
          <a:off x="640080" y="1005840"/>
          <a:ext cx="8503920" cy="36576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Code Box">
            <a:extLst>
              <a:ext uri="{FF2B5EF4-FFF2-40B4-BE49-F238E27FC236}">
                <a16:creationId xmlns:a16="http://schemas.microsoft.com/office/drawing/2014/main" id="{C84BFD6C-319D-4665-A3EC-44969951DC1A}"/>
              </a:ext>
            </a:extLst>
          </p:cNvPr>
          <p:cNvSpPr>
            <a:spLocks/>
          </p:cNvSpPr>
          <p:nvPr>
            <p:custDataLst>
              <p:tags r:id="rId2"/>
            </p:custDataLst>
          </p:nvPr>
        </p:nvSpPr>
        <p:spPr>
          <a:xfrm>
            <a:off x="640080" y="5029200"/>
            <a:ext cx="11338560" cy="1645920"/>
          </a:xfrm>
          <a:prstGeom prst="rect">
            <a:avLst/>
          </a:prstGeom>
          <a:solidFill>
            <a:srgbClr val="2F2F2F"/>
          </a:solidFill>
        </p:spPr>
        <p:txBody>
          <a:bodyPr wrap="square">
            <a:noAutofit/>
          </a:bodyPr>
          <a:lstStyle/>
          <a:p>
            <a:r>
              <a:rPr lang="en-US" sz="2000" b="0">
                <a:solidFill>
                  <a:srgbClr val="F8F8F2"/>
                </a:solidFill>
                <a:effectLst/>
                <a:latin typeface="Consolas" panose="020B0609020204030204" pitchFamily="49" charset="0"/>
              </a:rPr>
              <a:t>&lt;</a:t>
            </a:r>
            <a:r>
              <a:rPr lang="en-US" sz="2000" b="0" err="1">
                <a:solidFill>
                  <a:schemeClr val="accent5">
                    <a:lumMod val="60000"/>
                    <a:lumOff val="40000"/>
                  </a:schemeClr>
                </a:solidFill>
                <a:effectLst/>
                <a:latin typeface="Consolas" panose="020B0609020204030204" pitchFamily="49" charset="0"/>
              </a:rPr>
              <a:t>ListBox</a:t>
            </a:r>
            <a:r>
              <a:rPr lang="en-US" sz="2000" b="0">
                <a:solidFill>
                  <a:srgbClr val="F8F8F2"/>
                </a:solidFill>
                <a:effectLst/>
                <a:latin typeface="Consolas" panose="020B0609020204030204" pitchFamily="49" charset="0"/>
              </a:rPr>
              <a:t> </a:t>
            </a:r>
            <a:r>
              <a:rPr lang="en-US" sz="2000" b="0">
                <a:solidFill>
                  <a:srgbClr val="FF9349"/>
                </a:solidFill>
                <a:effectLst/>
                <a:latin typeface="Consolas" panose="020B0609020204030204" pitchFamily="49" charset="0"/>
              </a:rPr>
              <a:t>x:Name</a:t>
            </a:r>
            <a:r>
              <a:rPr lang="en-US" sz="2000" b="0">
                <a:solidFill>
                  <a:srgbClr val="F8F8F2"/>
                </a:solidFill>
                <a:effectLst/>
                <a:latin typeface="Consolas" panose="020B0609020204030204" pitchFamily="49" charset="0"/>
              </a:rPr>
              <a:t>=</a:t>
            </a:r>
            <a:r>
              <a:rPr lang="en-US" sz="2000" b="0">
                <a:solidFill>
                  <a:srgbClr val="1AD3D6"/>
                </a:solidFill>
                <a:effectLst/>
                <a:latin typeface="Consolas" panose="020B0609020204030204" pitchFamily="49" charset="0"/>
              </a:rPr>
              <a:t>"DisplayListBox"</a:t>
            </a:r>
            <a:r>
              <a:rPr lang="en-US" sz="2000">
                <a:solidFill>
                  <a:schemeClr val="bg2">
                    <a:lumMod val="75000"/>
                  </a:schemeClr>
                </a:solidFill>
                <a:latin typeface="Lucida Console" panose="020B0609040504020204" pitchFamily="49" charset="0"/>
              </a:rPr>
              <a:t>…</a:t>
            </a:r>
            <a:r>
              <a:rPr lang="en-US" sz="2000" b="0">
                <a:solidFill>
                  <a:srgbClr val="F8F8F2"/>
                </a:solidFill>
                <a:effectLst/>
                <a:latin typeface="Consolas" panose="020B0609020204030204" pitchFamily="49" charset="0"/>
              </a:rPr>
              <a:t>/&gt;</a:t>
            </a:r>
          </a:p>
          <a:p>
            <a:endParaRPr lang="en-US" sz="2000">
              <a:solidFill>
                <a:schemeClr val="bg2">
                  <a:lumMod val="75000"/>
                </a:schemeClr>
              </a:solidFill>
              <a:latin typeface="Lucida Console" panose="020B0609040504020204" pitchFamily="49" charset="0"/>
            </a:endParaRPr>
          </a:p>
          <a:p>
            <a:r>
              <a:rPr lang="en-US" sz="2000" b="0">
                <a:solidFill>
                  <a:srgbClr val="F8F8F2"/>
                </a:solidFill>
                <a:effectLst/>
                <a:latin typeface="Consolas" panose="020B0609020204030204" pitchFamily="49" charset="0"/>
              </a:rPr>
              <a:t>&lt;</a:t>
            </a:r>
            <a:r>
              <a:rPr lang="en-US" sz="2000" b="0">
                <a:solidFill>
                  <a:schemeClr val="accent5">
                    <a:lumMod val="60000"/>
                    <a:lumOff val="40000"/>
                  </a:schemeClr>
                </a:solidFill>
                <a:effectLst/>
                <a:latin typeface="Consolas" panose="020B0609020204030204" pitchFamily="49" charset="0"/>
              </a:rPr>
              <a:t>Label</a:t>
            </a:r>
            <a:r>
              <a:rPr lang="en-US" sz="2000" b="0">
                <a:solidFill>
                  <a:srgbClr val="F8F8F2"/>
                </a:solidFill>
                <a:effectLst/>
                <a:latin typeface="Consolas" panose="020B0609020204030204" pitchFamily="49" charset="0"/>
              </a:rPr>
              <a:t> </a:t>
            </a:r>
          </a:p>
          <a:p>
            <a:r>
              <a:rPr lang="en-US" sz="2000" b="0">
                <a:solidFill>
                  <a:srgbClr val="FF9349"/>
                </a:solidFill>
                <a:effectLst/>
                <a:latin typeface="Consolas" panose="020B0609020204030204" pitchFamily="49" charset="0"/>
              </a:rPr>
              <a:t>Content</a:t>
            </a:r>
            <a:r>
              <a:rPr lang="en-US" sz="2000" b="0">
                <a:solidFill>
                  <a:srgbClr val="F8F8F2"/>
                </a:solidFill>
                <a:effectLst/>
                <a:latin typeface="Consolas" panose="020B0609020204030204" pitchFamily="49" charset="0"/>
              </a:rPr>
              <a:t>=</a:t>
            </a:r>
            <a:r>
              <a:rPr lang="en-US" sz="2000" b="0">
                <a:solidFill>
                  <a:srgbClr val="1AD3D6"/>
                </a:solidFill>
                <a:effectLst/>
                <a:latin typeface="Consolas" panose="020B0609020204030204" pitchFamily="49" charset="0"/>
              </a:rPr>
              <a:t>"{Binding </a:t>
            </a:r>
            <a:r>
              <a:rPr lang="en-US" sz="2000" b="0" err="1">
                <a:solidFill>
                  <a:schemeClr val="accent3">
                    <a:lumMod val="60000"/>
                    <a:lumOff val="40000"/>
                  </a:schemeClr>
                </a:solidFill>
                <a:effectLst/>
                <a:latin typeface="Consolas" panose="020B0609020204030204" pitchFamily="49" charset="0"/>
              </a:rPr>
              <a:t>ElementName</a:t>
            </a:r>
            <a:r>
              <a:rPr lang="en-US" sz="2000" b="0">
                <a:solidFill>
                  <a:srgbClr val="1AD3D6"/>
                </a:solidFill>
                <a:effectLst/>
                <a:latin typeface="Consolas" panose="020B0609020204030204" pitchFamily="49" charset="0"/>
              </a:rPr>
              <a:t>=</a:t>
            </a:r>
            <a:r>
              <a:rPr lang="en-US" sz="2000" b="0" err="1">
                <a:solidFill>
                  <a:srgbClr val="1AD3D6"/>
                </a:solidFill>
                <a:effectLst/>
                <a:latin typeface="Consolas" panose="020B0609020204030204" pitchFamily="49" charset="0"/>
              </a:rPr>
              <a:t>DisplayListBox</a:t>
            </a:r>
            <a:r>
              <a:rPr lang="en-US" sz="2000" b="0">
                <a:solidFill>
                  <a:srgbClr val="1AD3D6"/>
                </a:solidFill>
                <a:effectLst/>
                <a:latin typeface="Consolas" panose="020B0609020204030204" pitchFamily="49" charset="0"/>
              </a:rPr>
              <a:t>, </a:t>
            </a:r>
            <a:r>
              <a:rPr lang="en-US" sz="2000" b="0">
                <a:solidFill>
                  <a:schemeClr val="accent3">
                    <a:lumMod val="60000"/>
                    <a:lumOff val="40000"/>
                  </a:schemeClr>
                </a:solidFill>
                <a:effectLst/>
                <a:latin typeface="Consolas" panose="020B0609020204030204" pitchFamily="49" charset="0"/>
              </a:rPr>
              <a:t>Path</a:t>
            </a:r>
            <a:r>
              <a:rPr lang="en-US" sz="2000" b="0">
                <a:solidFill>
                  <a:srgbClr val="1AD3D6"/>
                </a:solidFill>
                <a:effectLst/>
                <a:latin typeface="Consolas" panose="020B0609020204030204" pitchFamily="49" charset="0"/>
              </a:rPr>
              <a:t>=</a:t>
            </a:r>
            <a:r>
              <a:rPr lang="en-US" sz="2000" b="0" err="1">
                <a:solidFill>
                  <a:srgbClr val="1AD3D6"/>
                </a:solidFill>
                <a:effectLst/>
                <a:latin typeface="Consolas" panose="020B0609020204030204" pitchFamily="49" charset="0"/>
              </a:rPr>
              <a:t>SelectedItem</a:t>
            </a:r>
            <a:r>
              <a:rPr lang="en-US" sz="2000" b="0">
                <a:solidFill>
                  <a:srgbClr val="1AD3D6"/>
                </a:solidFill>
                <a:effectLst/>
                <a:latin typeface="Consolas" panose="020B0609020204030204" pitchFamily="49" charset="0"/>
              </a:rPr>
              <a:t>, </a:t>
            </a:r>
            <a:r>
              <a:rPr lang="en-US" sz="2000" b="0">
                <a:solidFill>
                  <a:schemeClr val="accent3">
                    <a:lumMod val="60000"/>
                    <a:lumOff val="40000"/>
                  </a:schemeClr>
                </a:solidFill>
                <a:effectLst/>
                <a:latin typeface="Consolas" panose="020B0609020204030204" pitchFamily="49" charset="0"/>
              </a:rPr>
              <a:t>Mode</a:t>
            </a:r>
            <a:r>
              <a:rPr lang="en-US" sz="2000" b="0">
                <a:solidFill>
                  <a:srgbClr val="1AD3D6"/>
                </a:solidFill>
                <a:effectLst/>
                <a:latin typeface="Consolas" panose="020B0609020204030204" pitchFamily="49" charset="0"/>
              </a:rPr>
              <a:t>=</a:t>
            </a:r>
            <a:r>
              <a:rPr lang="en-US" sz="2000" b="0" err="1">
                <a:solidFill>
                  <a:srgbClr val="1AD3D6"/>
                </a:solidFill>
                <a:effectLst/>
                <a:latin typeface="Consolas" panose="020B0609020204030204" pitchFamily="49" charset="0"/>
              </a:rPr>
              <a:t>OneWay</a:t>
            </a:r>
            <a:r>
              <a:rPr lang="en-US" sz="2000" b="0">
                <a:solidFill>
                  <a:srgbClr val="1AD3D6"/>
                </a:solidFill>
                <a:effectLst/>
                <a:latin typeface="Consolas" panose="020B0609020204030204" pitchFamily="49" charset="0"/>
              </a:rPr>
              <a:t>}"</a:t>
            </a:r>
            <a:endParaRPr lang="en-US" sz="2000" b="0">
              <a:solidFill>
                <a:srgbClr val="F8F8F2"/>
              </a:solidFill>
              <a:effectLst/>
              <a:latin typeface="Consolas" panose="020B0609020204030204" pitchFamily="49" charset="0"/>
            </a:endParaRPr>
          </a:p>
          <a:p>
            <a:r>
              <a:rPr lang="en-US" sz="2000">
                <a:solidFill>
                  <a:schemeClr val="bg2">
                    <a:lumMod val="75000"/>
                  </a:schemeClr>
                </a:solidFill>
                <a:latin typeface="Lucida Console" panose="020B0609040504020204" pitchFamily="49" charset="0"/>
              </a:rPr>
              <a:t>…</a:t>
            </a:r>
            <a:r>
              <a:rPr lang="en-US" sz="2000" b="0">
                <a:solidFill>
                  <a:srgbClr val="F8F8F2"/>
                </a:solidFill>
                <a:effectLst/>
                <a:latin typeface="Consolas" panose="020B0609020204030204" pitchFamily="49" charset="0"/>
              </a:rPr>
              <a:t>/&gt;</a:t>
            </a:r>
          </a:p>
          <a:p>
            <a:endParaRPr lang="en-US" sz="2000">
              <a:solidFill>
                <a:schemeClr val="bg2">
                  <a:lumMod val="75000"/>
                </a:schemeClr>
              </a:solidFill>
              <a:latin typeface="Lucida Console" panose="020B0609040504020204" pitchFamily="49" charset="0"/>
            </a:endParaRPr>
          </a:p>
        </p:txBody>
      </p:sp>
      <p:pic>
        <p:nvPicPr>
          <p:cNvPr id="5" name="Picture 4">
            <a:extLst>
              <a:ext uri="{FF2B5EF4-FFF2-40B4-BE49-F238E27FC236}">
                <a16:creationId xmlns:a16="http://schemas.microsoft.com/office/drawing/2014/main" id="{91844104-C8F4-86BC-8C82-78D2A2EDADE0}"/>
              </a:ext>
            </a:extLst>
          </p:cNvPr>
          <p:cNvPicPr>
            <a:picLocks noChangeAspect="1"/>
          </p:cNvPicPr>
          <p:nvPr/>
        </p:nvPicPr>
        <p:blipFill rotWithShape="1">
          <a:blip r:embed="rId10"/>
          <a:srcRect t="-680" b="1"/>
          <a:stretch/>
        </p:blipFill>
        <p:spPr>
          <a:xfrm>
            <a:off x="9235440" y="822960"/>
            <a:ext cx="2870203" cy="5029200"/>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3782249789"/>
      </p:ext>
    </p:extLst>
  </p:cSld>
  <p:clrMapOvr>
    <a:masterClrMapping/>
  </p:clrMapOvr>
  <p:transition spd="slow"/>
</p:sld>
</file>

<file path=ppt/slides/slide4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743E29-3932-4EB8-86D4-F83F46D63AC3}"/>
              </a:ext>
            </a:extLst>
          </p:cNvPr>
          <p:cNvSpPr>
            <a:spLocks noGrp="1"/>
          </p:cNvSpPr>
          <p:nvPr>
            <p:ph type="title"/>
          </p:nvPr>
        </p:nvSpPr>
        <p:spPr/>
        <p:txBody>
          <a:bodyPr/>
          <a:lstStyle/>
          <a:p>
            <a:r>
              <a:rPr lang="en-US"/>
              <a:t>PowerShell Based Data Binding</a:t>
            </a:r>
          </a:p>
        </p:txBody>
      </p:sp>
      <p:graphicFrame>
        <p:nvGraphicFramePr>
          <p:cNvPr id="8" name="Content Placeholder 7">
            <a:extLst>
              <a:ext uri="{FF2B5EF4-FFF2-40B4-BE49-F238E27FC236}">
                <a16:creationId xmlns:a16="http://schemas.microsoft.com/office/drawing/2014/main" id="{EB77B92E-8D57-012E-DB33-F2F5E54706C5}"/>
              </a:ext>
            </a:extLst>
          </p:cNvPr>
          <p:cNvGraphicFramePr>
            <a:graphicFrameLocks noGrp="1"/>
          </p:cNvGraphicFramePr>
          <p:nvPr>
            <p:ph sz="quarter" idx="13"/>
            <p:extLst>
              <p:ext uri="{D42A27DB-BD31-4B8C-83A1-F6EECF244321}">
                <p14:modId xmlns:p14="http://schemas.microsoft.com/office/powerpoint/2010/main" val="3507975933"/>
              </p:ext>
            </p:extLst>
          </p:nvPr>
        </p:nvGraphicFramePr>
        <p:xfrm>
          <a:off x="640080" y="914400"/>
          <a:ext cx="10972800" cy="100584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Code Box">
            <a:extLst>
              <a:ext uri="{FF2B5EF4-FFF2-40B4-BE49-F238E27FC236}">
                <a16:creationId xmlns:a16="http://schemas.microsoft.com/office/drawing/2014/main" id="{5D87067C-E2BD-4E28-AF11-16174B277618}"/>
              </a:ext>
            </a:extLst>
          </p:cNvPr>
          <p:cNvSpPr>
            <a:spLocks/>
          </p:cNvSpPr>
          <p:nvPr>
            <p:custDataLst>
              <p:tags r:id="rId2"/>
            </p:custDataLst>
          </p:nvPr>
        </p:nvSpPr>
        <p:spPr>
          <a:xfrm>
            <a:off x="640080" y="2011680"/>
            <a:ext cx="10972800" cy="4754880"/>
          </a:xfrm>
          <a:prstGeom prst="rect">
            <a:avLst/>
          </a:prstGeom>
          <a:solidFill>
            <a:srgbClr val="012456"/>
          </a:solidFill>
        </p:spPr>
        <p:txBody>
          <a:bodyPr wrap="square" lIns="45720" rIns="45720">
            <a:noAutofit/>
          </a:bodyPr>
          <a:lstStyle/>
          <a:p>
            <a:r>
              <a:rPr lang="en-US" sz="2000">
                <a:solidFill>
                  <a:srgbClr val="98FB98"/>
                </a:solidFill>
                <a:latin typeface="Lucida Console" panose="020B0609040504020204" pitchFamily="49" charset="0"/>
              </a:rPr>
              <a:t># Create a </a:t>
            </a:r>
            <a:r>
              <a:rPr lang="en-US" sz="2000" err="1">
                <a:solidFill>
                  <a:srgbClr val="98FB98"/>
                </a:solidFill>
                <a:latin typeface="Lucida Console" panose="020B0609040504020204" pitchFamily="49" charset="0"/>
              </a:rPr>
              <a:t>datacontext</a:t>
            </a:r>
            <a:r>
              <a:rPr lang="en-US" sz="2000">
                <a:solidFill>
                  <a:srgbClr val="98FB98"/>
                </a:solidFill>
                <a:latin typeface="Lucida Console" panose="020B0609040504020204" pitchFamily="49" charset="0"/>
              </a:rPr>
              <a:t> for the textbox and set it</a:t>
            </a:r>
            <a:endParaRPr lang="en-US" sz="2000">
              <a:solidFill>
                <a:srgbClr val="F5F5F5"/>
              </a:solidFill>
              <a:latin typeface="Lucida Console" panose="020B0609040504020204" pitchFamily="49" charset="0"/>
            </a:endParaRPr>
          </a:p>
          <a:p>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DataContext</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New-Object         </a:t>
            </a:r>
          </a:p>
          <a:p>
            <a:r>
              <a:rPr lang="en-US" sz="2000">
                <a:solidFill>
                  <a:srgbClr val="E0FFFF"/>
                </a:solidFill>
                <a:latin typeface="Lucida Console" panose="020B0609040504020204" pitchFamily="49" charset="0"/>
              </a:rPr>
              <a:t>    </a:t>
            </a:r>
            <a:r>
              <a:rPr lang="en-US" sz="2000" err="1">
                <a:solidFill>
                  <a:srgbClr val="EE82EE"/>
                </a:solidFill>
                <a:latin typeface="Lucida Console" panose="020B0609040504020204" pitchFamily="49" charset="0"/>
              </a:rPr>
              <a:t>System.Collections.ObjectModel.ObservableCollection</a:t>
            </a:r>
            <a:r>
              <a:rPr lang="en-US" sz="2000">
                <a:solidFill>
                  <a:srgbClr val="EE82EE"/>
                </a:solidFill>
                <a:latin typeface="Lucida Console" panose="020B0609040504020204" pitchFamily="49" charset="0"/>
              </a:rPr>
              <a:t>[Object]</a:t>
            </a:r>
          </a:p>
          <a:p>
            <a:endParaRPr lang="en-US" sz="2000">
              <a:solidFill>
                <a:srgbClr val="F5F5F5"/>
              </a:solidFill>
              <a:latin typeface="Lucida Console" panose="020B0609040504020204" pitchFamily="49" charset="0"/>
            </a:endParaRPr>
          </a:p>
          <a:p>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DataContext</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Add</a:t>
            </a:r>
            <a:r>
              <a:rPr lang="en-US" sz="2000">
                <a:solidFill>
                  <a:srgbClr val="F5F5F5"/>
                </a:solidFill>
                <a:latin typeface="Lucida Console" panose="020B0609040504020204" pitchFamily="49" charset="0"/>
              </a:rPr>
              <a:t>((</a:t>
            </a:r>
            <a:r>
              <a:rPr lang="en-US" sz="2000">
                <a:solidFill>
                  <a:srgbClr val="E0FFFF"/>
                </a:solidFill>
                <a:latin typeface="Lucida Console" panose="020B0609040504020204" pitchFamily="49" charset="0"/>
              </a:rPr>
              <a:t>get-date</a:t>
            </a:r>
            <a:r>
              <a:rPr lang="en-US" sz="2000">
                <a:solidFill>
                  <a:srgbClr val="F5F5F5"/>
                </a:solidFill>
                <a:latin typeface="Lucida Console" panose="020B0609040504020204" pitchFamily="49" charset="0"/>
              </a:rPr>
              <a:t> </a:t>
            </a:r>
            <a:r>
              <a:rPr lang="en-US" sz="2000">
                <a:solidFill>
                  <a:srgbClr val="FFE4B5"/>
                </a:solidFill>
                <a:latin typeface="Lucida Console" panose="020B0609040504020204" pitchFamily="49" charset="0"/>
              </a:rPr>
              <a:t>-f</a:t>
            </a:r>
            <a:r>
              <a:rPr lang="en-US" sz="2000">
                <a:solidFill>
                  <a:srgbClr val="F5F5F5"/>
                </a:solidFill>
                <a:latin typeface="Lucida Console" panose="020B0609040504020204" pitchFamily="49" charset="0"/>
              </a:rPr>
              <a:t> </a:t>
            </a:r>
            <a:r>
              <a:rPr lang="en-US" sz="2000" err="1">
                <a:solidFill>
                  <a:srgbClr val="EE82EE"/>
                </a:solidFill>
                <a:latin typeface="Lucida Console" panose="020B0609040504020204" pitchFamily="49" charset="0"/>
              </a:rPr>
              <a:t>HH:mm:ss</a:t>
            </a:r>
            <a:r>
              <a:rPr lang="en-US" sz="2000">
                <a:solidFill>
                  <a:srgbClr val="F5F5F5"/>
                </a:solidFill>
                <a:latin typeface="Lucida Console" panose="020B0609040504020204" pitchFamily="49" charset="0"/>
              </a:rPr>
              <a:t>))</a:t>
            </a:r>
          </a:p>
          <a:p>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Gui</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timebox</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DataContext</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DataContext</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p>
          <a:p>
            <a:r>
              <a:rPr lang="en-US" sz="2000">
                <a:solidFill>
                  <a:srgbClr val="98FB98"/>
                </a:solidFill>
                <a:latin typeface="Lucida Console" panose="020B0609040504020204" pitchFamily="49" charset="0"/>
              </a:rPr>
              <a:t># Create the binding information</a:t>
            </a:r>
            <a:endParaRPr lang="en-US" sz="2000">
              <a:solidFill>
                <a:srgbClr val="F5F5F5"/>
              </a:solidFill>
              <a:latin typeface="Lucida Console" panose="020B0609040504020204" pitchFamily="49" charset="0"/>
            </a:endParaRPr>
          </a:p>
          <a:p>
            <a:r>
              <a:rPr lang="en-US" sz="2000">
                <a:solidFill>
                  <a:srgbClr val="FF4500"/>
                </a:solidFill>
                <a:latin typeface="Lucida Console" panose="020B0609040504020204" pitchFamily="49" charset="0"/>
              </a:rPr>
              <a:t>$Binding</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New-Object</a:t>
            </a:r>
            <a:r>
              <a:rPr lang="en-US" sz="2000">
                <a:solidFill>
                  <a:srgbClr val="F5F5F5"/>
                </a:solidFill>
                <a:latin typeface="Lucida Console" panose="020B0609040504020204" pitchFamily="49" charset="0"/>
              </a:rPr>
              <a:t> </a:t>
            </a:r>
            <a:r>
              <a:rPr lang="en-US" sz="2000" err="1">
                <a:solidFill>
                  <a:srgbClr val="EE82EE"/>
                </a:solidFill>
                <a:latin typeface="Lucida Console" panose="020B0609040504020204" pitchFamily="49" charset="0"/>
              </a:rPr>
              <a:t>System.Windows.Data.Binding</a:t>
            </a:r>
            <a:endParaRPr lang="en-US" sz="2000">
              <a:solidFill>
                <a:srgbClr val="F5F5F5"/>
              </a:solidFill>
              <a:latin typeface="Lucida Console" panose="020B0609040504020204" pitchFamily="49" charset="0"/>
            </a:endParaRPr>
          </a:p>
          <a:p>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Binding</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Path</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0]"</a:t>
            </a:r>
            <a:endParaRPr lang="en-US" sz="2000">
              <a:solidFill>
                <a:srgbClr val="F5F5F5"/>
              </a:solidFill>
              <a:latin typeface="Lucida Console" panose="020B0609040504020204" pitchFamily="49" charset="0"/>
            </a:endParaRPr>
          </a:p>
          <a:p>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Binding</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Mode</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err="1">
                <a:solidFill>
                  <a:srgbClr val="8FBC8F"/>
                </a:solidFill>
                <a:latin typeface="Lucida Console" panose="020B0609040504020204" pitchFamily="49" charset="0"/>
              </a:rPr>
              <a:t>System.Windows.Data.BindingMode</a:t>
            </a:r>
            <a:r>
              <a:rPr lang="en-US" sz="2000">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OneWay</a:t>
            </a:r>
            <a:endParaRPr lang="en-US" sz="2000">
              <a:solidFill>
                <a:srgbClr val="F5F5F5"/>
              </a:solidFill>
              <a:latin typeface="Lucida Console" panose="020B0609040504020204" pitchFamily="49" charset="0"/>
            </a:endParaRPr>
          </a:p>
          <a:p>
            <a:endParaRPr lang="en-US" sz="2000">
              <a:solidFill>
                <a:srgbClr val="F5F5F5"/>
              </a:solidFill>
              <a:latin typeface="Lucida Console" panose="020B0609040504020204" pitchFamily="49" charset="0"/>
            </a:endParaRPr>
          </a:p>
          <a:p>
            <a:r>
              <a:rPr lang="en-US" sz="2000">
                <a:solidFill>
                  <a:srgbClr val="98FB98"/>
                </a:solidFill>
                <a:latin typeface="Lucida Console" panose="020B0609040504020204" pitchFamily="49" charset="0"/>
              </a:rPr>
              <a:t># Set the binding on the textbox</a:t>
            </a:r>
            <a:endParaRPr lang="en-US" sz="2000">
              <a:solidFill>
                <a:srgbClr val="D3D3D3"/>
              </a:solidFill>
              <a:latin typeface="Lucida Console" panose="020B0609040504020204" pitchFamily="49" charset="0"/>
            </a:endParaRPr>
          </a:p>
          <a:p>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void</a:t>
            </a:r>
            <a:r>
              <a:rPr lang="en-US" sz="2000">
                <a:solidFill>
                  <a:srgbClr val="D3D3D3"/>
                </a:solidFill>
                <a:latin typeface="Lucida Console" panose="020B0609040504020204" pitchFamily="49" charset="0"/>
              </a:rPr>
              <a:t>][</a:t>
            </a:r>
            <a:r>
              <a:rPr lang="en-US" sz="2000" err="1">
                <a:solidFill>
                  <a:srgbClr val="8FBC8F"/>
                </a:solidFill>
                <a:latin typeface="Lucida Console" panose="020B0609040504020204" pitchFamily="49" charset="0"/>
              </a:rPr>
              <a:t>System.Windows.Data.BindingOperations</a:t>
            </a:r>
            <a:r>
              <a:rPr lang="en-US" sz="2000">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SetBinding</a:t>
            </a:r>
            <a:r>
              <a:rPr lang="en-US" sz="2000">
                <a:solidFill>
                  <a:srgbClr val="F5F5F5"/>
                </a:solidFill>
                <a:latin typeface="Lucida Console" panose="020B0609040504020204" pitchFamily="49" charset="0"/>
              </a:rPr>
              <a:t>(</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Gui</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timebox</a:t>
            </a:r>
            <a:r>
              <a:rPr lang="en-US" sz="2000">
                <a:solidFill>
                  <a:srgbClr val="D3D3D3"/>
                </a:solidFill>
                <a:latin typeface="Lucida Console" panose="020B0609040504020204" pitchFamily="49" charset="0"/>
              </a:rPr>
              <a:t>,  </a:t>
            </a:r>
          </a:p>
          <a:p>
            <a:r>
              <a:rPr lang="en-US" sz="2000">
                <a:solidFill>
                  <a:srgbClr val="D3D3D3"/>
                </a:solidFill>
                <a:latin typeface="Lucida Console" panose="020B0609040504020204" pitchFamily="49" charset="0"/>
              </a:rPr>
              <a:t>[</a:t>
            </a:r>
            <a:r>
              <a:rPr lang="en-US" sz="2000" err="1">
                <a:solidFill>
                  <a:srgbClr val="8FBC8F"/>
                </a:solidFill>
                <a:latin typeface="Lucida Console" panose="020B0609040504020204" pitchFamily="49" charset="0"/>
              </a:rPr>
              <a:t>System.Windows.Controls.TextBox</a:t>
            </a:r>
            <a:r>
              <a:rPr lang="en-US" sz="2000">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TextProperty</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Binding</a:t>
            </a:r>
            <a:r>
              <a:rPr lang="en-US" sz="2000">
                <a:solidFill>
                  <a:srgbClr val="F5F5F5"/>
                </a:solidFill>
                <a:latin typeface="Lucida Console" panose="020B0609040504020204" pitchFamily="49" charset="0"/>
              </a:rPr>
              <a:t>)</a:t>
            </a:r>
          </a:p>
        </p:txBody>
      </p:sp>
    </p:spTree>
    <p:custDataLst>
      <p:tags r:id="rId1"/>
    </p:custDataLst>
    <p:extLst>
      <p:ext uri="{BB962C8B-B14F-4D97-AF65-F5344CB8AC3E}">
        <p14:creationId xmlns:p14="http://schemas.microsoft.com/office/powerpoint/2010/main" val="2651296270"/>
      </p:ext>
    </p:extLst>
  </p:cSld>
  <p:clrMapOvr>
    <a:masterClrMapping/>
  </p:clrMapOvr>
  <p:transition spd="slow"/>
</p:sld>
</file>

<file path=ppt/slides/slide48.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Data Binding</a:t>
            </a:r>
          </a:p>
        </p:txBody>
      </p:sp>
      <p:pic>
        <p:nvPicPr>
          <p:cNvPr id="5" name="Demo 01" descr="A person standing in front of a screen.">
            <a:extLst>
              <a:ext uri="{FF2B5EF4-FFF2-40B4-BE49-F238E27FC236}">
                <a16:creationId xmlns:a16="http://schemas.microsoft.com/office/drawing/2014/main" id="{2A70E28B-6134-4E08-A27A-7D2A12B07160}"/>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159723482"/>
      </p:ext>
    </p:extLst>
  </p:cSld>
  <p:clrMapOvr>
    <a:masterClrMapping/>
  </p:clrMapOvr>
  <p:transition spd="slow"/>
</p:sld>
</file>

<file path=ppt/slides/slide4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482687707"/>
      </p:ext>
    </p:extLst>
  </p:cSld>
  <p:clrMapOvr>
    <a:masterClrMapping/>
  </p:clrMapOvr>
  <p:transition spd="slow"/>
</p:sld>
</file>

<file path=ppt/slides/slide5.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E64F0EF-5D00-4F19-B090-4F73F1518B0E}"/>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Windows Presentation Framework</a:t>
            </a:r>
          </a:p>
        </p:txBody>
      </p:sp>
      <p:graphicFrame>
        <p:nvGraphicFramePr>
          <p:cNvPr id="3" name="Diagram 2">
            <a:extLst>
              <a:ext uri="{FF2B5EF4-FFF2-40B4-BE49-F238E27FC236}">
                <a16:creationId xmlns:a16="http://schemas.microsoft.com/office/drawing/2014/main" id="{550D197A-CBD9-DC5D-F980-1998BE9CFB48}"/>
              </a:ext>
            </a:extLst>
          </p:cNvPr>
          <p:cNvGraphicFramePr/>
          <p:nvPr>
            <p:extLst>
              <p:ext uri="{D42A27DB-BD31-4B8C-83A1-F6EECF244321}">
                <p14:modId xmlns:p14="http://schemas.microsoft.com/office/powerpoint/2010/main" val="2697202883"/>
              </p:ext>
            </p:extLst>
          </p:nvPr>
        </p:nvGraphicFramePr>
        <p:xfrm>
          <a:off x="381000" y="1005840"/>
          <a:ext cx="11277600" cy="56235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572072190"/>
      </p:ext>
    </p:extLst>
  </p:cSld>
  <p:clrMapOvr>
    <a:masterClrMapping/>
  </p:clrMapOvr>
  <p:transition spd="slow"/>
</p:sld>
</file>

<file path=ppt/slides/slide50.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a:prstGeom prst="rect">
            <a:avLst/>
          </a:prstGeom>
          <a:ln>
            <a:noFill/>
          </a:ln>
        </p:spPr>
        <p:txBody>
          <a:bodyPr wrap="square" anchor="t">
            <a:normAutofit/>
          </a:bodyPr>
          <a:lstStyle/>
          <a:p>
            <a:r>
              <a:rPr lang="en-US"/>
              <a:t>Common Issues</a:t>
            </a:r>
          </a:p>
        </p:txBody>
      </p:sp>
      <p:pic>
        <p:nvPicPr>
          <p:cNvPr id="2" name="Picture 5">
            <a:extLst>
              <a:ext uri="{FF2B5EF4-FFF2-40B4-BE49-F238E27FC236}">
                <a16:creationId xmlns:a16="http://schemas.microsoft.com/office/drawing/2014/main" id="{8C7F0143-BC01-48AE-8A12-EA3963AE62D8}"/>
              </a:ext>
              <a:ext uri="{C183D7F6-B498-43B3-948B-1728B52AA6E4}">
                <adec:decorative xmlns:adec="http://schemas.microsoft.com/office/drawing/2017/decorative" val="1"/>
              </a:ext>
            </a:extLst>
          </p:cNvPr>
          <p:cNvPicPr>
            <a:picLocks noGrp="1" noChangeAspect="1"/>
          </p:cNvPicPr>
          <p:nvPr>
            <p:ph type="pic" sz="quarter" idx="15"/>
          </p:nvPr>
        </p:nvPicPr>
        <p:blipFill rotWithShape="1">
          <a:blip r:embed="rId5" cstate="screen">
            <a:extLst>
              <a:ext uri="{28A0092B-C50C-407E-A947-70E740481C1C}">
                <a14:useLocalDpi xmlns:a14="http://schemas.microsoft.com/office/drawing/2010/main"/>
              </a:ext>
            </a:extLst>
          </a:blip>
          <a:srcRect l="289" r="289"/>
          <a:stretch/>
        </p:blipFill>
        <p:spPr>
          <a:prstGeom prst="rect">
            <a:avLst/>
          </a:prstGeom>
          <a:noFill/>
        </p:spPr>
      </p:pic>
    </p:spTree>
    <p:custDataLst>
      <p:tags r:id="rId1"/>
    </p:custDataLst>
    <p:extLst>
      <p:ext uri="{BB962C8B-B14F-4D97-AF65-F5344CB8AC3E}">
        <p14:creationId xmlns:p14="http://schemas.microsoft.com/office/powerpoint/2010/main" val="3398519265"/>
      </p:ext>
    </p:extLst>
  </p:cSld>
  <p:clrMapOvr>
    <a:masterClrMapping/>
  </p:clrMapOvr>
  <p:transition spd="slow"/>
</p:sld>
</file>

<file path=ppt/slides/slide51.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743E29-3932-4EB8-86D4-F83F46D63AC3}"/>
              </a:ext>
            </a:extLst>
          </p:cNvPr>
          <p:cNvSpPr>
            <a:spLocks noGrp="1"/>
          </p:cNvSpPr>
          <p:nvPr>
            <p:ph type="title"/>
          </p:nvPr>
        </p:nvSpPr>
        <p:spPr/>
        <p:txBody>
          <a:bodyPr/>
          <a:lstStyle/>
          <a:p>
            <a:r>
              <a:rPr lang="en-US"/>
              <a:t>Unresponsive GUIs</a:t>
            </a:r>
          </a:p>
        </p:txBody>
      </p:sp>
      <p:graphicFrame>
        <p:nvGraphicFramePr>
          <p:cNvPr id="8" name="Content Placeholder 7">
            <a:extLst>
              <a:ext uri="{FF2B5EF4-FFF2-40B4-BE49-F238E27FC236}">
                <a16:creationId xmlns:a16="http://schemas.microsoft.com/office/drawing/2014/main" id="{EB77B92E-8D57-012E-DB33-F2F5E54706C5}"/>
              </a:ext>
            </a:extLst>
          </p:cNvPr>
          <p:cNvGraphicFramePr>
            <a:graphicFrameLocks noGrp="1"/>
          </p:cNvGraphicFramePr>
          <p:nvPr>
            <p:ph sz="quarter" idx="13"/>
            <p:extLst>
              <p:ext uri="{D42A27DB-BD31-4B8C-83A1-F6EECF244321}">
                <p14:modId xmlns:p14="http://schemas.microsoft.com/office/powerpoint/2010/main" val="3212347631"/>
              </p:ext>
            </p:extLst>
          </p:nvPr>
        </p:nvGraphicFramePr>
        <p:xfrm>
          <a:off x="640080" y="914400"/>
          <a:ext cx="10972800" cy="55778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153839355"/>
      </p:ext>
    </p:extLst>
  </p:cSld>
  <p:clrMapOvr>
    <a:masterClrMapping/>
  </p:clrMapOvr>
  <p:transition spd="slow"/>
</p:sld>
</file>

<file path=ppt/slides/slide52.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743E29-3932-4EB8-86D4-F83F46D63AC3}"/>
              </a:ext>
            </a:extLst>
          </p:cNvPr>
          <p:cNvSpPr>
            <a:spLocks noGrp="1"/>
          </p:cNvSpPr>
          <p:nvPr>
            <p:ph type="title"/>
          </p:nvPr>
        </p:nvSpPr>
        <p:spPr/>
        <p:txBody>
          <a:bodyPr/>
          <a:lstStyle/>
          <a:p>
            <a:r>
              <a:rPr lang="en-US"/>
              <a:t>GUIs &amp; </a:t>
            </a:r>
            <a:r>
              <a:rPr lang="en-US" err="1"/>
              <a:t>Runspaces</a:t>
            </a:r>
            <a:endParaRPr lang="en-US"/>
          </a:p>
        </p:txBody>
      </p:sp>
      <p:graphicFrame>
        <p:nvGraphicFramePr>
          <p:cNvPr id="8" name="Content Placeholder 7">
            <a:extLst>
              <a:ext uri="{FF2B5EF4-FFF2-40B4-BE49-F238E27FC236}">
                <a16:creationId xmlns:a16="http://schemas.microsoft.com/office/drawing/2014/main" id="{EB77B92E-8D57-012E-DB33-F2F5E54706C5}"/>
              </a:ext>
            </a:extLst>
          </p:cNvPr>
          <p:cNvGraphicFramePr>
            <a:graphicFrameLocks noGrp="1"/>
          </p:cNvGraphicFramePr>
          <p:nvPr>
            <p:ph sz="quarter" idx="13"/>
            <p:extLst>
              <p:ext uri="{D42A27DB-BD31-4B8C-83A1-F6EECF244321}">
                <p14:modId xmlns:p14="http://schemas.microsoft.com/office/powerpoint/2010/main" val="3668107318"/>
              </p:ext>
            </p:extLst>
          </p:nvPr>
        </p:nvGraphicFramePr>
        <p:xfrm>
          <a:off x="640080" y="640080"/>
          <a:ext cx="10972800" cy="54864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Code Box">
            <a:extLst>
              <a:ext uri="{FF2B5EF4-FFF2-40B4-BE49-F238E27FC236}">
                <a16:creationId xmlns:a16="http://schemas.microsoft.com/office/drawing/2014/main" id="{99AA91F3-5C44-A388-007E-E201AAF936FF}"/>
              </a:ext>
            </a:extLst>
          </p:cNvPr>
          <p:cNvSpPr>
            <a:spLocks/>
          </p:cNvSpPr>
          <p:nvPr>
            <p:custDataLst>
              <p:tags r:id="rId2"/>
            </p:custDataLst>
          </p:nvPr>
        </p:nvSpPr>
        <p:spPr>
          <a:xfrm>
            <a:off x="640080" y="6126480"/>
            <a:ext cx="10972800" cy="365760"/>
          </a:xfrm>
          <a:prstGeom prst="rect">
            <a:avLst/>
          </a:prstGeom>
          <a:solidFill>
            <a:srgbClr val="012456"/>
          </a:solidFill>
        </p:spPr>
        <p:txBody>
          <a:bodyPr wrap="square">
            <a:noAutofit/>
          </a:bodyPr>
          <a:lstStyle/>
          <a:p>
            <a:r>
              <a:rPr lang="en-US" sz="2000">
                <a:solidFill>
                  <a:srgbClr val="FF4500"/>
                </a:solidFill>
                <a:latin typeface="Lucida Console" panose="020B0609040504020204" pitchFamily="49" charset="0"/>
              </a:rPr>
              <a:t>$GUI</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err="1">
                <a:solidFill>
                  <a:srgbClr val="8FBC8F"/>
                </a:solidFill>
                <a:latin typeface="Lucida Console" panose="020B0609040504020204" pitchFamily="49" charset="0"/>
              </a:rPr>
              <a:t>hashtable</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Synchronized(@{})</a:t>
            </a:r>
          </a:p>
        </p:txBody>
      </p:sp>
    </p:spTree>
    <p:custDataLst>
      <p:tags r:id="rId1"/>
    </p:custDataLst>
    <p:extLst>
      <p:ext uri="{BB962C8B-B14F-4D97-AF65-F5344CB8AC3E}">
        <p14:creationId xmlns:p14="http://schemas.microsoft.com/office/powerpoint/2010/main" val="3752082709"/>
      </p:ext>
    </p:extLst>
  </p:cSld>
  <p:clrMapOvr>
    <a:masterClrMapping/>
  </p:clrMapOvr>
  <p:transition spd="slow"/>
</p:sld>
</file>

<file path=ppt/slides/slide5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Advanced Techniques</a:t>
            </a:r>
          </a:p>
        </p:txBody>
      </p:sp>
      <p:pic>
        <p:nvPicPr>
          <p:cNvPr id="5" name="Demo 01" descr="A person standing in front of a screen.">
            <a:extLst>
              <a:ext uri="{FF2B5EF4-FFF2-40B4-BE49-F238E27FC236}">
                <a16:creationId xmlns:a16="http://schemas.microsoft.com/office/drawing/2014/main" id="{3E5761E0-276B-4F50-97EA-48791B947DDE}"/>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3910888359"/>
      </p:ext>
    </p:extLst>
  </p:cSld>
  <p:clrMapOvr>
    <a:masterClrMapping/>
  </p:clrMapOvr>
  <p:transition spd="slow"/>
</p:sld>
</file>

<file path=ppt/slides/slide54.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692881300"/>
      </p:ext>
    </p:extLst>
  </p:cSld>
  <p:clrMapOvr>
    <a:masterClrMapping/>
  </p:clrMapOvr>
  <p:transition spd="slow"/>
</p:sld>
</file>

<file path=ppt/slides/slide55.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a:t>PowerShell Graphical User Interface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endParaRPr lang="en-US"/>
          </a:p>
        </p:txBody>
      </p:sp>
      <p:sp>
        <p:nvSpPr>
          <p:cNvPr id="4" name="Picture Placeholder 3">
            <a:extLst>
              <a:ext uri="{FF2B5EF4-FFF2-40B4-BE49-F238E27FC236}">
                <a16:creationId xmlns:a16="http://schemas.microsoft.com/office/drawing/2014/main" id="{688E0F76-248A-45EA-81A0-6E6C546B8835}"/>
              </a:ext>
              <a:ext uri="{C183D7F6-B498-43B3-948B-1728B52AA6E4}">
                <adec:decorative xmlns:adec="http://schemas.microsoft.com/office/drawing/2017/decorative" val="1"/>
              </a:ext>
            </a:extLst>
          </p:cNvPr>
          <p:cNvSpPr>
            <a:spLocks noGrp="1"/>
          </p:cNvSpPr>
          <p:nvPr>
            <p:ph type="pic" sz="quarter" idx="15"/>
          </p:nvPr>
        </p:nvSpPr>
        <p:spPr/>
      </p:sp>
      <p:pic>
        <p:nvPicPr>
          <p:cNvPr id="7" name="Lab">
            <a:extLst>
              <a:ext uri="{FF2B5EF4-FFF2-40B4-BE49-F238E27FC236}">
                <a16:creationId xmlns:a16="http://schemas.microsoft.com/office/drawing/2014/main" id="{76566A92-4C2E-4A75-AC88-04F49267A8C1}"/>
              </a:ext>
              <a:ext uri="{C183D7F6-B498-43B3-948B-1728B52AA6E4}">
                <adec:decorative xmlns:adec="http://schemas.microsoft.com/office/drawing/2017/decorative" val="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042387426"/>
      </p:ext>
    </p:extLst>
  </p:cSld>
  <p:clrMapOvr>
    <a:masterClrMapping/>
  </p:clrMapOvr>
  <p:transition spd="slow"/>
</p:sld>
</file>

<file path=ppt/slides/slide5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900113"/>
          </a:xfrm>
        </p:spPr>
        <p:txBody>
          <a:bodyPr/>
          <a:lstStyle/>
          <a:p>
            <a:r>
              <a:rPr lang="en-US">
                <a:noFill/>
              </a:rPr>
              <a:t>Microsoft</a:t>
            </a:r>
          </a:p>
        </p:txBody>
      </p:sp>
    </p:spTree>
    <p:custDataLst>
      <p:tags r:id="rId1"/>
    </p:custDataLst>
    <p:extLst>
      <p:ext uri="{BB962C8B-B14F-4D97-AF65-F5344CB8AC3E}">
        <p14:creationId xmlns:p14="http://schemas.microsoft.com/office/powerpoint/2010/main" val="3850366218"/>
      </p:ext>
    </p:extLst>
  </p:cSld>
  <p:clrMapOvr>
    <a:masterClrMapping/>
  </p:clrMapOvr>
  <p:transition spd="slow"/>
</p:sld>
</file>

<file path=ppt/slides/slide5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743E29-3932-4EB8-86D4-F83F46D63AC3}"/>
              </a:ext>
            </a:extLst>
          </p:cNvPr>
          <p:cNvSpPr>
            <a:spLocks noGrp="1"/>
          </p:cNvSpPr>
          <p:nvPr>
            <p:ph type="title"/>
          </p:nvPr>
        </p:nvSpPr>
        <p:spPr/>
        <p:txBody>
          <a:bodyPr/>
          <a:lstStyle/>
          <a:p>
            <a:r>
              <a:rPr lang="en-US"/>
              <a:t>Creating Timers - Example</a:t>
            </a:r>
          </a:p>
        </p:txBody>
      </p:sp>
      <p:sp>
        <p:nvSpPr>
          <p:cNvPr id="4" name="Code Box">
            <a:extLst>
              <a:ext uri="{FF2B5EF4-FFF2-40B4-BE49-F238E27FC236}">
                <a16:creationId xmlns:a16="http://schemas.microsoft.com/office/drawing/2014/main" id="{2F02BE39-6A21-4DCA-A890-7FF37C3E59E0}"/>
              </a:ext>
            </a:extLst>
          </p:cNvPr>
          <p:cNvSpPr>
            <a:spLocks/>
          </p:cNvSpPr>
          <p:nvPr>
            <p:custDataLst>
              <p:tags r:id="rId2"/>
            </p:custDataLst>
          </p:nvPr>
        </p:nvSpPr>
        <p:spPr>
          <a:xfrm>
            <a:off x="655638" y="1408113"/>
            <a:ext cx="10880725" cy="4819650"/>
          </a:xfrm>
          <a:prstGeom prst="rect">
            <a:avLst/>
          </a:prstGeom>
          <a:solidFill>
            <a:srgbClr val="012456"/>
          </a:solidFill>
        </p:spPr>
        <p:txBody>
          <a:bodyPr wrap="square">
            <a:noAutofit/>
          </a:bodyPr>
          <a:lstStyle/>
          <a:p>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rawform</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add_sourceinitialized</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a:t>
            </a:r>
            <a:r>
              <a:rPr lang="en-US" sz="2000">
                <a:solidFill>
                  <a:srgbClr val="98FB98"/>
                </a:solidFill>
                <a:latin typeface="Lucida Console" panose="020B0609040504020204" pitchFamily="49" charset="0"/>
              </a:rPr>
              <a:t>#create timer object</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timer</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new-object</a:t>
            </a:r>
            <a:r>
              <a:rPr lang="en-US" sz="2000">
                <a:solidFill>
                  <a:srgbClr val="F5F5F5"/>
                </a:solidFill>
                <a:latin typeface="Lucida Console" panose="020B0609040504020204" pitchFamily="49" charset="0"/>
              </a:rPr>
              <a:t> </a:t>
            </a:r>
            <a:r>
              <a:rPr lang="en-US" sz="2000" err="1">
                <a:solidFill>
                  <a:srgbClr val="EE82EE"/>
                </a:solidFill>
                <a:latin typeface="Lucida Console" panose="020B0609040504020204" pitchFamily="49" charset="0"/>
              </a:rPr>
              <a:t>System.Windows.Threading.DispatcherTimer</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timer</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interval</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timespan</a:t>
            </a:r>
            <a:r>
              <a:rPr lang="en-US" sz="2000">
                <a:solidFill>
                  <a:srgbClr val="D3D3D3"/>
                </a:solidFill>
                <a:latin typeface="Lucida Console" panose="020B0609040504020204" pitchFamily="49" charset="0"/>
              </a:rPr>
              <a:t>]</a:t>
            </a:r>
            <a:r>
              <a:rPr lang="en-US" sz="2000">
                <a:solidFill>
                  <a:srgbClr val="DB7093"/>
                </a:solidFill>
                <a:latin typeface="Lucida Console" panose="020B0609040504020204" pitchFamily="49" charset="0"/>
              </a:rPr>
              <a:t>"0:0:1"</a:t>
            </a:r>
            <a:endParaRPr lang="en-US" sz="2000">
              <a:solidFill>
                <a:srgbClr val="F5F5F5"/>
              </a:solidFill>
              <a:latin typeface="Lucida Console" panose="020B0609040504020204" pitchFamily="49" charset="0"/>
            </a:endParaRPr>
          </a:p>
          <a:p>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r>
              <a:rPr lang="en-US" sz="2000">
                <a:solidFill>
                  <a:srgbClr val="98FB98"/>
                </a:solidFill>
                <a:latin typeface="Lucida Console" panose="020B0609040504020204" pitchFamily="49" charset="0"/>
              </a:rPr>
              <a:t>#add event per tick</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timer</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add_tick</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DataContext</a:t>
            </a:r>
            <a:r>
              <a:rPr lang="en-US" sz="2000">
                <a:solidFill>
                  <a:srgbClr val="D3D3D3"/>
                </a:solidFill>
                <a:latin typeface="Lucida Console" panose="020B0609040504020204" pitchFamily="49" charset="0"/>
              </a:rPr>
              <a:t>[</a:t>
            </a:r>
            <a:r>
              <a:rPr lang="en-US" sz="2000">
                <a:solidFill>
                  <a:srgbClr val="FFE4C4"/>
                </a:solidFill>
                <a:latin typeface="Lucida Console" panose="020B0609040504020204" pitchFamily="49" charset="0"/>
              </a:rPr>
              <a:t>0</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get-date</a:t>
            </a:r>
            <a:r>
              <a:rPr lang="en-US" sz="2000">
                <a:solidFill>
                  <a:srgbClr val="F5F5F5"/>
                </a:solidFill>
                <a:latin typeface="Lucida Console" panose="020B0609040504020204" pitchFamily="49" charset="0"/>
              </a:rPr>
              <a:t> </a:t>
            </a:r>
            <a:r>
              <a:rPr lang="en-US" sz="2000">
                <a:solidFill>
                  <a:srgbClr val="FFE4B5"/>
                </a:solidFill>
                <a:latin typeface="Lucida Console" panose="020B0609040504020204" pitchFamily="49" charset="0"/>
              </a:rPr>
              <a:t>-f</a:t>
            </a:r>
            <a:r>
              <a:rPr lang="en-US" sz="2000">
                <a:solidFill>
                  <a:srgbClr val="F5F5F5"/>
                </a:solidFill>
                <a:latin typeface="Lucida Console" panose="020B0609040504020204" pitchFamily="49" charset="0"/>
              </a:rPr>
              <a:t> </a:t>
            </a:r>
            <a:r>
              <a:rPr lang="en-US" sz="2000" err="1">
                <a:solidFill>
                  <a:srgbClr val="EE82EE"/>
                </a:solidFill>
                <a:latin typeface="Lucida Console" panose="020B0609040504020204" pitchFamily="49" charset="0"/>
              </a:rPr>
              <a:t>HH:mm:ss</a:t>
            </a:r>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p>
          <a:p>
            <a:endParaRPr lang="en-US" sz="2000">
              <a:solidFill>
                <a:srgbClr val="F5F5F5"/>
              </a:solidFill>
              <a:latin typeface="Lucida Console" panose="020B0609040504020204" pitchFamily="49" charset="0"/>
            </a:endParaRPr>
          </a:p>
          <a:p>
            <a:r>
              <a:rPr lang="en-US" sz="2000">
                <a:solidFill>
                  <a:srgbClr val="FF4500"/>
                </a:solidFill>
                <a:latin typeface="Lucida Console" panose="020B0609040504020204" pitchFamily="49" charset="0"/>
              </a:rPr>
              <a:t>	$</a:t>
            </a:r>
            <a:r>
              <a:rPr lang="en-US" sz="2000" err="1">
                <a:solidFill>
                  <a:srgbClr val="FF4500"/>
                </a:solidFill>
                <a:latin typeface="Lucida Console" panose="020B0609040504020204" pitchFamily="49" charset="0"/>
              </a:rPr>
              <a:t>timer</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start</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a:t>
            </a:r>
          </a:p>
        </p:txBody>
      </p:sp>
    </p:spTree>
    <p:custDataLst>
      <p:tags r:id="rId1"/>
    </p:custDataLst>
    <p:extLst>
      <p:ext uri="{BB962C8B-B14F-4D97-AF65-F5344CB8AC3E}">
        <p14:creationId xmlns:p14="http://schemas.microsoft.com/office/powerpoint/2010/main" val="2234774238"/>
      </p:ext>
    </p:extLst>
  </p:cSld>
  <p:clrMapOvr>
    <a:masterClrMapping/>
  </p:clrMapOvr>
  <p:transition spd="slow"/>
</p:sld>
</file>

<file path=ppt/slides/slide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E84FF2-257C-4392-B779-D9D02C0B9FB2}"/>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GUIs for PowerShell</a:t>
            </a:r>
          </a:p>
        </p:txBody>
      </p:sp>
      <p:graphicFrame>
        <p:nvGraphicFramePr>
          <p:cNvPr id="4" name="Diagram 3">
            <a:extLst>
              <a:ext uri="{FF2B5EF4-FFF2-40B4-BE49-F238E27FC236}">
                <a16:creationId xmlns:a16="http://schemas.microsoft.com/office/drawing/2014/main" id="{C7E8F00D-37DD-A2A9-4FDA-5C66C45B1DB1}"/>
              </a:ext>
            </a:extLst>
          </p:cNvPr>
          <p:cNvGraphicFramePr/>
          <p:nvPr>
            <p:extLst>
              <p:ext uri="{D42A27DB-BD31-4B8C-83A1-F6EECF244321}">
                <p14:modId xmlns:p14="http://schemas.microsoft.com/office/powerpoint/2010/main" val="3435434274"/>
              </p:ext>
            </p:extLst>
          </p:nvPr>
        </p:nvGraphicFramePr>
        <p:xfrm>
          <a:off x="655638" y="781705"/>
          <a:ext cx="5529406" cy="575625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5">
            <a:extLst>
              <a:ext uri="{FF2B5EF4-FFF2-40B4-BE49-F238E27FC236}">
                <a16:creationId xmlns:a16="http://schemas.microsoft.com/office/drawing/2014/main" id="{78902143-94B8-84AC-E96B-A02FC28CE9BE}"/>
              </a:ext>
            </a:extLst>
          </p:cNvPr>
          <p:cNvPicPr>
            <a:picLocks noChangeAspect="1"/>
          </p:cNvPicPr>
          <p:nvPr/>
        </p:nvPicPr>
        <p:blipFill>
          <a:blip r:embed="rId9"/>
          <a:stretch>
            <a:fillRect/>
          </a:stretch>
        </p:blipFill>
        <p:spPr>
          <a:xfrm>
            <a:off x="6309360" y="1554480"/>
            <a:ext cx="5631381" cy="4206240"/>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4275759498"/>
      </p:ext>
    </p:extLst>
  </p:cSld>
  <p:clrMapOvr>
    <a:masterClrMapping/>
  </p:clrMapOvr>
  <p:transition spd="slow"/>
</p:sld>
</file>

<file path=ppt/slides/slide7.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655408650"/>
      </p:ext>
    </p:extLst>
  </p:cSld>
  <p:clrMapOvr>
    <a:masterClrMapping/>
  </p:clrMapOvr>
  <p:transition spd="slow"/>
</p:sld>
</file>

<file path=ppt/slides/slide8.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a:prstGeom prst="rect">
            <a:avLst/>
          </a:prstGeom>
          <a:ln>
            <a:noFill/>
          </a:ln>
        </p:spPr>
        <p:txBody>
          <a:bodyPr wrap="square" anchor="t">
            <a:normAutofit/>
          </a:bodyPr>
          <a:lstStyle/>
          <a:p>
            <a:r>
              <a:rPr lang="en-US"/>
              <a:t>Introduction to Visual Studio</a:t>
            </a:r>
          </a:p>
        </p:txBody>
      </p:sp>
      <p:pic>
        <p:nvPicPr>
          <p:cNvPr id="6" name="Picture 5">
            <a:extLst>
              <a:ext uri="{FF2B5EF4-FFF2-40B4-BE49-F238E27FC236}">
                <a16:creationId xmlns:a16="http://schemas.microsoft.com/office/drawing/2014/main" id="{EAFDCA4A-6716-4610-B5A2-F9497C466536}"/>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333682" y="10"/>
            <a:ext cx="6858000" cy="6861514"/>
          </a:xfrm>
          <a:prstGeom prst="rect">
            <a:avLst/>
          </a:prstGeom>
          <a:noFill/>
        </p:spPr>
      </p:pic>
    </p:spTree>
    <p:custDataLst>
      <p:tags r:id="rId1"/>
    </p:custDataLst>
    <p:extLst>
      <p:ext uri="{BB962C8B-B14F-4D97-AF65-F5344CB8AC3E}">
        <p14:creationId xmlns:p14="http://schemas.microsoft.com/office/powerpoint/2010/main" val="2871099743"/>
      </p:ext>
    </p:extLst>
  </p:cSld>
  <p:clrMapOvr>
    <a:masterClrMapping/>
  </p:clrMapOvr>
  <p:transition spd="slow"/>
</p:sld>
</file>

<file path=ppt/slides/slide9.xml><?xml version="1.0" encoding="utf-8"?>
<p:sld xmlns:a16="http://schemas.microsoft.com/office/drawing/2014/main"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E89D95-6FCA-45C6-981C-9C1CE7F8DD25}"/>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Visual Studio for XAML</a:t>
            </a:r>
          </a:p>
        </p:txBody>
      </p:sp>
      <p:graphicFrame>
        <p:nvGraphicFramePr>
          <p:cNvPr id="2" name="Text Placeholder 5">
            <a:extLst>
              <a:ext uri="{FF2B5EF4-FFF2-40B4-BE49-F238E27FC236}">
                <a16:creationId xmlns:a16="http://schemas.microsoft.com/office/drawing/2014/main" id="{D78879B1-3866-DE7B-42F6-0AF9A9244D0A}"/>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857020342"/>
              </p:ext>
            </p:extLst>
          </p:nvPr>
        </p:nvGraphicFramePr>
        <p:xfrm>
          <a:off x="655637" y="781705"/>
          <a:ext cx="10880726" cy="551878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979368761"/>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_V2" val="﻿&lt;?xml version=&quot;1.0&quot; encoding=&quot;utf-8&quot;?&gt;&lt;ArrayOfNativeSection xmlns:xsi=&quot;http://www.w3.org/2001/XMLSchema-instance&quot; xmlns:xsd=&quot;http://www.w3.org/2001/XMLSchema&quot;&gt;&lt;NativeSection&gt;&lt;SectionId&gt;{76457832-FE9F-4484-96F1-3A79F5F1BD44}&lt;/SectionId&gt;&lt;Name&gt;WorkshoppLUS - Windows PowerShell: Tool Building&lt;/Name&gt;&lt;SlidesCount&gt;3&lt;/SlidesCount&gt;&lt;SlideGuids /&gt;&lt;/NativeSection&gt;&lt;NativeSection&gt;&lt;SectionId&gt;{9344E5D5-73E2-42C3-AD3D-BE77B2EF0E21}&lt;/SectionId&gt;&lt;Name&gt;Windows Presentation Framework Introduction&lt;/Name&gt;&lt;SlidesCount&gt;6&lt;/SlidesCount&gt;&lt;SlideGuids /&gt;&lt;/NativeSection&gt;&lt;NativeSection&gt;&lt;SectionId&gt;{11C138CB-6755-45EE-81E8-C4A63B798C05}&lt;/SectionId&gt;&lt;Name&gt;Introduction to Visual Studio&lt;/Name&gt;&lt;SlidesCount&gt;10&lt;/SlidesCount&gt;&lt;SlideGuids /&gt;&lt;/NativeSection&gt;&lt;NativeSection&gt;&lt;SectionId&gt;{79C85452-472E-4756-B4CD-CDE891C91F75}&lt;/SectionId&gt;&lt;Name&gt;Graphical User Interface Design&lt;/Name&gt;&lt;SlidesCount&gt;9&lt;/SlidesCount&gt;&lt;SlideGuids /&gt;&lt;/NativeSection&gt;&lt;NativeSection&gt;&lt;SectionId&gt;{B46C13D4-1F8E-47B8-BBC2-5A39CAD22BE6}&lt;/SectionId&gt;&lt;Name&gt;Your first GUI&lt;/Name&gt;&lt;SlidesCount&gt;8&lt;/SlidesCount&gt;&lt;SlideGuids /&gt;&lt;/NativeSection&gt;&lt;NativeSection&gt;&lt;SectionId&gt;{E31CC2E4-E33A-4CDD-9628-E4C82431146E}&lt;/SectionId&gt;&lt;Name&gt;Advanced GUI Design&lt;/Name&gt;&lt;SlidesCount&gt;5&lt;/SlidesCount&gt;&lt;SlideGuids /&gt;&lt;/NativeSection&gt;&lt;NativeSection&gt;&lt;SectionId&gt;{406BDCCF-1BEF-4B3E-A70A-2E77C55ED611}&lt;/SectionId&gt;&lt;Name&gt;Code Behind a Form&lt;/Name&gt;&lt;SlidesCount&gt;12&lt;/SlidesCount&gt;&lt;SlideGuids /&gt;&lt;/NativeSection&gt;&lt;NativeSection&gt;&lt;SectionId&gt;{8EF8E9EC-1FCF-4D7B-85AD-4D23D03D314D}&lt;/SectionId&gt;&lt;Name&gt;Advanced Techniques&lt;/Name&gt;&lt;SlidesCount&gt;8&lt;/SlidesCount&gt;&lt;SlideGuids /&gt;&lt;/NativeSection&gt;&lt;NativeSection&gt;&lt;SectionId&gt;{E08F81B2-EE4F-4ED6-8900-B6AA612CDEEB}&lt;/SectionId&gt;&lt;Name&gt;Lab: PowerShell Graphical User Interfaces&lt;/Name&gt;&lt;SlidesCount&gt;2&lt;/SlidesCount&gt;&lt;SlideGuids /&gt;&lt;/NativeSection&gt;&lt;/ArrayOfNativeSection&gt;"/>
  <p:tag name="MIO_EKGUID" val="84461af8-3aac-4a34-b776-39fa0bcb53e3"/>
  <p:tag name="MIO_UPDATE" val="True"/>
  <p:tag name="MIO_VERSION" val="02.03.2020 13:02:54"/>
  <p:tag name="MIO_DBID" val="12B0C59E-2253-4124-A5E9-470ADF4CB168"/>
  <p:tag name="MIO_LASTDOWNLOADED" val="17.11.2020 15:01:50"/>
  <p:tag name="MIO_OBJECTNAME" val="M10 Create a GUI in PowerShell"/>
  <p:tag name="MIO_LASTEDITORNAME" val=""/>
</p:tagLst>
</file>

<file path=ppt/tags/tag10.xml><?xml version="1.0" encoding="utf-8"?>
<p:tagLst xmlns:a="http://schemas.openxmlformats.org/drawingml/2006/main" xmlns:r="http://schemas.openxmlformats.org/officeDocument/2006/relationships" xmlns:p="http://schemas.openxmlformats.org/presentationml/2006/main">
  <p:tag name="MIO_GUID" val="59ce26dd-14bc-41ef-b5a9-19d033191fe9"/>
  <p:tag name="MIO_EKGUID" val="79610b40-7bc5-4aed-90f8-2b6d566aba16"/>
  <p:tag name="MIO_UPDATE" val="True"/>
  <p:tag name="MIO_VERSION" val="02.03.2020 12:29:06"/>
  <p:tag name="MIO_DBID" val="12b0c59e-2253-4124-a5e9-470adf4cb168"/>
  <p:tag name="MIO_LASTDOWNLOADED" val="02.03.2020 13:02:58"/>
  <p:tag name="MIO_OBJECTNAME" val="Windows Presentation Framework"/>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a2137df9-8511-4607-b98d-2f357e2c2833"/>
  <p:tag name="MIO_EKGUID" val="dbdbd017-b0ab-4a17-a69d-6370409b3790"/>
  <p:tag name="MIO_UPDATE" val="True"/>
  <p:tag name="MIO_VERSION" val="02.03.2020 12:29:06"/>
  <p:tag name="MIO_DBID" val="12b0c59e-2253-4124-a5e9-470adf4cb168"/>
  <p:tag name="MIO_LASTDOWNLOADED" val="02.03.2020 13:02:58"/>
  <p:tag name="MIO_OBJECTNAME" val="Why Use WPF in PowerShell"/>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2a9c79c3-865a-4fe6-a39a-0d7cecaff007"/>
  <p:tag name="MIO_UPDATE" val="True"/>
  <p:tag name="MIO_VERSION" val="02.03.2020 12:29:07"/>
  <p:tag name="MIO_DBID" val="12b0c59e-2253-4124-a5e9-470adf4cb168"/>
  <p:tag name="MIO_LASTDOWNLOADED" val="02.03.2020 13:02:59"/>
  <p:tag name="MIO_OBJECTNAME" val="Questions?"/>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e0cab70d-1926-4fdf-a571-97f04d3069bc"/>
  <p:tag name="MIO_EKGUID" val="8bd1b018-fd3c-4a24-a2ca-b9fc63bccca6"/>
  <p:tag name="MIO_UPDATE" val="True"/>
  <p:tag name="MIO_VERSION" val="02.03.2020 12:29:07"/>
  <p:tag name="MIO_DBID" val="12b0c59e-2253-4124-a5e9-470adf4cb168"/>
  <p:tag name="MIO_LASTDOWNLOADED" val="02.03.2020 13:02:59"/>
  <p:tag name="MIO_OBJECTNAME" val="Introduction to Visual Studio"/>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f9e65055-7f71-4b40-83f2-93bfdf05ce52"/>
  <p:tag name="MIO_EKGUID" val="512c93b8-ec85-4132-914a-db36c5dbd63c"/>
  <p:tag name="MIO_UPDATE" val="True"/>
  <p:tag name="MIO_VERSION" val="02.03.2020 12:29:07"/>
  <p:tag name="MIO_DBID" val="12b0c59e-2253-4124-a5e9-470adf4cb168"/>
  <p:tag name="MIO_LASTDOWNLOADED" val="02.03.2020 13:02:59"/>
  <p:tag name="MIO_OBJECTNAME" val="Why Use Visual Studio for XAML?"/>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f9e65055-7f71-4b40-83f2-93bfdf05ce52"/>
  <p:tag name="MIO_EKGUID" val="512c93b8-ec85-4132-914a-db36c5dbd63c"/>
  <p:tag name="MIO_UPDATE" val="True"/>
  <p:tag name="MIO_VERSION" val="02.03.2020 12:29:07"/>
  <p:tag name="MIO_DBID" val="12b0c59e-2253-4124-a5e9-470adf4cb168"/>
  <p:tag name="MIO_LASTDOWNLOADED" val="02.03.2020 13:02:59"/>
  <p:tag name="MIO_OBJECTNAME" val="Why Use Visual Studio for XAML?"/>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3cb2d54a-dc2a-4c99-9d7e-69e837c69cad"/>
  <p:tag name="MIO_EKGUID" val="9b2f6f4f-d5c4-49be-a6b2-4ad57c94d192"/>
  <p:tag name="MIO_UPDATE" val="True"/>
  <p:tag name="MIO_VERSION" val="02.03.2020 12:29:07"/>
  <p:tag name="MIO_DBID" val="12b0c59e-2253-4124-a5e9-470adf4cb168"/>
  <p:tag name="MIO_LASTDOWNLOADED" val="02.03.2020 13:02:59"/>
  <p:tag name="MIO_OBJECTNAME" val="Creating a XAML project"/>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73ffa27a-6905-43d5-9c3b-236b33ab5c28"/>
  <p:tag name="MIO_EKGUID" val="e78c395f-1235-4288-b35c-cf7c570c037e"/>
  <p:tag name="MIO_UPDATE" val="True"/>
  <p:tag name="MIO_VERSION" val="02.03.2020 12:29:07"/>
  <p:tag name="MIO_DBID" val="12b0c59e-2253-4124-a5e9-470adf4cb168"/>
  <p:tag name="MIO_LASTDOWNLOADED" val="02.03.2020 13:02:59"/>
  <p:tag name="MIO_OBJECTNAME" val="Visual Studio Layout  (continued)"/>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73ffa27a-6905-43d5-9c3b-236b33ab5c28"/>
  <p:tag name="MIO_EKGUID" val="e78c395f-1235-4288-b35c-cf7c570c037e"/>
  <p:tag name="MIO_UPDATE" val="True"/>
  <p:tag name="MIO_VERSION" val="02.03.2020 12:29:07"/>
  <p:tag name="MIO_DBID" val="12b0c59e-2253-4124-a5e9-470adf4cb168"/>
  <p:tag name="MIO_LASTDOWNLOADED" val="02.03.2020 13:02:59"/>
  <p:tag name="MIO_OBJECTNAME" val="Visual Studio Layout  (continued)"/>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9b059f27-637c-4f1d-8351-2096a288053b"/>
  <p:tag name="MIO_UPDATE" val="True"/>
  <p:tag name="MIO_VERSION" val="02.03.2020 12:29:07"/>
  <p:tag name="MIO_DBID" val="12b0c59e-2253-4124-a5e9-470adf4cb168"/>
  <p:tag name="MIO_LASTDOWNLOADED" val="02.03.2020 13:03:00"/>
  <p:tag name="MIO_OBJECTNAME" val="Demonstration"/>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93a76f6a-6876-4b0f-b7ce-00ce9a700cc6"/>
  <p:tag name="MIO_UPDATE" val="True"/>
  <p:tag name="MIO_VERSION" val="20.09.2019 20:13:13"/>
  <p:tag name="MIO_DBID" val="12B0C59E-2253-4124-A5E9-470ADF4CB168"/>
  <p:tag name="MIO_LASTDOWNLOADED" val="13.12.2019 11:59:17"/>
  <p:tag name="MIO_OBJECTNAME" val="Demo 01"/>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03718b0a-1246-4492-8f03-c78394e90427"/>
  <p:tag name="MIO_UPDATE" val="True"/>
  <p:tag name="MIO_VERSION" val="02.03.2020 12:29:08"/>
  <p:tag name="MIO_DBID" val="12b0c59e-2253-4124-a5e9-470adf4cb168"/>
  <p:tag name="MIO_LASTDOWNLOADED" val="02.03.2020 13:03:00"/>
  <p:tag name="MIO_OBJECTNAME" val="Questions? (2)"/>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9b7aae20-6851-4534-bcd6-190955ff0678"/>
  <p:tag name="MIO_EKGUID" val="366e31fb-21cb-46cf-9adb-d95c6e2f701e"/>
  <p:tag name="MIO_UPDATE" val="True"/>
  <p:tag name="MIO_VERSION" val="02.03.2020 12:29:08"/>
  <p:tag name="MIO_DBID" val="12b0c59e-2253-4124-a5e9-470adf4cb168"/>
  <p:tag name="MIO_LASTDOWNLOADED" val="02.03.2020 13:03:00"/>
  <p:tag name="MIO_OBJECTNAME" val="Graphical User Interface Design"/>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886ef388-c8e8-48d9-968f-1973629f2b26"/>
  <p:tag name="MIO_EKGUID" val="98d992cb-4f65-4807-9361-5133689527fd"/>
  <p:tag name="MIO_UPDATE" val="True"/>
  <p:tag name="MIO_VERSION" val="02.03.2020 12:29:08"/>
  <p:tag name="MIO_DBID" val="12b0c59e-2253-4124-a5e9-470adf4cb168"/>
  <p:tag name="MIO_LASTDOWNLOADED" val="02.03.2020 13:03:00"/>
  <p:tag name="MIO_OBJECTNAME" val="XAML Controls"/>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aa04ec43-c604-4a73-b2eb-0ef0ee77f79c"/>
  <p:tag name="MIO_EKGUID" val="dafb3762-f513-4e69-bb0e-4687d6422df8"/>
  <p:tag name="MIO_UPDATE" val="True"/>
  <p:tag name="MIO_VERSION" val="02.03.2020 12:29:08"/>
  <p:tag name="MIO_DBID" val="12b0c59e-2253-4124-a5e9-470adf4cb168"/>
  <p:tag name="MIO_LASTDOWNLOADED" val="02.03.2020 13:03:00"/>
  <p:tag name="MIO_OBJECTNAME" val="Basic GUI controls"/>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aa04ec43-c604-4a73-b2eb-0ef0ee77f79c"/>
  <p:tag name="MIO_EKGUID" val="dafb3762-f513-4e69-bb0e-4687d6422df8"/>
  <p:tag name="MIO_UPDATE" val="True"/>
  <p:tag name="MIO_VERSION" val="02.03.2020 12:29:08"/>
  <p:tag name="MIO_DBID" val="12b0c59e-2253-4124-a5e9-470adf4cb168"/>
  <p:tag name="MIO_LASTDOWNLOADED" val="02.03.2020 13:03:00"/>
  <p:tag name="MIO_OBJECTNAME" val="Basic GUI controls"/>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6ed700c0-949b-4693-b580-47adfdad5a92"/>
  <p:tag name="MIO_EKGUID" val="c935979b-7a55-4fd7-80cf-d3196c110696"/>
  <p:tag name="MIO_UPDATE" val="True"/>
  <p:tag name="MIO_VERSION" val="02.03.2020 12:29:08"/>
  <p:tag name="MIO_DBID" val="12b0c59e-2253-4124-a5e9-470adf4cb168"/>
  <p:tag name="MIO_LASTDOWNLOADED" val="02.03.2020 13:03:00"/>
  <p:tag name="MIO_OBJECTNAME" val="WPF GUI design"/>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5d631883-4a47-497f-afea-43ec9d94e7a2"/>
  <p:tag name="MIO_UPDATE" val="True"/>
  <p:tag name="MIO_VERSION" val="02.03.2020 12:29:08"/>
  <p:tag name="MIO_DBID" val="12b0c59e-2253-4124-a5e9-470adf4cb168"/>
  <p:tag name="MIO_LASTDOWNLOADED" val="02.03.2020 13:03:00"/>
  <p:tag name="MIO_OBJECTNAME" val="Demonstration (2)"/>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213f7d29-0a29-4896-88ff-4e4bb9b459d8"/>
  <p:tag name="MIO_UPDATE" val="True"/>
  <p:tag name="MIO_VERSION" val="20.09.2019 20:13:13"/>
  <p:tag name="MIO_DBID" val="12B0C59E-2253-4124-A5E9-470ADF4CB168"/>
  <p:tag name="MIO_LASTDOWNLOADED" val="13.12.2019 11:59:08"/>
  <p:tag name="MIO_OBJECTNAME" val="Demo 01"/>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72fdfda6-c058-4d91-8a81-0f95fa04b9b5"/>
  <p:tag name="MIO_UPDATE" val="True"/>
  <p:tag name="MIO_VERSION" val="02.03.2020 12:29:09"/>
  <p:tag name="MIO_DBID" val="12b0c59e-2253-4124-a5e9-470adf4cb168"/>
  <p:tag name="MIO_LASTDOWNLOADED" val="02.03.2020 13:03:00"/>
  <p:tag name="MIO_OBJECTNAME" val="Demonstration (3)"/>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545938d6-aa14-4da5-a432-3d890d58baf3"/>
  <p:tag name="MIO_UPDATE" val="True"/>
  <p:tag name="MIO_VERSION" val="20.09.2019 20:13:13"/>
  <p:tag name="MIO_DBID" val="12B0C59E-2253-4124-A5E9-470ADF4CB168"/>
  <p:tag name="MIO_LASTDOWNLOADED" val="13.12.2019 12:00:20"/>
  <p:tag name="MIO_OBJECTNAME" val="Demo 01"/>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2962b241-d80f-47d4-a6ad-fcba43fc0096"/>
  <p:tag name="MIO_UPDATE" val="True"/>
  <p:tag name="MIO_VERSION" val="02.03.2020 12:29:09"/>
  <p:tag name="MIO_DBID" val="12b0c59e-2253-4124-a5e9-470adf4cb168"/>
  <p:tag name="MIO_LASTDOWNLOADED" val="02.03.2020 13:03:01"/>
  <p:tag name="MIO_OBJECTNAME" val="Demonstration (4)"/>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b9d59480-4237-4381-ad6f-855bd6aca0d6"/>
  <p:tag name="MIO_UPDATE" val="True"/>
  <p:tag name="MIO_VERSION" val="20.09.2019 20:13:13"/>
  <p:tag name="MIO_DBID" val="12B0C59E-2253-4124-A5E9-470ADF4CB168"/>
  <p:tag name="MIO_LASTDOWNLOADED" val="13.12.2019 12:00:15"/>
  <p:tag name="MIO_OBJECTNAME" val="Demo 01"/>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ca9e1933-4c89-4b30-a47d-944eb8838495"/>
  <p:tag name="MIO_UPDATE" val="True"/>
  <p:tag name="MIO_VERSION" val="02.03.2020 12:29:09"/>
  <p:tag name="MIO_DBID" val="12b0c59e-2253-4124-a5e9-470adf4cb168"/>
  <p:tag name="MIO_LASTDOWNLOADED" val="02.03.2020 13:03:01"/>
  <p:tag name="MIO_OBJECTNAME" val="Questions? (3)"/>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GUID" val="05e2e4eb-3636-45bf-83af-2559bc340d6e"/>
  <p:tag name="MIO_EKGUID" val="a95869ad-18d4-4865-9d19-b5ace552de2d"/>
  <p:tag name="MIO_UPDATE" val="True"/>
  <p:tag name="MIO_VERSION" val="02.03.2020 12:29:09"/>
  <p:tag name="MIO_DBID" val="12b0c59e-2253-4124-a5e9-470adf4cb168"/>
  <p:tag name="MIO_LASTDOWNLOADED" val="02.03.2020 13:03:01"/>
  <p:tag name="MIO_OBJECTNAME" val="Your first GUI"/>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GUID" val="69e6b5ff-290f-4cda-b6b1-10505bbdd8d7"/>
  <p:tag name="MIO_EKGUID" val="9272985f-3a45-48b5-bbb1-8a6b0643b56f"/>
  <p:tag name="MIO_UPDATE" val="True"/>
  <p:tag name="MIO_VERSION" val="02.03.2020 12:29:09"/>
  <p:tag name="MIO_DBID" val="12b0c59e-2253-4124-a5e9-470adf4cb168"/>
  <p:tag name="MIO_LASTDOWNLOADED" val="02.03.2020 13:03:01"/>
  <p:tag name="MIO_OBJECTNAME" val="WPF / XAML GUI Workflow"/>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GUID" val="69e6b5ff-290f-4cda-b6b1-10505bbdd8d7"/>
  <p:tag name="MIO_EKGUID" val="9272985f-3a45-48b5-bbb1-8a6b0643b56f"/>
  <p:tag name="MIO_UPDATE" val="True"/>
  <p:tag name="MIO_VERSION" val="02.03.2020 12:29:09"/>
  <p:tag name="MIO_DBID" val="12b0c59e-2253-4124-a5e9-470adf4cb168"/>
  <p:tag name="MIO_LASTDOWNLOADED" val="02.03.2020 13:03:01"/>
  <p:tag name="MIO_OBJECTNAME" val="WPF / XAML GUI Workflow"/>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GUID" val="63753b48-e8f7-4eb7-bdc6-89c778b1065e"/>
  <p:tag name="MIO_EKGUID" val="bf6e8ceb-a487-4f7d-8df8-ba7de94afc38"/>
  <p:tag name="MIO_UPDATE" val="True"/>
  <p:tag name="MIO_VERSION" val="02.03.2020 12:29:10"/>
  <p:tag name="MIO_DBID" val="12b0c59e-2253-4124-a5e9-470adf4cb168"/>
  <p:tag name="MIO_LASTDOWNLOADED" val="02.03.2020 13:03:01"/>
  <p:tag name="MIO_OBJECTNAME" val="Preparing the XAML Code for PowerShell"/>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6.12.2019 11:08:48"/>
  <p:tag name="MIO_OBJECTNAME" val="Code Box"/>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GUID" val="25b37a22-ecbf-4612-9564-469362e62bce"/>
  <p:tag name="MIO_EKGUID" val="bac8a108-0a13-42b3-8943-df1fa6bd4df4"/>
  <p:tag name="MIO_UPDATE" val="True"/>
  <p:tag name="MIO_VERSION" val="02.03.2020 12:29:10"/>
  <p:tag name="MIO_DBID" val="12b0c59e-2253-4124-a5e9-470adf4cb168"/>
  <p:tag name="MIO_LASTDOWNLOADED" val="02.03.2020 13:03:01"/>
  <p:tag name="MIO_OBJECTNAME" val="Converting GUI Form to Hash Table"/>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6.12.2019 11:08:48"/>
  <p:tag name="MIO_OBJECTNAME" val="Code Box"/>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97e72819-7c95-4972-8577-290f295666ae"/>
  <p:tag name="MIO_UPDATE" val="True"/>
  <p:tag name="MIO_VERSION" val="02.03.2020 12:29:10"/>
  <p:tag name="MIO_DBID" val="12b0c59e-2253-4124-a5e9-470adf4cb168"/>
  <p:tag name="MIO_LASTDOWNLOADED" val="02.03.2020 13:03:02"/>
  <p:tag name="MIO_OBJECTNAME" val="Demonstration (5)"/>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baef8c94-f5a3-4c95-8c3c-21fd85106514"/>
  <p:tag name="MIO_UPDATE" val="True"/>
  <p:tag name="MIO_VERSION" val="20.09.2019 20:13:13"/>
  <p:tag name="MIO_DBID" val="12B0C59E-2253-4124-A5E9-470ADF4CB168"/>
  <p:tag name="MIO_LASTDOWNLOADED" val="13.12.2019 12:01:46"/>
  <p:tag name="MIO_OBJECTNAME" val="Demo 01"/>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925c0341-72f2-4a79-85e3-ba971e87ac16"/>
  <p:tag name="MIO_UPDATE" val="True"/>
  <p:tag name="MIO_VERSION" val="02.03.2020 12:29:10"/>
  <p:tag name="MIO_DBID" val="12b0c59e-2253-4124-a5e9-470adf4cb168"/>
  <p:tag name="MIO_LASTDOWNLOADED" val="02.03.2020 13:03:02"/>
  <p:tag name="MIO_OBJECTNAME" val="Questions? (4)"/>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27.02.2020 19:55:55"/>
  <p:tag name="MIO_OBJECTNAME" val="Light Grey"/>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MIO_GUID" val="647c41b2-8231-4b05-9b2b-19e46267d989"/>
  <p:tag name="MIO_EKGUID" val="649cf0b5-d476-49d4-8498-c0da33dc1a9f"/>
  <p:tag name="MIO_UPDATE" val="True"/>
  <p:tag name="MIO_VERSION" val="02.03.2020 12:29:11"/>
  <p:tag name="MIO_DBID" val="12b0c59e-2253-4124-a5e9-470adf4cb168"/>
  <p:tag name="MIO_LASTDOWNLOADED" val="02.03.2020 13:03:02"/>
  <p:tag name="MIO_OBJECTNAME" val="Advanced GUI Design"/>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5cce5810-088e-40d9-be31-b17f86aa85c3"/>
  <p:tag name="MIO_UPDATE" val="True"/>
  <p:tag name="MIO_VERSION" val="02.03.2020 12:29:11"/>
  <p:tag name="MIO_DBID" val="12b0c59e-2253-4124-a5e9-470adf4cb168"/>
  <p:tag name="MIO_LASTDOWNLOADED" val="02.03.2020 13:03:02"/>
  <p:tag name="MIO_OBJECTNAME" val="Demonstration (6)"/>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a8e53ceb-fa67-4535-9f32-99d32dad7355"/>
  <p:tag name="MIO_UPDATE" val="True"/>
  <p:tag name="MIO_VERSION" val="20.09.2019 20:13:13"/>
  <p:tag name="MIO_DBID" val="12B0C59E-2253-4124-A5E9-470ADF4CB168"/>
  <p:tag name="MIO_LASTDOWNLOADED" val="16.12.2019 11:15:52"/>
  <p:tag name="MIO_OBJECTNAME" val="Demo 01"/>
  <p:tag name="MIO_LASTEDITORNAME" val="Devid Treuling"/>
</p:tagLst>
</file>

<file path=ppt/tags/tag53.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2158b5e2-8b7a-4d1c-a072-0db07a579151"/>
  <p:tag name="MIO_UPDATE" val="True"/>
  <p:tag name="MIO_VERSION" val="02.03.2020 12:29:11"/>
  <p:tag name="MIO_DBID" val="12b0c59e-2253-4124-a5e9-470adf4cb168"/>
  <p:tag name="MIO_LASTDOWNLOADED" val="02.03.2020 13:03:02"/>
  <p:tag name="MIO_OBJECTNAME" val="Questions? (5)"/>
  <p:tag name="MIO_LASTEDITORNAME" val="Devid Treuling"/>
</p:tagLst>
</file>

<file path=ppt/tags/tag54.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5.xml><?xml version="1.0" encoding="utf-8"?>
<p:tagLst xmlns:a="http://schemas.openxmlformats.org/drawingml/2006/main" xmlns:r="http://schemas.openxmlformats.org/officeDocument/2006/relationships" xmlns:p="http://schemas.openxmlformats.org/presentationml/2006/main">
  <p:tag name="MIO_GUID" val="9bb154c4-6ed5-41e6-89ea-2ad66a70eeba"/>
  <p:tag name="MIO_EKGUID" val="2d0967d7-476c-40e1-bb3b-4c919ede3b4a"/>
  <p:tag name="MIO_UPDATE" val="True"/>
  <p:tag name="MIO_VERSION" val="02.03.2020 12:29:11"/>
  <p:tag name="MIO_DBID" val="12b0c59e-2253-4124-a5e9-470adf4cb168"/>
  <p:tag name="MIO_LASTDOWNLOADED" val="02.03.2020 13:03:02"/>
  <p:tag name="MIO_OBJECTNAME" val="Code Behind a Form"/>
  <p:tag name="MIO_LASTEDITORNAME" val="Devid Treuling"/>
</p:tagLst>
</file>

<file path=ppt/tags/tag56.xml><?xml version="1.0" encoding="utf-8"?>
<p:tagLst xmlns:a="http://schemas.openxmlformats.org/drawingml/2006/main" xmlns:r="http://schemas.openxmlformats.org/officeDocument/2006/relationships" xmlns:p="http://schemas.openxmlformats.org/presentationml/2006/main">
  <p:tag name="MIO_GUID" val="f9e65055-7f71-4b40-83f2-93bfdf05ce52"/>
  <p:tag name="MIO_EKGUID" val="512c93b8-ec85-4132-914a-db36c5dbd63c"/>
  <p:tag name="MIO_UPDATE" val="True"/>
  <p:tag name="MIO_VERSION" val="02.03.2020 12:29:07"/>
  <p:tag name="MIO_DBID" val="12b0c59e-2253-4124-a5e9-470adf4cb168"/>
  <p:tag name="MIO_LASTDOWNLOADED" val="02.03.2020 13:02:59"/>
  <p:tag name="MIO_OBJECTNAME" val="Why Use Visual Studio for XAML?"/>
  <p:tag name="MIO_LASTEDITORNAME" val="Devid Treuling"/>
</p:tagLst>
</file>

<file path=ppt/tags/tag57.xml><?xml version="1.0" encoding="utf-8"?>
<p:tagLst xmlns:a="http://schemas.openxmlformats.org/drawingml/2006/main" xmlns:r="http://schemas.openxmlformats.org/officeDocument/2006/relationships" xmlns:p="http://schemas.openxmlformats.org/presentationml/2006/main">
  <p:tag name="MIO_GUID" val="67f960c0-5fea-44d4-8b4d-3461579f0b6f"/>
  <p:tag name="MIO_EKGUID" val="c5d9de4a-5f32-4d2d-9d96-c60cd32677dd"/>
  <p:tag name="MIO_UPDATE" val="True"/>
  <p:tag name="MIO_VERSION" val="02.03.2020 12:29:12"/>
  <p:tag name="MIO_DBID" val="12b0c59e-2253-4124-a5e9-470adf4cb168"/>
  <p:tag name="MIO_LASTDOWNLOADED" val="02.03.2020 13:03:03"/>
  <p:tag name="MIO_OBJECTNAME" val="Control Properties"/>
  <p:tag name="MIO_LASTEDITORNAME" val="Devid Treuling"/>
</p:tagLst>
</file>

<file path=ppt/tags/tag58.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6.12.2019 11:27:19"/>
  <p:tag name="MIO_OBJECTNAME" val="Code Box"/>
  <p:tag name="MIO_LASTEDITORNAME" val="Devid Treuling"/>
</p:tagLst>
</file>

<file path=ppt/tags/tag59.xml><?xml version="1.0" encoding="utf-8"?>
<p:tagLst xmlns:a="http://schemas.openxmlformats.org/drawingml/2006/main" xmlns:r="http://schemas.openxmlformats.org/officeDocument/2006/relationships" xmlns:p="http://schemas.openxmlformats.org/presentationml/2006/main">
  <p:tag name="MIO_GUID" val="67f960c0-5fea-44d4-8b4d-3461579f0b6f"/>
  <p:tag name="MIO_EKGUID" val="c5d9de4a-5f32-4d2d-9d96-c60cd32677dd"/>
  <p:tag name="MIO_UPDATE" val="True"/>
  <p:tag name="MIO_VERSION" val="02.03.2020 12:29:12"/>
  <p:tag name="MIO_DBID" val="12b0c59e-2253-4124-a5e9-470adf4cb168"/>
  <p:tag name="MIO_LASTDOWNLOADED" val="02.03.2020 13:03:03"/>
  <p:tag name="MIO_OBJECTNAME" val="Control Properties"/>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fdcf4e09-7b0d-407e-a58b-49ba1707737a"/>
  <p:tag name="MIO_EKGUID" val="717a404f-e075-4add-9c75-43551139cc67"/>
  <p:tag name="MIO_UPDATE" val="True"/>
  <p:tag name="MIO_VERSION" val="02.03.2020 13:02:53"/>
  <p:tag name="MIO_DBID" val="12b0c59e-2253-4124-a5e9-470adf4cb168"/>
  <p:tag name="MIO_LASTDOWNLOADED" val="02.03.2020 13:02:58"/>
  <p:tag name="MIO_OBJECTNAME" val="Create GUI in PowerShell"/>
  <p:tag name="MIO_LASTEDITORNAME" val="Devid Treuling"/>
</p:tagLst>
</file>

<file path=ppt/tags/tag60.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6.12.2019 11:27:19"/>
  <p:tag name="MIO_OBJECTNAME" val="Code Box"/>
  <p:tag name="MIO_LASTEDITORNAME" val="Devid Treuling"/>
</p:tagLst>
</file>

<file path=ppt/tags/tag61.xml><?xml version="1.0" encoding="utf-8"?>
<p:tagLst xmlns:a="http://schemas.openxmlformats.org/drawingml/2006/main" xmlns:r="http://schemas.openxmlformats.org/officeDocument/2006/relationships" xmlns:p="http://schemas.openxmlformats.org/presentationml/2006/main">
  <p:tag name="MIO_GUID" val="67f960c0-5fea-44d4-8b4d-3461579f0b6f"/>
  <p:tag name="MIO_EKGUID" val="c5d9de4a-5f32-4d2d-9d96-c60cd32677dd"/>
  <p:tag name="MIO_UPDATE" val="True"/>
  <p:tag name="MIO_VERSION" val="02.03.2020 12:29:12"/>
  <p:tag name="MIO_DBID" val="12b0c59e-2253-4124-a5e9-470adf4cb168"/>
  <p:tag name="MIO_LASTDOWNLOADED" val="02.03.2020 13:03:03"/>
  <p:tag name="MIO_OBJECTNAME" val="Control Properties"/>
  <p:tag name="MIO_LASTEDITORNAME" val="Devid Treuling"/>
</p:tagLst>
</file>

<file path=ppt/tags/tag62.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6.12.2019 11:27:19"/>
  <p:tag name="MIO_OBJECTNAME" val="Code Box"/>
  <p:tag name="MIO_LASTEDITORNAME" val="Devid Treuling"/>
</p:tagLst>
</file>

<file path=ppt/tags/tag63.xml><?xml version="1.0" encoding="utf-8"?>
<p:tagLst xmlns:a="http://schemas.openxmlformats.org/drawingml/2006/main" xmlns:r="http://schemas.openxmlformats.org/officeDocument/2006/relationships" xmlns:p="http://schemas.openxmlformats.org/presentationml/2006/main">
  <p:tag name="MIO_GUID" val="67f960c0-5fea-44d4-8b4d-3461579f0b6f"/>
  <p:tag name="MIO_EKGUID" val="c5d9de4a-5f32-4d2d-9d96-c60cd32677dd"/>
  <p:tag name="MIO_UPDATE" val="True"/>
  <p:tag name="MIO_VERSION" val="02.03.2020 12:29:12"/>
  <p:tag name="MIO_DBID" val="12b0c59e-2253-4124-a5e9-470adf4cb168"/>
  <p:tag name="MIO_LASTDOWNLOADED" val="02.03.2020 13:03:03"/>
  <p:tag name="MIO_OBJECTNAME" val="Control Properties"/>
  <p:tag name="MIO_LASTEDITORNAME" val="Devid Treuling"/>
</p:tagLst>
</file>

<file path=ppt/tags/tag64.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6.12.2019 11:27:19"/>
  <p:tag name="MIO_OBJECTNAME" val="Code Box"/>
  <p:tag name="MIO_LASTEDITORNAME" val="Devid Treuling"/>
</p:tagLst>
</file>

<file path=ppt/tags/tag65.xml><?xml version="1.0" encoding="utf-8"?>
<p:tagLst xmlns:a="http://schemas.openxmlformats.org/drawingml/2006/main" xmlns:r="http://schemas.openxmlformats.org/officeDocument/2006/relationships" xmlns:p="http://schemas.openxmlformats.org/presentationml/2006/main">
  <p:tag name="MIO_GUID" val="602a351b-7e38-4baa-8028-af23bc9c3ac8"/>
  <p:tag name="MIO_EKGUID" val="fee64428-b376-4007-8d5b-6fb4299f46ed"/>
  <p:tag name="MIO_UPDATE" val="True"/>
  <p:tag name="MIO_VERSION" val="02.03.2020 12:29:12"/>
  <p:tag name="MIO_DBID" val="12b0c59e-2253-4124-a5e9-470adf4cb168"/>
  <p:tag name="MIO_LASTDOWNLOADED" val="02.03.2020 13:03:03"/>
  <p:tag name="MIO_OBJECTNAME" val="Programming Events"/>
  <p:tag name="MIO_LASTEDITORNAME" val="Devid Treuling"/>
</p:tagLst>
</file>

<file path=ppt/tags/tag66.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6.12.2019 11:27:19"/>
  <p:tag name="MIO_OBJECTNAME" val="Code Box"/>
  <p:tag name="MIO_LASTEDITORNAME" val="Devid Treuling"/>
</p:tagLst>
</file>

<file path=ppt/tags/tag6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ce242934-87cb-445c-9a2c-1f45ac3f7bd2"/>
  <p:tag name="MIO_UPDATE" val="True"/>
  <p:tag name="MIO_VERSION" val="02.03.2020 12:29:12"/>
  <p:tag name="MIO_DBID" val="12b0c59e-2253-4124-a5e9-470adf4cb168"/>
  <p:tag name="MIO_LASTDOWNLOADED" val="02.03.2020 13:03:03"/>
  <p:tag name="MIO_OBJECTNAME" val="Demonstration (7)"/>
  <p:tag name="MIO_LASTEDITORNAME" val="Devid Treuling"/>
</p:tagLst>
</file>

<file path=ppt/tags/tag68.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464ac977-0236-4049-8a4c-8c175f098050"/>
  <p:tag name="MIO_UPDATE" val="True"/>
  <p:tag name="MIO_VERSION" val="20.09.2019 20:13:13"/>
  <p:tag name="MIO_DBID" val="12B0C59E-2253-4124-A5E9-470ADF4CB168"/>
  <p:tag name="MIO_LASTDOWNLOADED" val="16.12.2019 11:16:00"/>
  <p:tag name="MIO_OBJECTNAME" val="Demo 01"/>
  <p:tag name="MIO_LASTEDITORNAME" val="Devid Treuling"/>
</p:tagLst>
</file>

<file path=ppt/tags/tag69.xml><?xml version="1.0" encoding="utf-8"?>
<p:tagLst xmlns:a="http://schemas.openxmlformats.org/drawingml/2006/main" xmlns:r="http://schemas.openxmlformats.org/officeDocument/2006/relationships" xmlns:p="http://schemas.openxmlformats.org/presentationml/2006/main">
  <p:tag name="MIO_GUID" val="eaa91e26-b31c-47e7-89ef-83184570f752"/>
  <p:tag name="MIO_EKGUID" val="17f8d8e2-5fab-4912-8dcf-edca46ceac0f"/>
  <p:tag name="MIO_UPDATE" val="True"/>
  <p:tag name="MIO_VERSION" val="02.03.2020 12:29:12"/>
  <p:tag name="MIO_DBID" val="12b0c59e-2253-4124-a5e9-470adf4cb168"/>
  <p:tag name="MIO_LASTDOWNLOADED" val="02.03.2020 13:03:03"/>
  <p:tag name="MIO_OBJECTNAME" val="Data Binding"/>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17f4dd7f-a717-46fe-ae92-35532201d2dc"/>
  <p:tag name="MIO_EKGUID" val="88d8872f-9c52-4985-8201-1ab6b6058c99"/>
  <p:tag name="MIO_UPDATE" val="True"/>
  <p:tag name="MIO_VERSION" val="02.03.2020 12:29:06"/>
  <p:tag name="MIO_DBID" val="12b0c59e-2253-4124-a5e9-470adf4cb168"/>
  <p:tag name="MIO_LASTDOWNLOADED" val="02.03.2020 13:02:58"/>
  <p:tag name="MIO_OBJECTNAME" val="Disclaimer"/>
  <p:tag name="MIO_LASTEDITORNAME" val="Devid Treuling"/>
</p:tagLst>
</file>

<file path=ppt/tags/tag70.xml><?xml version="1.0" encoding="utf-8"?>
<p:tagLst xmlns:a="http://schemas.openxmlformats.org/drawingml/2006/main" xmlns:r="http://schemas.openxmlformats.org/officeDocument/2006/relationships" xmlns:p="http://schemas.openxmlformats.org/presentationml/2006/main">
  <p:tag name="MIO_GUID" val="67eb36b0-5ff9-4c19-bd29-8ac9bf84413e"/>
  <p:tag name="MIO_EKGUID" val="a966a18d-cd47-498d-b70c-84b8a8427b6d"/>
  <p:tag name="MIO_UPDATE" val="True"/>
  <p:tag name="MIO_VERSION" val="02.03.2020 12:29:12"/>
  <p:tag name="MIO_DBID" val="12b0c59e-2253-4124-a5e9-470adf4cb168"/>
  <p:tag name="MIO_LASTDOWNLOADED" val="02.03.2020 13:03:03"/>
  <p:tag name="MIO_OBJECTNAME" val="XAML Based Data Binding"/>
  <p:tag name="MIO_LASTEDITORNAME" val="Devid Treuling"/>
</p:tagLst>
</file>

<file path=ppt/tags/tag71.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6.12.2019 11:27:19"/>
  <p:tag name="MIO_OBJECTNAME" val="Code Box"/>
  <p:tag name="MIO_LASTEDITORNAME" val="Devid Treuling"/>
</p:tagLst>
</file>

<file path=ppt/tags/tag72.xml><?xml version="1.0" encoding="utf-8"?>
<p:tagLst xmlns:a="http://schemas.openxmlformats.org/drawingml/2006/main" xmlns:r="http://schemas.openxmlformats.org/officeDocument/2006/relationships" xmlns:p="http://schemas.openxmlformats.org/presentationml/2006/main">
  <p:tag name="MIO_GUID" val="e24c42ee-f8b6-464d-8325-c253b964aaef"/>
  <p:tag name="MIO_EKGUID" val="2b3b2311-e82b-431f-9792-84d64335f728"/>
  <p:tag name="MIO_UPDATE" val="True"/>
  <p:tag name="MIO_VERSION" val="02.03.2020 12:29:13"/>
  <p:tag name="MIO_DBID" val="12b0c59e-2253-4124-a5e9-470adf4cb168"/>
  <p:tag name="MIO_LASTDOWNLOADED" val="02.03.2020 13:03:03"/>
  <p:tag name="MIO_OBJECTNAME" val="PowerShell Based Data Binding"/>
  <p:tag name="MIO_LASTEDITORNAME" val="Devid Treuling"/>
</p:tagLst>
</file>

<file path=ppt/tags/tag73.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6.12.2019 11:27:19"/>
  <p:tag name="MIO_OBJECTNAME" val="Code Box"/>
  <p:tag name="MIO_LASTEDITORNAME" val="Devid Treuling"/>
</p:tagLst>
</file>

<file path=ppt/tags/tag7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7134df38-7912-4803-9000-eb64bc479c8d"/>
  <p:tag name="MIO_UPDATE" val="True"/>
  <p:tag name="MIO_VERSION" val="02.03.2020 12:29:13"/>
  <p:tag name="MIO_DBID" val="12b0c59e-2253-4124-a5e9-470adf4cb168"/>
  <p:tag name="MIO_LASTDOWNLOADED" val="02.03.2020 13:03:03"/>
  <p:tag name="MIO_OBJECTNAME" val="Demonstration (8)"/>
  <p:tag name="MIO_LASTEDITORNAME" val="Devid Treuling"/>
</p:tagLst>
</file>

<file path=ppt/tags/tag75.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18a0dbd3-2237-4c7e-a990-f5cfd2767d45"/>
  <p:tag name="MIO_UPDATE" val="True"/>
  <p:tag name="MIO_VERSION" val="20.09.2019 20:13:13"/>
  <p:tag name="MIO_DBID" val="12B0C59E-2253-4124-A5E9-470ADF4CB168"/>
  <p:tag name="MIO_LASTDOWNLOADED" val="16.12.2019 11:38:28"/>
  <p:tag name="MIO_OBJECTNAME" val="Demo 01"/>
  <p:tag name="MIO_LASTEDITORNAME" val="Devid Treuling"/>
</p:tagLst>
</file>

<file path=ppt/tags/tag7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2828d84c-c09e-4bff-b609-8ebbee3d55ec"/>
  <p:tag name="MIO_UPDATE" val="True"/>
  <p:tag name="MIO_VERSION" val="02.03.2020 12:29:13"/>
  <p:tag name="MIO_DBID" val="12b0c59e-2253-4124-a5e9-470adf4cb168"/>
  <p:tag name="MIO_LASTDOWNLOADED" val="02.03.2020 13:03:04"/>
  <p:tag name="MIO_OBJECTNAME" val="Questions? (6)"/>
  <p:tag name="MIO_LASTEDITORNAME" val="Devid Treuling"/>
</p:tagLst>
</file>

<file path=ppt/tags/tag7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78.xml><?xml version="1.0" encoding="utf-8"?>
<p:tagLst xmlns:a="http://schemas.openxmlformats.org/drawingml/2006/main" xmlns:r="http://schemas.openxmlformats.org/officeDocument/2006/relationships" xmlns:p="http://schemas.openxmlformats.org/presentationml/2006/main">
  <p:tag name="MIO_GUID" val="7d3ca52e-b83a-4352-9033-d32233762adb"/>
  <p:tag name="MIO_EKGUID" val="5326460a-e70d-4913-b5fc-8c166daf97b6"/>
  <p:tag name="MIO_UPDATE" val="True"/>
  <p:tag name="MIO_VERSION" val="02.03.2020 12:29:13"/>
  <p:tag name="MIO_DBID" val="12b0c59e-2253-4124-a5e9-470adf4cb168"/>
  <p:tag name="MIO_LASTDOWNLOADED" val="02.03.2020 13:03:04"/>
  <p:tag name="MIO_OBJECTNAME" val="Advanced Techniques"/>
  <p:tag name="MIO_LASTEDITORNAME" val="Devid Treuling"/>
</p:tagLst>
</file>

<file path=ppt/tags/tag79.xml><?xml version="1.0" encoding="utf-8"?>
<p:tagLst xmlns:a="http://schemas.openxmlformats.org/drawingml/2006/main" xmlns:r="http://schemas.openxmlformats.org/officeDocument/2006/relationships" xmlns:p="http://schemas.openxmlformats.org/presentationml/2006/main">
  <p:tag name="MIO_GUID" val="e24c42ee-f8b6-464d-8325-c253b964aaef"/>
  <p:tag name="MIO_EKGUID" val="2b3b2311-e82b-431f-9792-84d64335f728"/>
  <p:tag name="MIO_UPDATE" val="True"/>
  <p:tag name="MIO_VERSION" val="02.03.2020 12:29:13"/>
  <p:tag name="MIO_DBID" val="12b0c59e-2253-4124-a5e9-470adf4cb168"/>
  <p:tag name="MIO_LASTDOWNLOADED" val="02.03.2020 13:03:03"/>
  <p:tag name="MIO_OBJECTNAME" val="PowerShell Based Data Binding"/>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e4904bc2-19fb-4d53-9175-061ddf8c76db"/>
  <p:tag name="MIO_EKGUID" val="4d18f022-24de-4b2b-82d1-8865db7dd8dd"/>
  <p:tag name="MIO_UPDATE" val="True"/>
  <p:tag name="MIO_VERSION" val="02.03.2020 12:29:06"/>
  <p:tag name="MIO_DBID" val="12b0c59e-2253-4124-a5e9-470adf4cb168"/>
  <p:tag name="MIO_LASTDOWNLOADED" val="02.03.2020 13:02:58"/>
  <p:tag name="MIO_OBJECTNAME" val="Learnings covered in this Unit"/>
  <p:tag name="MIO_LASTEDITORNAME" val="Devid Treuling"/>
</p:tagLst>
</file>

<file path=ppt/tags/tag80.xml><?xml version="1.0" encoding="utf-8"?>
<p:tagLst xmlns:a="http://schemas.openxmlformats.org/drawingml/2006/main" xmlns:r="http://schemas.openxmlformats.org/officeDocument/2006/relationships" xmlns:p="http://schemas.openxmlformats.org/presentationml/2006/main">
  <p:tag name="MIO_GUID" val="e24c42ee-f8b6-464d-8325-c253b964aaef"/>
  <p:tag name="MIO_EKGUID" val="2b3b2311-e82b-431f-9792-84d64335f728"/>
  <p:tag name="MIO_UPDATE" val="True"/>
  <p:tag name="MIO_VERSION" val="02.03.2020 12:29:13"/>
  <p:tag name="MIO_DBID" val="12b0c59e-2253-4124-a5e9-470adf4cb168"/>
  <p:tag name="MIO_LASTDOWNLOADED" val="02.03.2020 13:03:03"/>
  <p:tag name="MIO_OBJECTNAME" val="PowerShell Based Data Binding"/>
  <p:tag name="MIO_LASTEDITORNAME" val="Devid Treuling"/>
</p:tagLst>
</file>

<file path=ppt/tags/tag81.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6.12.2019 11:27:19"/>
  <p:tag name="MIO_OBJECTNAME" val="Code Box"/>
  <p:tag name="MIO_LASTEDITORNAME" val="Devid Treuling"/>
</p:tagLst>
</file>

<file path=ppt/tags/tag8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b34d3387-4beb-422d-aef3-916443b90b87"/>
  <p:tag name="MIO_UPDATE" val="True"/>
  <p:tag name="MIO_VERSION" val="02.03.2020 12:29:14"/>
  <p:tag name="MIO_DBID" val="12b0c59e-2253-4124-a5e9-470adf4cb168"/>
  <p:tag name="MIO_LASTDOWNLOADED" val="02.03.2020 13:03:04"/>
  <p:tag name="MIO_OBJECTNAME" val="Demonstration (9)"/>
  <p:tag name="MIO_LASTEDITORNAME" val="Devid Treuling"/>
</p:tagLst>
</file>

<file path=ppt/tags/tag83.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79e87362-96e6-4486-8fb7-79076d0e1781"/>
  <p:tag name="MIO_UPDATE" val="True"/>
  <p:tag name="MIO_VERSION" val="20.09.2019 20:13:13"/>
  <p:tag name="MIO_DBID" val="12B0C59E-2253-4124-A5E9-470ADF4CB168"/>
  <p:tag name="MIO_LASTDOWNLOADED" val="16.12.2019 11:39:20"/>
  <p:tag name="MIO_OBJECTNAME" val="Demo 01"/>
  <p:tag name="MIO_LASTEDITORNAME" val="Devid Treuling"/>
</p:tagLst>
</file>

<file path=ppt/tags/tag84.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9d468427-3eee-4b74-8fb5-112a4fb1ded3"/>
  <p:tag name="MIO_UPDATE" val="True"/>
  <p:tag name="MIO_VERSION" val="02.03.2020 12:29:14"/>
  <p:tag name="MIO_DBID" val="12b0c59e-2253-4124-a5e9-470adf4cb168"/>
  <p:tag name="MIO_LASTDOWNLOADED" val="02.03.2020 13:03:05"/>
  <p:tag name="MIO_OBJECTNAME" val="Questions? (7)"/>
  <p:tag name="MIO_LASTEDITORNAME" val="Devid Treuling"/>
</p:tagLst>
</file>

<file path=ppt/tags/tag85.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86.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fd9723a2-4ee6-4290-bd51-b0cc0d6025fe"/>
  <p:tag name="MIO_UPDATE" val="True"/>
  <p:tag name="MIO_VERSION" val="02.03.2020 12:29:14"/>
  <p:tag name="MIO_DBID" val="12b0c59e-2253-4124-a5e9-470adf4cb168"/>
  <p:tag name="MIO_LASTDOWNLOADED" val="02.03.2020 13:03:05"/>
  <p:tag name="MIO_OBJECTNAME" val="PowerShell Graphical User Interfaces"/>
  <p:tag name="MIO_LASTEDITORNAME" val="Devid Treuling"/>
</p:tagLst>
</file>

<file path=ppt/tags/tag8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88.xml><?xml version="1.0" encoding="utf-8"?>
<p:tagLst xmlns:a="http://schemas.openxmlformats.org/drawingml/2006/main" xmlns:r="http://schemas.openxmlformats.org/officeDocument/2006/relationships" xmlns:p="http://schemas.openxmlformats.org/presentationml/2006/main">
  <p:tag name="MIO_GUID" val="17ce0788-41bb-427a-a2e7-715c149b0a2f"/>
  <p:tag name="MIO_EKGUID" val="03f6c3b3-2864-4df1-b16f-89f466f8f758"/>
  <p:tag name="MIO_UPDATE" val="True"/>
  <p:tag name="MIO_VERSION" val="02.03.2020 12:29:14"/>
  <p:tag name="MIO_DBID" val="12b0c59e-2253-4124-a5e9-470adf4cb168"/>
  <p:tag name="MIO_LASTDOWNLOADED" val="02.03.2020 13:03:05"/>
  <p:tag name="MIO_OBJECTNAME" val="Microsoft"/>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48465b55-fa54-4560-8b72-27125afe1f2f"/>
  <p:tag name="MIO_EKGUID" val="27628dad-3114-4582-ac51-497201f5b028"/>
  <p:tag name="MIO_UPDATE" val="True"/>
  <p:tag name="MIO_VERSION" val="02.03.2020 12:29:06"/>
  <p:tag name="MIO_DBID" val="12b0c59e-2253-4124-a5e9-470adf4cb168"/>
  <p:tag name="MIO_LASTDOWNLOADED" val="02.03.2020 13:02:58"/>
  <p:tag name="MIO_OBJECTNAME" val="Windows Presentation Framework Introduction"/>
  <p:tag name="MIO_LASTEDITORNAME" val="Devid Treuling"/>
</p:tagLst>
</file>

<file path=ppt/tags/tag90.xml><?xml version="1.0" encoding="utf-8"?>
<p:tagLst xmlns:a="http://schemas.openxmlformats.org/drawingml/2006/main" xmlns:r="http://schemas.openxmlformats.org/officeDocument/2006/relationships" xmlns:p="http://schemas.openxmlformats.org/presentationml/2006/main">
  <p:tag name="MIO_GUID" val="92deb490-99e4-49d0-85c0-997cd0ac21a1"/>
  <p:tag name="MIO_EKGUID" val="835e4425-720d-4b75-bc3c-a51a62800249"/>
  <p:tag name="MIO_UPDATE" val="True"/>
  <p:tag name="MIO_VERSION" val="02.03.2020 12:29:14"/>
  <p:tag name="MIO_DBID" val="12b0c59e-2253-4124-a5e9-470adf4cb168"/>
  <p:tag name="MIO_LASTDOWNLOADED" val="02.03.2020 13:03:04"/>
  <p:tag name="MIO_OBJECTNAME" val="Creating Timers - Example"/>
  <p:tag name="MIO_LASTEDITORNAME" val="Devid Treuling"/>
</p:tagLst>
</file>

<file path=ppt/tags/tag91.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6.12.2019 11:27:19"/>
  <p:tag name="MIO_OBJECTNAME" val="Code Box"/>
  <p:tag name="MIO_LASTEDITORNAME" val="Devid Treuling"/>
</p:tagLst>
</file>

<file path=ppt/theme/theme1.xml><?xml version="1.0" encoding="utf-8"?>
<a:theme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0.xml><?xml version="1.0" encoding="utf-8"?>
<?mso-contentType ?>
<FormTemplates xmlns="http://schemas.microsoft.com/sharepoint/v3/contenttype/forms">
  <Display>DocumentLibraryForm</Display>
  <Edit>DocumentLibraryForm</Edit>
  <New>DocumentLibraryForm</New>
</FormTemplates>
</file>

<file path=customXml/item1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4479520e-c01d-46b7-8288-e62ea01161ee" variableListUniqueId="d6c5d8a6-45b5-4a0e-b0e7-cf1e0e53bdd5"/>
  </pd:DataReferenceList>
  <pd:VariableReplacementDescriptor name="" desc="" uid="">
    <pd:DataReferenceList>
      <pd:DataReference datasourceID="feebff45-792f-402d-b0b2-aef9b0ece030" dataFieldID="4479520e-c01d-46b7-8288-e62ea01161ee"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8.xml><?xml version="1.0" encoding="utf-8"?>
<ct:contentTypeSchema xmlns:ct="http://schemas.microsoft.com/office/2006/metadata/contentType" xmlns:ma="http://schemas.microsoft.com/office/2006/metadata/properties/metaAttributes" ct:_="" ma:_="" ma:contentTypeName="Document" ma:contentTypeID="0x0101001AFFBB813ED9B340817B8218D8AE0A88" ma:contentTypeVersion="4" ma:contentTypeDescription="Create a new document." ma:contentTypeScope="" ma:versionID="b351b96b083234bceb461150bf358b76">
  <xsd:schema xmlns:xsd="http://www.w3.org/2001/XMLSchema" xmlns:xs="http://www.w3.org/2001/XMLSchema" xmlns:p="http://schemas.microsoft.com/office/2006/metadata/properties" xmlns:ns1="http://schemas.microsoft.com/sharepoint/v3" xmlns:ns2="b3a7cdad-67b7-49c6-9bab-f625ee5dc3e7" targetNamespace="http://schemas.microsoft.com/office/2006/metadata/properties" ma:root="true" ma:fieldsID="3fb2ae936b2a572993e23624d901a5e3" ns1:_="" ns2:_="">
    <xsd:import namespace="http://schemas.microsoft.com/sharepoint/v3"/>
    <xsd:import namespace="b3a7cdad-67b7-49c6-9bab-f625ee5dc3e7"/>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a7cdad-67b7-49c6-9bab-f625ee5dc3e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4.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0</_ip_UnifiedCompliancePolicyUIAction>
    <_ip_UnifiedCompliancePolicyProperties xmlns="http://schemas.microsoft.com/sharepoint/v3" xsi:nil="true"/>
  </documentManagement>
</p:properties>
</file>

<file path=customXml/item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3DBC632C-9B9B-41AF-9889-7AF25D37930E}">
  <ds:schemaRefs>
    <ds:schemaRef ds:uri="Strauss.PersonalizationDefinition"/>
  </ds:schemaRefs>
</ds:datastoreItem>
</file>

<file path=customXml/itemProps10.xml><?xml version="1.0" encoding="utf-8"?>
<ds:datastoreItem xmlns:ds="http://schemas.openxmlformats.org/officeDocument/2006/customXml" ds:itemID="{27BBC284-8415-4B0F-983F-E0D7051D8092}">
  <ds:schemaRefs>
    <ds:schemaRef ds:uri="http://schemas.microsoft.com/sharepoint/v3/contenttype/forms"/>
  </ds:schemaRefs>
</ds:datastoreItem>
</file>

<file path=customXml/itemProps11.xml><?xml version="1.0" encoding="utf-8"?>
<ds:datastoreItem xmlns:ds="http://schemas.openxmlformats.org/officeDocument/2006/customXml" ds:itemID="{809EBF6B-642F-44C8-B2F2-24ED6EBB0539}">
  <ds:schemaRefs>
    <ds:schemaRef ds:uri="Strauss.PersonalizationDefinition"/>
  </ds:schemaRefs>
</ds:datastoreItem>
</file>

<file path=customXml/itemProps12.xml><?xml version="1.0" encoding="utf-8"?>
<ds:datastoreItem xmlns:ds="http://schemas.openxmlformats.org/officeDocument/2006/customXml" ds:itemID="{ADCD183B-0A5F-48BF-9BB1-DCA04AA5C9E4}">
  <ds:schemaRefs>
    <ds:schemaRef ds:uri="Strauss.PersonalizationDefinition"/>
  </ds:schemaRefs>
</ds:datastoreItem>
</file>

<file path=customXml/itemProps13.xml><?xml version="1.0" encoding="utf-8"?>
<ds:datastoreItem xmlns:ds="http://schemas.openxmlformats.org/officeDocument/2006/customXml" ds:itemID="{D90DEB8C-C00E-4B1C-B45B-737A9292CE09}">
  <ds:schemaRefs>
    <ds:schemaRef ds:uri="Strauss.PersonalizationDefinition"/>
  </ds:schemaRefs>
</ds:datastoreItem>
</file>

<file path=customXml/itemProps14.xml><?xml version="1.0" encoding="utf-8"?>
<ds:datastoreItem xmlns:ds="http://schemas.openxmlformats.org/officeDocument/2006/customXml" ds:itemID="{4D4A8C50-615D-47EA-B3E3-CB5BD2392811}">
  <ds:schemaRefs>
    <ds:schemaRef ds:uri="Strauss.PersonalizationDefinition"/>
  </ds:schemaRefs>
</ds:datastoreItem>
</file>

<file path=customXml/itemProps15.xml><?xml version="1.0" encoding="utf-8"?>
<ds:datastoreItem xmlns:ds="http://schemas.openxmlformats.org/officeDocument/2006/customXml" ds:itemID="{0FC88FB3-76E4-4DF0-A08C-CAC473B463F6}">
  <ds:schemaRefs>
    <ds:schemaRef ds:uri="Strauss.PersonalizationDefinition"/>
  </ds:schemaRefs>
</ds:datastoreItem>
</file>

<file path=customXml/itemProps16.xml><?xml version="1.0" encoding="utf-8"?>
<ds:datastoreItem xmlns:ds="http://schemas.openxmlformats.org/officeDocument/2006/customXml" ds:itemID="{F1A705D6-28A3-4570-82B4-CEDEABCA00D2}">
  <ds:schemaRefs>
    <ds:schemaRef ds:uri="Strauss.PersonalizationDefinition"/>
  </ds:schemaRefs>
</ds:datastoreItem>
</file>

<file path=customXml/itemProps17.xml><?xml version="1.0" encoding="utf-8"?>
<ds:datastoreItem xmlns:ds="http://schemas.openxmlformats.org/officeDocument/2006/customXml" ds:itemID="{B09E3EAE-66CA-4A91-A5FE-A34A70B099ED}">
  <ds:schemaRefs>
    <ds:schemaRef ds:uri="Strauss.PersonalizationDefinition"/>
  </ds:schemaRefs>
</ds:datastoreItem>
</file>

<file path=customXml/itemProps18.xml><?xml version="1.0" encoding="utf-8"?>
<ds:datastoreItem xmlns:ds="http://schemas.openxmlformats.org/officeDocument/2006/customXml" ds:itemID="{C23B124A-1EBD-444B-862B-002D76B523A1}">
  <ds:schemaRefs>
    <ds:schemaRef ds:uri="b3a7cdad-67b7-49c6-9bab-f625ee5dc3e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19.xml><?xml version="1.0" encoding="utf-8"?>
<ds:datastoreItem xmlns:ds="http://schemas.openxmlformats.org/officeDocument/2006/customXml" ds:itemID="{A4CDA701-DC90-4D13-B88C-87608D653368}">
  <ds:schemaRefs>
    <ds:schemaRef ds:uri="Strauss.PersonalizationDefinition"/>
  </ds:schemaRefs>
</ds:datastoreItem>
</file>

<file path=customXml/itemProps2.xml><?xml version="1.0" encoding="utf-8"?>
<ds:datastoreItem xmlns:ds="http://schemas.openxmlformats.org/officeDocument/2006/customXml" ds:itemID="{7BE09C67-0884-4329-AEBD-4341E420DFA4}">
  <ds:schemaRefs>
    <ds:schemaRef ds:uri="Strauss.PersonalizationDefinition"/>
  </ds:schemaRefs>
</ds:datastoreItem>
</file>

<file path=customXml/itemProps3.xml><?xml version="1.0" encoding="utf-8"?>
<ds:datastoreItem xmlns:ds="http://schemas.openxmlformats.org/officeDocument/2006/customXml" ds:itemID="{22902826-9B13-4DA1-84B3-F3DC74D0511A}">
  <ds:schemaRefs>
    <ds:schemaRef ds:uri="Strauss.PersonalizationDefinition"/>
  </ds:schemaRefs>
</ds:datastoreItem>
</file>

<file path=customXml/itemProps4.xml><?xml version="1.0" encoding="utf-8"?>
<ds:datastoreItem xmlns:ds="http://schemas.openxmlformats.org/officeDocument/2006/customXml" ds:itemID="{A7E69EF2-E589-4CF0-8EE5-23D163E39118}">
  <ds:schemaRefs>
    <ds:schemaRef ds:uri="230e9df3-be65-4c73-a93b-d1236ebd677e"/>
    <ds:schemaRef ds:uri="cea7764e-6bf9-427d-be15-e74097e0a61c"/>
    <ds:schemaRef ds:uri="fa9ac045-4823-4e55-900e-1aa609c35a06"/>
    <ds:schemaRef ds:uri="http://schemas.microsoft.com/office/2006/metadata/properties"/>
    <ds:schemaRef ds:uri="http://schemas.microsoft.com/office/infopath/2007/PartnerControls"/>
    <ds:schemaRef ds:uri="http://schemas.microsoft.com/sharepoint/v3"/>
  </ds:schemaRefs>
</ds:datastoreItem>
</file>

<file path=customXml/itemProps5.xml><?xml version="1.0" encoding="utf-8"?>
<ds:datastoreItem xmlns:ds="http://schemas.openxmlformats.org/officeDocument/2006/customXml" ds:itemID="{C9BCA92C-6726-4067-9941-5BBBB9C32D37}">
  <ds:schemaRefs>
    <ds:schemaRef ds:uri="Strauss.PersonalizationDefinition"/>
  </ds:schemaRefs>
</ds:datastoreItem>
</file>

<file path=customXml/itemProps6.xml><?xml version="1.0" encoding="utf-8"?>
<ds:datastoreItem xmlns:ds="http://schemas.openxmlformats.org/officeDocument/2006/customXml" ds:itemID="{08414982-816A-4B89-AF11-47B754BF1359}">
  <ds:schemaRefs>
    <ds:schemaRef ds:uri="Strauss.PersonalizationDefinition"/>
  </ds:schemaRefs>
</ds:datastoreItem>
</file>

<file path=customXml/itemProps7.xml><?xml version="1.0" encoding="utf-8"?>
<ds:datastoreItem xmlns:ds="http://schemas.openxmlformats.org/officeDocument/2006/customXml" ds:itemID="{3E3D62C7-BF53-42AE-81FE-797AEAD67E4C}">
  <ds:schemaRefs>
    <ds:schemaRef ds:uri="Strauss.PersonalizationDefinition"/>
  </ds:schemaRefs>
</ds:datastoreItem>
</file>

<file path=customXml/itemProps8.xml><?xml version="1.0" encoding="utf-8"?>
<ds:datastoreItem xmlns:ds="http://schemas.openxmlformats.org/officeDocument/2006/customXml" ds:itemID="{C0ADF447-988B-4A98-B6C4-AC9BBB2916F5}">
  <ds:schemaRefs>
    <ds:schemaRef ds:uri="Strauss.PersonalizationDefinition"/>
  </ds:schemaRefs>
</ds:datastoreItem>
</file>

<file path=customXml/itemProps9.xml><?xml version="1.0" encoding="utf-8"?>
<ds:datastoreItem xmlns:ds="http://schemas.openxmlformats.org/officeDocument/2006/customXml" ds:itemID="{964173D0-8E4F-49C0-A512-908C88B8CFC5}">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59</Slides>
  <Notes>59</Notes>
  <HiddenSlides>7</HiddenSlides>
  <ScaleCrop>false</ScaleCrop>
  <HeadingPairs>
    <vt:vector size="4" baseType="variant">
      <vt:variant>
        <vt:lpstr>Theme</vt:lpstr>
      </vt:variant>
      <vt:variant>
        <vt:i4>1</vt:i4>
      </vt:variant>
      <vt:variant>
        <vt:lpstr>Slide Titles</vt:lpstr>
      </vt:variant>
      <vt:variant>
        <vt:i4>59</vt:i4>
      </vt:variant>
    </vt:vector>
  </HeadingPairs>
  <TitlesOfParts>
    <vt:vector size="60" baseType="lpstr">
      <vt:lpstr>Light Grey</vt:lpstr>
      <vt:lpstr>Create a GUI in PowerShell</vt:lpstr>
      <vt:lpstr>Disclaimer</vt:lpstr>
      <vt:lpstr>Agenda</vt:lpstr>
      <vt:lpstr>Windows Presentation Framework Introduction</vt:lpstr>
      <vt:lpstr>Windows Presentation Framework</vt:lpstr>
      <vt:lpstr>GUIs for PowerShell</vt:lpstr>
      <vt:lpstr>Questions?</vt:lpstr>
      <vt:lpstr>Introduction to Visual Studio</vt:lpstr>
      <vt:lpstr>Visual Studio for XAML</vt:lpstr>
      <vt:lpstr>Visual Studio 2022 Editions</vt:lpstr>
      <vt:lpstr>Creating a XAML project</vt:lpstr>
      <vt:lpstr>Visual Studio Layout</vt:lpstr>
      <vt:lpstr>Visual Studio Layout</vt:lpstr>
      <vt:lpstr>Visual Studio Layout</vt:lpstr>
      <vt:lpstr>Demonstration</vt:lpstr>
      <vt:lpstr>Questions?</vt:lpstr>
      <vt:lpstr>WPF Controls</vt:lpstr>
      <vt:lpstr>XAML Controls</vt:lpstr>
      <vt:lpstr>XAML Controls Visualized</vt:lpstr>
      <vt:lpstr>Grouping Controls</vt:lpstr>
      <vt:lpstr>Grouping Controls – Additional Information</vt:lpstr>
      <vt:lpstr>GUI Design Best Practices</vt:lpstr>
      <vt:lpstr>Demonstration</vt:lpstr>
      <vt:lpstr>Demonstration</vt:lpstr>
      <vt:lpstr>Demonstration</vt:lpstr>
      <vt:lpstr>Questions?</vt:lpstr>
      <vt:lpstr>Your first GUI</vt:lpstr>
      <vt:lpstr>WPF / XAML GUI Workflow</vt:lpstr>
      <vt:lpstr>Naming WPF Controls</vt:lpstr>
      <vt:lpstr>Load XAML Into PowerShell</vt:lpstr>
      <vt:lpstr>Creating $GUI Hash Table</vt:lpstr>
      <vt:lpstr>Demonstration</vt:lpstr>
      <vt:lpstr>Questions?</vt:lpstr>
      <vt:lpstr>Advanced GUI Design</vt:lpstr>
      <vt:lpstr>Demonstration</vt:lpstr>
      <vt:lpstr>Questions?</vt:lpstr>
      <vt:lpstr>Code Behind a Form</vt:lpstr>
      <vt:lpstr>Using Controls and Events</vt:lpstr>
      <vt:lpstr>Control Properties</vt:lpstr>
      <vt:lpstr>Finding Property Names</vt:lpstr>
      <vt:lpstr>Control Events</vt:lpstr>
      <vt:lpstr>Finding Event Names</vt:lpstr>
      <vt:lpstr>Example – Using Controls and Events</vt:lpstr>
      <vt:lpstr>Demonstration</vt:lpstr>
      <vt:lpstr>Data Binding</vt:lpstr>
      <vt:lpstr>XAML Based Data Binding</vt:lpstr>
      <vt:lpstr>PowerShell Based Data Binding</vt:lpstr>
      <vt:lpstr>Demonstration</vt:lpstr>
      <vt:lpstr>Questions?</vt:lpstr>
      <vt:lpstr>Common Issues</vt:lpstr>
      <vt:lpstr>Unresponsive GUIs</vt:lpstr>
      <vt:lpstr>GUIs &amp; Runspaces</vt:lpstr>
      <vt:lpstr>Demonstration</vt:lpstr>
      <vt:lpstr>Questions?</vt:lpstr>
      <vt:lpstr>PowerShell Graphical User Interfaces</vt:lpstr>
      <vt:lpstr>Microsoft</vt:lpstr>
      <vt:lpstr>Creating Timers</vt:lpstr>
      <vt:lpstr>Creating Timers - Example</vt:lpstr>
      <vt:lpstr>Use a Runspace to Run WFP GUI - Example</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Windows PowerShell: Tool Building</dc:title>
  <dc:creator>mip_noreply@microsoft.com</dc:creator>
  <revision>1</revision>
  <dcterms:created xsi:type="dcterms:W3CDTF">2020-02-27T18:57:20.0000000Z</dcterms:created>
  <dcterms:modified xsi:type="dcterms:W3CDTF">2022-12-12T22:24:53.0000000Z</dcterms:modified>
  <lastModifiedBy>mip_noreply@microsoft.com</lastModifiedBy>
  <keywords>20230330.1</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1AFFBB813ED9B340817B8218D8AE0A88</vt:lpwstr>
  </op:property>
  <op:property fmtid="{D5CDD505-2E9C-101B-9397-08002B2CF9AE}" pid="3" name="MediaServiceImageTags">
    <vt:lpwstr/>
  </op:property>
</op:Properties>
</file>